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"/>
  </p:notesMasterIdLst>
  <p:handoutMasterIdLst>
    <p:handoutMasterId r:id="rId11"/>
  </p:handoutMasterIdLst>
  <p:sldIdLst>
    <p:sldId id="325" r:id="rId2"/>
    <p:sldId id="335" r:id="rId3"/>
    <p:sldId id="328" r:id="rId4"/>
    <p:sldId id="340" r:id="rId5"/>
    <p:sldId id="339" r:id="rId6"/>
    <p:sldId id="332" r:id="rId7"/>
    <p:sldId id="333" r:id="rId8"/>
    <p:sldId id="336" r:id="rId9"/>
  </p:sldIdLst>
  <p:sldSz cx="9144000" cy="6858000" type="screen4x3"/>
  <p:notesSz cx="6858000" cy="9144000"/>
  <p:custDataLst>
    <p:tags r:id="rId1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93" userDrawn="1">
          <p15:clr>
            <a:srgbClr val="A4A3A4"/>
          </p15:clr>
        </p15:guide>
        <p15:guide id="2" pos="158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Пользователь" initials="П" lastIdx="0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FF5"/>
    <a:srgbClr val="D9E6EF"/>
    <a:srgbClr val="E6E6E6"/>
    <a:srgbClr val="606060"/>
    <a:srgbClr val="C5C5C5"/>
    <a:srgbClr val="E1E1E1"/>
    <a:srgbClr val="E2E2E2"/>
    <a:srgbClr val="C4C4C4"/>
    <a:srgbClr val="005C90"/>
    <a:srgbClr val="00A0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55" autoAdjust="0"/>
    <p:restoredTop sz="50000" autoAdjust="0"/>
  </p:normalViewPr>
  <p:slideViewPr>
    <p:cSldViewPr snapToGrid="0" showGuides="1">
      <p:cViewPr varScale="1">
        <p:scale>
          <a:sx n="70" d="100"/>
          <a:sy n="70" d="100"/>
        </p:scale>
        <p:origin x="1512" y="60"/>
      </p:cViewPr>
      <p:guideLst>
        <p:guide orient="horz" pos="3793"/>
        <p:guide pos="1587"/>
      </p:guideLst>
    </p:cSldViewPr>
  </p:slideViewPr>
  <p:outlineViewPr>
    <p:cViewPr>
      <p:scale>
        <a:sx n="33" d="100"/>
        <a:sy n="33" d="100"/>
      </p:scale>
      <p:origin x="0" y="-723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540"/>
    </p:cViewPr>
  </p:sorterViewPr>
  <p:notesViewPr>
    <p:cSldViewPr snapToGrid="0" showGuides="1">
      <p:cViewPr varScale="1">
        <p:scale>
          <a:sx n="82" d="100"/>
          <a:sy n="82" d="100"/>
        </p:scale>
        <p:origin x="3876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0486080959972"/>
          <c:y val="4.5176090415609799E-2"/>
          <c:w val="0.41364804841804098"/>
          <c:h val="0.68877177642720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млрд долл.США</c:v>
                </c:pt>
              </c:strCache>
            </c:strRef>
          </c:tx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A987-4564-871C-F8D19B8643E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A987-4564-871C-F8D19B8643E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2-A987-4564-871C-F8D19B8643E7}"/>
              </c:ext>
            </c:extLst>
          </c:dPt>
          <c:dPt>
            <c:idx val="6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3-A987-4564-871C-F8D19B8643E7}"/>
              </c:ext>
            </c:extLst>
          </c:dPt>
          <c:dPt>
            <c:idx val="7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4-A987-4564-871C-F8D19B8643E7}"/>
              </c:ext>
            </c:extLst>
          </c:dPt>
          <c:dPt>
            <c:idx val="9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5-A987-4564-871C-F8D19B8643E7}"/>
              </c:ext>
            </c:extLst>
          </c:dPt>
          <c:dLbls>
            <c:dLbl>
              <c:idx val="0"/>
              <c:layout>
                <c:manualLayout>
                  <c:x val="0.16007242234987401"/>
                  <c:y val="-4.625144193188271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l">
                    <a:defRPr sz="1100"/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A987-4564-871C-F8D19B8643E7}"/>
                </c:ext>
              </c:extLst>
            </c:dLbl>
            <c:dLbl>
              <c:idx val="1"/>
              <c:layout>
                <c:manualLayout>
                  <c:x val="0.17678083445751747"/>
                  <c:y val="-4.1120720977562031E-2"/>
                </c:manualLayout>
              </c:layout>
              <c:tx>
                <c:rich>
                  <a:bodyPr wrap="square" lIns="38100" tIns="19050" rIns="38100" bIns="19050" anchor="ctr" anchorCtr="0">
                    <a:noAutofit/>
                  </a:bodyPr>
                  <a:lstStyle/>
                  <a:p>
                    <a:pPr algn="l">
                      <a:defRPr sz="1100"/>
                    </a:pPr>
                    <a:fld id="{BA8EDBC9-DD07-449B-A4B2-514C1505502E}" type="CATEGORYNAME">
                      <a:rPr lang="ru-RU" sz="1100" smtClean="0"/>
                      <a:pPr algn="l">
                        <a:defRPr sz="1100"/>
                      </a:pPr>
                      <a:t>[ИМЯ КАТЕГОРИИ]</a:t>
                    </a:fld>
                    <a:r>
                      <a:rPr lang="ru-RU" sz="1100" baseline="0" dirty="0" smtClean="0"/>
                      <a:t> </a:t>
                    </a:r>
                    <a:fld id="{06EEBAEE-7F8A-4A2F-8D80-CE941492F111}" type="VALUE">
                      <a:rPr lang="ru-RU" sz="1100" baseline="0"/>
                      <a:pPr algn="l">
                        <a:defRPr sz="1100"/>
                      </a:pPr>
                      <a:t>[ЗНАЧЕНИЕ]</a:t>
                    </a:fld>
                    <a:endParaRPr lang="ru-RU" sz="1100" baseline="0" dirty="0" smtClean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10496910793953"/>
                      <c:h val="0.2337388240541750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987-4564-871C-F8D19B8643E7}"/>
                </c:ext>
              </c:extLst>
            </c:dLbl>
            <c:dLbl>
              <c:idx val="2"/>
              <c:layout>
                <c:manualLayout>
                  <c:x val="0.26430831096014978"/>
                  <c:y val="7.383678996717546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noAutofit/>
                </a:bodyPr>
                <a:lstStyle/>
                <a:p>
                  <a:pPr algn="l">
                    <a:defRPr sz="1100"/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6655777259633382"/>
                      <c:h val="0.1916008871996733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987-4564-871C-F8D19B8643E7}"/>
                </c:ext>
              </c:extLst>
            </c:dLbl>
            <c:dLbl>
              <c:idx val="3"/>
              <c:layout>
                <c:manualLayout>
                  <c:x val="-0.15362857328296431"/>
                  <c:y val="0.1672602248367876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noAutofit/>
                </a:bodyPr>
                <a:lstStyle/>
                <a:p>
                  <a:pPr algn="r">
                    <a:defRPr sz="1100"/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064008357928133"/>
                      <c:h val="0.2267851872051738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6EBA-487B-9787-0ABB41FF0A43}"/>
                </c:ext>
              </c:extLst>
            </c:dLbl>
            <c:dLbl>
              <c:idx val="4"/>
              <c:layout>
                <c:manualLayout>
                  <c:x val="-0.18908160727740864"/>
                  <c:y val="0.1279052651721447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noAutofit/>
                </a:bodyPr>
                <a:lstStyle/>
                <a:p>
                  <a:pPr algn="r">
                    <a:defRPr sz="1100"/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8614853932829976"/>
                      <c:h val="0.2366240239602789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C-6EBA-487B-9787-0ABB41FF0A43}"/>
                </c:ext>
              </c:extLst>
            </c:dLbl>
            <c:dLbl>
              <c:idx val="5"/>
              <c:layout>
                <c:manualLayout>
                  <c:x val="-0.2363521254117259"/>
                  <c:y val="3.935534702042062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noAutofit/>
                </a:bodyPr>
                <a:lstStyle/>
                <a:p>
                  <a:pPr algn="r">
                    <a:defRPr sz="1100"/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0832119586672441"/>
                      <c:h val="0.2625741495797577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D-6EBA-487B-9787-0ABB41FF0A43}"/>
                </c:ext>
              </c:extLst>
            </c:dLbl>
            <c:dLbl>
              <c:idx val="6"/>
              <c:layout>
                <c:manualLayout>
                  <c:x val="-0.23576322274339082"/>
                  <c:y val="-4.16260265896500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noAutofit/>
                </a:bodyPr>
                <a:lstStyle/>
                <a:p>
                  <a:pPr algn="r">
                    <a:defRPr sz="1100"/>
                  </a:pPr>
                  <a:endParaRPr lang="ru-RU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8964938714808036"/>
                      <c:h val="0.1565606835434996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A987-4564-871C-F8D19B8643E7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987-4564-871C-F8D19B8643E7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EBA-487B-9787-0ABB41FF0A43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987-4564-871C-F8D19B8643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r">
                  <a:defRPr sz="1100"/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11</c:f>
              <c:strCache>
                <c:ptCount val="7"/>
                <c:pt idx="0">
                  <c:v>Транспорт</c:v>
                </c:pt>
                <c:pt idx="1">
                  <c:v>Финансовый сектор</c:v>
                </c:pt>
                <c:pt idx="2">
                  <c:v>Энергетика</c:v>
                </c:pt>
                <c:pt idx="3">
                  <c:v>Химическая промышленность</c:v>
                </c:pt>
                <c:pt idx="4">
                  <c:v>Иная инфраструктура</c:v>
                </c:pt>
                <c:pt idx="5">
                  <c:v>Горнодобывающая промышленность</c:v>
                </c:pt>
                <c:pt idx="6">
                  <c:v>Прочие отрасли</c:v>
                </c:pt>
              </c:strCache>
            </c:strRef>
          </c:cat>
          <c:val>
            <c:numRef>
              <c:f>Лист1!$B$2:$B$11</c:f>
              <c:numCache>
                <c:formatCode>0.0%</c:formatCode>
                <c:ptCount val="10"/>
                <c:pt idx="0">
                  <c:v>0.25</c:v>
                </c:pt>
                <c:pt idx="1">
                  <c:v>0.16300000000000001</c:v>
                </c:pt>
                <c:pt idx="2">
                  <c:v>0.14499999999999999</c:v>
                </c:pt>
                <c:pt idx="3">
                  <c:v>0.14199999999999999</c:v>
                </c:pt>
                <c:pt idx="4">
                  <c:v>0.107</c:v>
                </c:pt>
                <c:pt idx="5">
                  <c:v>9.0999999999999998E-2</c:v>
                </c:pt>
                <c:pt idx="6">
                  <c:v>0.10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987-4564-871C-F8D19B8643E7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0"/>
        </c:dLbls>
        <c:firstSliceAng val="0"/>
        <c:holeSize val="65"/>
      </c:doughnutChart>
      <c:spPr>
        <a:noFill/>
        <a:ln w="25336">
          <a:noFill/>
        </a:ln>
      </c:spPr>
    </c:plotArea>
    <c:plotVisOnly val="1"/>
    <c:dispBlanksAs val="zero"/>
    <c:showDLblsOverMax val="0"/>
  </c:chart>
  <c:txPr>
    <a:bodyPr/>
    <a:lstStyle/>
    <a:p>
      <a:pPr>
        <a:defRPr sz="179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706473411583598"/>
          <c:y val="0.13295528872805865"/>
          <c:w val="0.52097891865079404"/>
          <c:h val="0.7422867917647559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млрд долл.США</c:v>
                </c:pt>
              </c:strCache>
            </c:strRef>
          </c:tx>
          <c:spPr>
            <a:ln>
              <a:miter lim="800000"/>
            </a:ln>
          </c:spPr>
          <c:dPt>
            <c:idx val="0"/>
            <c:bubble3D val="0"/>
            <c:spPr>
              <a:solidFill>
                <a:schemeClr val="accent1"/>
              </a:solidFill>
              <a:ln>
                <a:miter lim="800000"/>
              </a:ln>
            </c:spPr>
            <c:extLst>
              <c:ext xmlns:c16="http://schemas.microsoft.com/office/drawing/2014/chart" uri="{C3380CC4-5D6E-409C-BE32-E72D297353CC}">
                <c16:uniqueId val="{00000000-387B-4A2A-93B3-EEF7CA46BA5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miter lim="800000"/>
              </a:ln>
            </c:spPr>
            <c:extLst>
              <c:ext xmlns:c16="http://schemas.microsoft.com/office/drawing/2014/chart" uri="{C3380CC4-5D6E-409C-BE32-E72D297353CC}">
                <c16:uniqueId val="{00000001-387B-4A2A-93B3-EEF7CA46BA5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miter lim="800000"/>
              </a:ln>
            </c:spPr>
            <c:extLst>
              <c:ext xmlns:c16="http://schemas.microsoft.com/office/drawing/2014/chart" uri="{C3380CC4-5D6E-409C-BE32-E72D297353CC}">
                <c16:uniqueId val="{00000002-387B-4A2A-93B3-EEF7CA46BA5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miter lim="800000"/>
              </a:ln>
            </c:spPr>
            <c:extLst>
              <c:ext xmlns:c16="http://schemas.microsoft.com/office/drawing/2014/chart" uri="{C3380CC4-5D6E-409C-BE32-E72D297353CC}">
                <c16:uniqueId val="{00000003-387B-4A2A-93B3-EEF7CA46BA5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miter lim="800000"/>
              </a:ln>
            </c:spPr>
            <c:extLst>
              <c:ext xmlns:c16="http://schemas.microsoft.com/office/drawing/2014/chart" uri="{C3380CC4-5D6E-409C-BE32-E72D297353CC}">
                <c16:uniqueId val="{00000004-387B-4A2A-93B3-EEF7CA46BA5F}"/>
              </c:ext>
            </c:extLst>
          </c:dPt>
          <c:dLbls>
            <c:dLbl>
              <c:idx val="0"/>
              <c:layout>
                <c:manualLayout>
                  <c:x val="-0.15089963073495397"/>
                  <c:y val="-5.15951849910825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203099252949745"/>
                      <c:h val="0.216981205244316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387B-4A2A-93B3-EEF7CA46BA5F}"/>
                </c:ext>
              </c:extLst>
            </c:dLbl>
            <c:dLbl>
              <c:idx val="1"/>
              <c:layout>
                <c:manualLayout>
                  <c:x val="0.12697651854526598"/>
                  <c:y val="-0.1500950836104220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79361497786786"/>
                      <c:h val="0.216981205244316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87B-4A2A-93B3-EEF7CA46BA5F}"/>
                </c:ext>
              </c:extLst>
            </c:dLbl>
            <c:dLbl>
              <c:idx val="2"/>
              <c:layout>
                <c:manualLayout>
                  <c:x val="0.22450920670322416"/>
                  <c:y val="0.1149167330534562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400"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106045896440019"/>
                      <c:h val="0.1653860202532337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387B-4A2A-93B3-EEF7CA46BA5F}"/>
                </c:ext>
              </c:extLst>
            </c:dLbl>
            <c:dLbl>
              <c:idx val="3"/>
              <c:layout>
                <c:manualLayout>
                  <c:x val="-0.11409484275081887"/>
                  <c:y val="0.1641664976988990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387B-4A2A-93B3-EEF7CA46BA5F}"/>
                </c:ext>
              </c:extLst>
            </c:dLbl>
            <c:dLbl>
              <c:idx val="4"/>
              <c:layout>
                <c:manualLayout>
                  <c:x val="-0.16930202472702149"/>
                  <c:y val="-2.34523568141285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387B-4A2A-93B3-EEF7CA46BA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Казахстан</c:v>
                </c:pt>
                <c:pt idx="1">
                  <c:v>Россия</c:v>
                </c:pt>
                <c:pt idx="2">
                  <c:v>Беларусь</c:v>
                </c:pt>
                <c:pt idx="3">
                  <c:v>Армения</c:v>
                </c:pt>
                <c:pt idx="4">
                  <c:v>Кыргызстан</c:v>
                </c:pt>
              </c:strCache>
            </c:strRef>
          </c:cat>
          <c:val>
            <c:numRef>
              <c:f>Лист1!$B$2:$B$6</c:f>
              <c:numCache>
                <c:formatCode>0.0%</c:formatCode>
                <c:ptCount val="5"/>
                <c:pt idx="0">
                  <c:v>0.39200000000000002</c:v>
                </c:pt>
                <c:pt idx="1">
                  <c:v>0.35099999999999998</c:v>
                </c:pt>
                <c:pt idx="2">
                  <c:v>0.22800000000000001</c:v>
                </c:pt>
                <c:pt idx="3">
                  <c:v>1.2999999999999999E-2</c:v>
                </c:pt>
                <c:pt idx="4">
                  <c:v>1.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87B-4A2A-93B3-EEF7CA46BA5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235"/>
        <c:holeSize val="65"/>
      </c:doughnutChart>
      <c:spPr>
        <a:noFill/>
        <a:ln w="25345">
          <a:noFill/>
        </a:ln>
      </c:spPr>
    </c:plotArea>
    <c:plotVisOnly val="1"/>
    <c:dispBlanksAs val="zero"/>
    <c:showDLblsOverMax val="0"/>
  </c:chart>
  <c:txPr>
    <a:bodyPr/>
    <a:lstStyle/>
    <a:p>
      <a:pPr>
        <a:defRPr sz="1792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158648549394E-2"/>
          <c:y val="0.14905966743551"/>
          <c:w val="0.917710310886656"/>
          <c:h val="0.684104052068952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млрд долл.США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0-CFA8-4152-983E-C0BA9804B44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CFA8-4152-983E-C0BA9804B44D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CFA8-4152-983E-C0BA9804B44D}"/>
              </c:ext>
            </c:extLst>
          </c:dPt>
          <c:dLbls>
            <c:spPr>
              <a:noFill/>
              <a:ln w="25347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accent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 formatCode="m/d/yyyy">
                  <c:v>44105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4.9000000000000004</c:v>
                </c:pt>
                <c:pt idx="1">
                  <c:v>5.4</c:v>
                </c:pt>
                <c:pt idx="2">
                  <c:v>6.1</c:v>
                </c:pt>
                <c:pt idx="3">
                  <c:v>7.4</c:v>
                </c:pt>
                <c:pt idx="4">
                  <c:v>9.3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FA8-4152-983E-C0BA9804B4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-623680848"/>
        <c:axId val="-623649840"/>
      </c:barChart>
      <c:catAx>
        <c:axId val="-623680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ln w="9505">
            <a:solidFill>
              <a:schemeClr val="accent3"/>
            </a:solidFill>
          </a:ln>
        </c:spPr>
        <c:txPr>
          <a:bodyPr rot="0" vert="horz"/>
          <a:lstStyle/>
          <a:p>
            <a:pPr>
              <a:defRPr sz="1100">
                <a:solidFill>
                  <a:schemeClr val="tx1"/>
                </a:solidFill>
              </a:defRPr>
            </a:pPr>
            <a:endParaRPr lang="ru-RU"/>
          </a:p>
        </c:txPr>
        <c:crossAx val="-623649840"/>
        <c:crosses val="autoZero"/>
        <c:auto val="1"/>
        <c:lblAlgn val="ctr"/>
        <c:lblOffset val="100"/>
        <c:noMultiLvlLbl val="0"/>
      </c:catAx>
      <c:valAx>
        <c:axId val="-62364984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623680848"/>
        <c:crosses val="autoZero"/>
        <c:crossBetween val="between"/>
      </c:valAx>
      <c:spPr>
        <a:noFill/>
        <a:ln w="25347">
          <a:noFill/>
        </a:ln>
      </c:spPr>
    </c:plotArea>
    <c:plotVisOnly val="1"/>
    <c:dispBlanksAs val="gap"/>
    <c:showDLblsOverMax val="0"/>
  </c:chart>
  <c:txPr>
    <a:bodyPr/>
    <a:lstStyle/>
    <a:p>
      <a:pPr>
        <a:defRPr sz="1397"/>
      </a:pPr>
      <a:endParaRPr lang="ru-RU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8964</cdr:x>
      <cdr:y>0.90775</cdr:y>
    </cdr:from>
    <cdr:to>
      <cdr:x>0.59903</cdr:x>
      <cdr:y>1</cdr:y>
    </cdr:to>
    <cdr:sp macro="" textlink="">
      <cdr:nvSpPr>
        <cdr:cNvPr id="2" name="TextBox 15"/>
        <cdr:cNvSpPr txBox="1"/>
      </cdr:nvSpPr>
      <cdr:spPr>
        <a:xfrm xmlns:a="http://schemas.openxmlformats.org/drawingml/2006/main">
          <a:off x="2285843" y="1696751"/>
          <a:ext cx="36416" cy="17222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0" rIns="0" bIns="0" rtlCol="0">
          <a:spAutoFit/>
        </a:bodyPr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D46A38-E050-4126-A3C0-E8D8FDCCF2AC}" type="datetimeFigureOut">
              <a:rPr lang="ru-RU" smtClean="0"/>
              <a:t>01.12.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03418C-3ED5-4B8A-9FA8-7A6991AE01A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2035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F873E2-9EDA-4DFB-B6A1-436C01E50C57}" type="datetimeFigureOut">
              <a:rPr lang="ru-RU" smtClean="0"/>
              <a:t>01.12.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C8B18C-14FA-4881-990B-C4A7765F27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64232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C8B18C-14FA-4881-990B-C4A7765F2797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95898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2765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867E0C92-4F41-4B8C-8258-BD0930B9E668}" type="slidenum">
              <a:rPr lang="ru-RU" altLang="ru-RU" smtClean="0">
                <a:latin typeface="Calibri" panose="020F0502020204030204" pitchFamily="34" charset="0"/>
              </a:rPr>
              <a:pPr/>
              <a:t>2</a:t>
            </a:fld>
            <a:endParaRPr lang="en-GB" altLang="ru-RU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7585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en-US" smtClean="0"/>
          </a:p>
        </p:txBody>
      </p:sp>
    </p:spTree>
    <p:extLst>
      <p:ext uri="{BB962C8B-B14F-4D97-AF65-F5344CB8AC3E}">
        <p14:creationId xmlns:p14="http://schemas.microsoft.com/office/powerpoint/2010/main" val="1465413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 eaLnBrk="1" hangingPunct="1">
              <a:spcBef>
                <a:spcPct val="0"/>
              </a:spcBef>
              <a:buFontTx/>
              <a:buChar char="-"/>
            </a:pPr>
            <a:endParaRPr lang="ru-RU" altLang="ru-RU" smtClean="0"/>
          </a:p>
        </p:txBody>
      </p:sp>
      <p:sp>
        <p:nvSpPr>
          <p:cNvPr id="3482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FCFCA6D0-4BCA-44AA-83E7-F8A29814BC02}" type="slidenum">
              <a:rPr lang="ru-RU" altLang="ru-RU" smtClean="0">
                <a:latin typeface="Calibri" panose="020F0502020204030204" pitchFamily="34" charset="0"/>
              </a:rPr>
              <a:pPr/>
              <a:t>6</a:t>
            </a:fld>
            <a:endParaRPr lang="en-GB" altLang="ru-RU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80808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3686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19470B70-1B39-42A4-8F55-FCF7415A1863}" type="slidenum">
              <a:rPr lang="ru-RU" altLang="ru-RU" smtClean="0">
                <a:solidFill>
                  <a:srgbClr val="000000"/>
                </a:solidFill>
                <a:latin typeface="Calibri" panose="020F0502020204030204" pitchFamily="34" charset="0"/>
              </a:rPr>
              <a:pPr/>
              <a:t>7</a:t>
            </a:fld>
            <a:endParaRPr lang="en-GB" altLang="ru-RU" smtClean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45903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jp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jp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jp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68761" y="2839969"/>
            <a:ext cx="4824413" cy="73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Подзаголовок в одну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или две строки</a:t>
            </a:r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3638733" y="353061"/>
            <a:ext cx="3526627" cy="362305"/>
            <a:chOff x="511423" y="414244"/>
            <a:chExt cx="7085956" cy="727969"/>
          </a:xfrm>
        </p:grpSpPr>
        <p:grpSp>
          <p:nvGrpSpPr>
            <p:cNvPr id="9" name="Группа 8"/>
            <p:cNvGrpSpPr/>
            <p:nvPr/>
          </p:nvGrpSpPr>
          <p:grpSpPr>
            <a:xfrm>
              <a:off x="511423" y="414244"/>
              <a:ext cx="727969" cy="727969"/>
              <a:chOff x="609076" y="4151667"/>
              <a:chExt cx="393700" cy="393700"/>
            </a:xfrm>
          </p:grpSpPr>
          <p:sp>
            <p:nvSpPr>
              <p:cNvPr id="11" name="Freeform 6"/>
              <p:cNvSpPr>
                <a:spLocks/>
              </p:cNvSpPr>
              <p:nvPr/>
            </p:nvSpPr>
            <p:spPr bwMode="auto">
              <a:xfrm>
                <a:off x="617014" y="4151667"/>
                <a:ext cx="385762" cy="339725"/>
              </a:xfrm>
              <a:custGeom>
                <a:avLst/>
                <a:gdLst>
                  <a:gd name="T0" fmla="*/ 170 w 1698"/>
                  <a:gd name="T1" fmla="*/ 303 h 1496"/>
                  <a:gd name="T2" fmla="*/ 225 w 1698"/>
                  <a:gd name="T3" fmla="*/ 245 h 1496"/>
                  <a:gd name="T4" fmla="*/ 460 w 1698"/>
                  <a:gd name="T5" fmla="*/ 83 h 1496"/>
                  <a:gd name="T6" fmla="*/ 785 w 1698"/>
                  <a:gd name="T7" fmla="*/ 1 h 1496"/>
                  <a:gd name="T8" fmla="*/ 1128 w 1698"/>
                  <a:gd name="T9" fmla="*/ 53 h 1496"/>
                  <a:gd name="T10" fmla="*/ 1414 w 1698"/>
                  <a:gd name="T11" fmla="*/ 226 h 1496"/>
                  <a:gd name="T12" fmla="*/ 1612 w 1698"/>
                  <a:gd name="T13" fmla="*/ 493 h 1496"/>
                  <a:gd name="T14" fmla="*/ 1697 w 1698"/>
                  <a:gd name="T15" fmla="*/ 824 h 1496"/>
                  <a:gd name="T16" fmla="*/ 1684 w 1698"/>
                  <a:gd name="T17" fmla="*/ 1026 h 1496"/>
                  <a:gd name="T18" fmla="*/ 1566 w 1698"/>
                  <a:gd name="T19" fmla="*/ 1331 h 1496"/>
                  <a:gd name="T20" fmla="*/ 1484 w 1698"/>
                  <a:gd name="T21" fmla="*/ 1429 h 1496"/>
                  <a:gd name="T22" fmla="*/ 1579 w 1698"/>
                  <a:gd name="T23" fmla="*/ 1218 h 1496"/>
                  <a:gd name="T24" fmla="*/ 1590 w 1698"/>
                  <a:gd name="T25" fmla="*/ 981 h 1496"/>
                  <a:gd name="T26" fmla="*/ 1521 w 1698"/>
                  <a:gd name="T27" fmla="*/ 768 h 1496"/>
                  <a:gd name="T28" fmla="*/ 1400 w 1698"/>
                  <a:gd name="T29" fmla="*/ 558 h 1496"/>
                  <a:gd name="T30" fmla="*/ 1217 w 1698"/>
                  <a:gd name="T31" fmla="*/ 348 h 1496"/>
                  <a:gd name="T32" fmla="*/ 979 w 1698"/>
                  <a:gd name="T33" fmla="*/ 237 h 1496"/>
                  <a:gd name="T34" fmla="*/ 728 w 1698"/>
                  <a:gd name="T35" fmla="*/ 228 h 1496"/>
                  <a:gd name="T36" fmla="*/ 482 w 1698"/>
                  <a:gd name="T37" fmla="*/ 320 h 1496"/>
                  <a:gd name="T38" fmla="*/ 342 w 1698"/>
                  <a:gd name="T39" fmla="*/ 438 h 1496"/>
                  <a:gd name="T40" fmla="*/ 246 w 1698"/>
                  <a:gd name="T41" fmla="*/ 622 h 1496"/>
                  <a:gd name="T42" fmla="*/ 246 w 1698"/>
                  <a:gd name="T43" fmla="*/ 804 h 1496"/>
                  <a:gd name="T44" fmla="*/ 303 w 1698"/>
                  <a:gd name="T45" fmla="*/ 935 h 1496"/>
                  <a:gd name="T46" fmla="*/ 433 w 1698"/>
                  <a:gd name="T47" fmla="*/ 1061 h 1496"/>
                  <a:gd name="T48" fmla="*/ 598 w 1698"/>
                  <a:gd name="T49" fmla="*/ 1115 h 1496"/>
                  <a:gd name="T50" fmla="*/ 746 w 1698"/>
                  <a:gd name="T51" fmla="*/ 1104 h 1496"/>
                  <a:gd name="T52" fmla="*/ 893 w 1698"/>
                  <a:gd name="T53" fmla="*/ 1030 h 1496"/>
                  <a:gd name="T54" fmla="*/ 966 w 1698"/>
                  <a:gd name="T55" fmla="*/ 953 h 1496"/>
                  <a:gd name="T56" fmla="*/ 974 w 1698"/>
                  <a:gd name="T57" fmla="*/ 940 h 1496"/>
                  <a:gd name="T58" fmla="*/ 980 w 1698"/>
                  <a:gd name="T59" fmla="*/ 926 h 1496"/>
                  <a:gd name="T60" fmla="*/ 988 w 1698"/>
                  <a:gd name="T61" fmla="*/ 897 h 1496"/>
                  <a:gd name="T62" fmla="*/ 989 w 1698"/>
                  <a:gd name="T63" fmla="*/ 853 h 1496"/>
                  <a:gd name="T64" fmla="*/ 931 w 1698"/>
                  <a:gd name="T65" fmla="*/ 745 h 1496"/>
                  <a:gd name="T66" fmla="*/ 816 w 1698"/>
                  <a:gd name="T67" fmla="*/ 709 h 1496"/>
                  <a:gd name="T68" fmla="*/ 728 w 1698"/>
                  <a:gd name="T69" fmla="*/ 745 h 1496"/>
                  <a:gd name="T70" fmla="*/ 753 w 1698"/>
                  <a:gd name="T71" fmla="*/ 724 h 1496"/>
                  <a:gd name="T72" fmla="*/ 761 w 1698"/>
                  <a:gd name="T73" fmla="*/ 718 h 1496"/>
                  <a:gd name="T74" fmla="*/ 775 w 1698"/>
                  <a:gd name="T75" fmla="*/ 710 h 1496"/>
                  <a:gd name="T76" fmla="*/ 781 w 1698"/>
                  <a:gd name="T77" fmla="*/ 707 h 1496"/>
                  <a:gd name="T78" fmla="*/ 800 w 1698"/>
                  <a:gd name="T79" fmla="*/ 697 h 1496"/>
                  <a:gd name="T80" fmla="*/ 816 w 1698"/>
                  <a:gd name="T81" fmla="*/ 688 h 1496"/>
                  <a:gd name="T82" fmla="*/ 835 w 1698"/>
                  <a:gd name="T83" fmla="*/ 680 h 1496"/>
                  <a:gd name="T84" fmla="*/ 853 w 1698"/>
                  <a:gd name="T85" fmla="*/ 673 h 1496"/>
                  <a:gd name="T86" fmla="*/ 872 w 1698"/>
                  <a:gd name="T87" fmla="*/ 668 h 1496"/>
                  <a:gd name="T88" fmla="*/ 923 w 1698"/>
                  <a:gd name="T89" fmla="*/ 656 h 1496"/>
                  <a:gd name="T90" fmla="*/ 1014 w 1698"/>
                  <a:gd name="T91" fmla="*/ 653 h 1496"/>
                  <a:gd name="T92" fmla="*/ 1156 w 1698"/>
                  <a:gd name="T93" fmla="*/ 690 h 1496"/>
                  <a:gd name="T94" fmla="*/ 1220 w 1698"/>
                  <a:gd name="T95" fmla="*/ 805 h 1496"/>
                  <a:gd name="T96" fmla="*/ 1208 w 1698"/>
                  <a:gd name="T97" fmla="*/ 985 h 1496"/>
                  <a:gd name="T98" fmla="*/ 1089 w 1698"/>
                  <a:gd name="T99" fmla="*/ 1170 h 1496"/>
                  <a:gd name="T100" fmla="*/ 907 w 1698"/>
                  <a:gd name="T101" fmla="*/ 1301 h 1496"/>
                  <a:gd name="T102" fmla="*/ 703 w 1698"/>
                  <a:gd name="T103" fmla="*/ 1357 h 1496"/>
                  <a:gd name="T104" fmla="*/ 488 w 1698"/>
                  <a:gd name="T105" fmla="*/ 1341 h 1496"/>
                  <a:gd name="T106" fmla="*/ 331 w 1698"/>
                  <a:gd name="T107" fmla="*/ 1284 h 1496"/>
                  <a:gd name="T108" fmla="*/ 196 w 1698"/>
                  <a:gd name="T109" fmla="*/ 1186 h 1496"/>
                  <a:gd name="T110" fmla="*/ 92 w 1698"/>
                  <a:gd name="T111" fmla="*/ 1056 h 1496"/>
                  <a:gd name="T112" fmla="*/ 23 w 1698"/>
                  <a:gd name="T113" fmla="*/ 901 h 1496"/>
                  <a:gd name="T114" fmla="*/ 0 w 1698"/>
                  <a:gd name="T115" fmla="*/ 729 h 1496"/>
                  <a:gd name="T116" fmla="*/ 42 w 1698"/>
                  <a:gd name="T117" fmla="*/ 503 h 1496"/>
                  <a:gd name="T118" fmla="*/ 79 w 1698"/>
                  <a:gd name="T119" fmla="*/ 432 h 1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98" h="1496">
                    <a:moveTo>
                      <a:pt x="100" y="398"/>
                    </a:moveTo>
                    <a:lnTo>
                      <a:pt x="110" y="382"/>
                    </a:lnTo>
                    <a:lnTo>
                      <a:pt x="122" y="366"/>
                    </a:lnTo>
                    <a:lnTo>
                      <a:pt x="133" y="349"/>
                    </a:lnTo>
                    <a:lnTo>
                      <a:pt x="145" y="333"/>
                    </a:lnTo>
                    <a:lnTo>
                      <a:pt x="152" y="326"/>
                    </a:lnTo>
                    <a:lnTo>
                      <a:pt x="158" y="318"/>
                    </a:lnTo>
                    <a:lnTo>
                      <a:pt x="170" y="303"/>
                    </a:lnTo>
                    <a:lnTo>
                      <a:pt x="183" y="288"/>
                    </a:lnTo>
                    <a:lnTo>
                      <a:pt x="197" y="274"/>
                    </a:lnTo>
                    <a:lnTo>
                      <a:pt x="211" y="259"/>
                    </a:lnTo>
                    <a:lnTo>
                      <a:pt x="218" y="252"/>
                    </a:lnTo>
                    <a:lnTo>
                      <a:pt x="225" y="246"/>
                    </a:lnTo>
                    <a:lnTo>
                      <a:pt x="225" y="245"/>
                    </a:lnTo>
                    <a:lnTo>
                      <a:pt x="225" y="245"/>
                    </a:lnTo>
                    <a:lnTo>
                      <a:pt x="225" y="245"/>
                    </a:lnTo>
                    <a:lnTo>
                      <a:pt x="225" y="245"/>
                    </a:lnTo>
                    <a:lnTo>
                      <a:pt x="255" y="217"/>
                    </a:lnTo>
                    <a:lnTo>
                      <a:pt x="286" y="191"/>
                    </a:lnTo>
                    <a:lnTo>
                      <a:pt x="319" y="167"/>
                    </a:lnTo>
                    <a:lnTo>
                      <a:pt x="352" y="143"/>
                    </a:lnTo>
                    <a:lnTo>
                      <a:pt x="387" y="121"/>
                    </a:lnTo>
                    <a:lnTo>
                      <a:pt x="423" y="102"/>
                    </a:lnTo>
                    <a:lnTo>
                      <a:pt x="460" y="83"/>
                    </a:lnTo>
                    <a:lnTo>
                      <a:pt x="498" y="66"/>
                    </a:lnTo>
                    <a:lnTo>
                      <a:pt x="536" y="51"/>
                    </a:lnTo>
                    <a:lnTo>
                      <a:pt x="576" y="38"/>
                    </a:lnTo>
                    <a:lnTo>
                      <a:pt x="616" y="27"/>
                    </a:lnTo>
                    <a:lnTo>
                      <a:pt x="658" y="17"/>
                    </a:lnTo>
                    <a:lnTo>
                      <a:pt x="700" y="10"/>
                    </a:lnTo>
                    <a:lnTo>
                      <a:pt x="743" y="5"/>
                    </a:lnTo>
                    <a:lnTo>
                      <a:pt x="785" y="1"/>
                    </a:lnTo>
                    <a:lnTo>
                      <a:pt x="829" y="0"/>
                    </a:lnTo>
                    <a:lnTo>
                      <a:pt x="875" y="1"/>
                    </a:lnTo>
                    <a:lnTo>
                      <a:pt x="919" y="5"/>
                    </a:lnTo>
                    <a:lnTo>
                      <a:pt x="961" y="10"/>
                    </a:lnTo>
                    <a:lnTo>
                      <a:pt x="1004" y="18"/>
                    </a:lnTo>
                    <a:lnTo>
                      <a:pt x="1047" y="28"/>
                    </a:lnTo>
                    <a:lnTo>
                      <a:pt x="1088" y="39"/>
                    </a:lnTo>
                    <a:lnTo>
                      <a:pt x="1128" y="53"/>
                    </a:lnTo>
                    <a:lnTo>
                      <a:pt x="1168" y="68"/>
                    </a:lnTo>
                    <a:lnTo>
                      <a:pt x="1206" y="86"/>
                    </a:lnTo>
                    <a:lnTo>
                      <a:pt x="1244" y="105"/>
                    </a:lnTo>
                    <a:lnTo>
                      <a:pt x="1280" y="126"/>
                    </a:lnTo>
                    <a:lnTo>
                      <a:pt x="1316" y="149"/>
                    </a:lnTo>
                    <a:lnTo>
                      <a:pt x="1349" y="173"/>
                    </a:lnTo>
                    <a:lnTo>
                      <a:pt x="1382" y="199"/>
                    </a:lnTo>
                    <a:lnTo>
                      <a:pt x="1414" y="226"/>
                    </a:lnTo>
                    <a:lnTo>
                      <a:pt x="1444" y="254"/>
                    </a:lnTo>
                    <a:lnTo>
                      <a:pt x="1473" y="285"/>
                    </a:lnTo>
                    <a:lnTo>
                      <a:pt x="1500" y="317"/>
                    </a:lnTo>
                    <a:lnTo>
                      <a:pt x="1525" y="349"/>
                    </a:lnTo>
                    <a:lnTo>
                      <a:pt x="1550" y="383"/>
                    </a:lnTo>
                    <a:lnTo>
                      <a:pt x="1573" y="419"/>
                    </a:lnTo>
                    <a:lnTo>
                      <a:pt x="1594" y="455"/>
                    </a:lnTo>
                    <a:lnTo>
                      <a:pt x="1612" y="493"/>
                    </a:lnTo>
                    <a:lnTo>
                      <a:pt x="1631" y="531"/>
                    </a:lnTo>
                    <a:lnTo>
                      <a:pt x="1646" y="570"/>
                    </a:lnTo>
                    <a:lnTo>
                      <a:pt x="1660" y="611"/>
                    </a:lnTo>
                    <a:lnTo>
                      <a:pt x="1671" y="651"/>
                    </a:lnTo>
                    <a:lnTo>
                      <a:pt x="1681" y="694"/>
                    </a:lnTo>
                    <a:lnTo>
                      <a:pt x="1689" y="737"/>
                    </a:lnTo>
                    <a:lnTo>
                      <a:pt x="1695" y="780"/>
                    </a:lnTo>
                    <a:lnTo>
                      <a:pt x="1697" y="824"/>
                    </a:lnTo>
                    <a:lnTo>
                      <a:pt x="1698" y="869"/>
                    </a:lnTo>
                    <a:lnTo>
                      <a:pt x="1698" y="892"/>
                    </a:lnTo>
                    <a:lnTo>
                      <a:pt x="1697" y="915"/>
                    </a:lnTo>
                    <a:lnTo>
                      <a:pt x="1696" y="937"/>
                    </a:lnTo>
                    <a:lnTo>
                      <a:pt x="1693" y="960"/>
                    </a:lnTo>
                    <a:lnTo>
                      <a:pt x="1691" y="982"/>
                    </a:lnTo>
                    <a:lnTo>
                      <a:pt x="1688" y="1004"/>
                    </a:lnTo>
                    <a:lnTo>
                      <a:pt x="1684" y="1026"/>
                    </a:lnTo>
                    <a:lnTo>
                      <a:pt x="1679" y="1048"/>
                    </a:lnTo>
                    <a:lnTo>
                      <a:pt x="1669" y="1092"/>
                    </a:lnTo>
                    <a:lnTo>
                      <a:pt x="1657" y="1134"/>
                    </a:lnTo>
                    <a:lnTo>
                      <a:pt x="1642" y="1176"/>
                    </a:lnTo>
                    <a:lnTo>
                      <a:pt x="1626" y="1216"/>
                    </a:lnTo>
                    <a:lnTo>
                      <a:pt x="1608" y="1255"/>
                    </a:lnTo>
                    <a:lnTo>
                      <a:pt x="1588" y="1294"/>
                    </a:lnTo>
                    <a:lnTo>
                      <a:pt x="1566" y="1331"/>
                    </a:lnTo>
                    <a:lnTo>
                      <a:pt x="1542" y="1367"/>
                    </a:lnTo>
                    <a:lnTo>
                      <a:pt x="1516" y="1401"/>
                    </a:lnTo>
                    <a:lnTo>
                      <a:pt x="1490" y="1434"/>
                    </a:lnTo>
                    <a:lnTo>
                      <a:pt x="1461" y="1466"/>
                    </a:lnTo>
                    <a:lnTo>
                      <a:pt x="1430" y="1496"/>
                    </a:lnTo>
                    <a:lnTo>
                      <a:pt x="1449" y="1474"/>
                    </a:lnTo>
                    <a:lnTo>
                      <a:pt x="1468" y="1452"/>
                    </a:lnTo>
                    <a:lnTo>
                      <a:pt x="1484" y="1429"/>
                    </a:lnTo>
                    <a:lnTo>
                      <a:pt x="1500" y="1405"/>
                    </a:lnTo>
                    <a:lnTo>
                      <a:pt x="1515" y="1380"/>
                    </a:lnTo>
                    <a:lnTo>
                      <a:pt x="1528" y="1355"/>
                    </a:lnTo>
                    <a:lnTo>
                      <a:pt x="1540" y="1328"/>
                    </a:lnTo>
                    <a:lnTo>
                      <a:pt x="1552" y="1302"/>
                    </a:lnTo>
                    <a:lnTo>
                      <a:pt x="1562" y="1275"/>
                    </a:lnTo>
                    <a:lnTo>
                      <a:pt x="1571" y="1246"/>
                    </a:lnTo>
                    <a:lnTo>
                      <a:pt x="1579" y="1218"/>
                    </a:lnTo>
                    <a:lnTo>
                      <a:pt x="1584" y="1189"/>
                    </a:lnTo>
                    <a:lnTo>
                      <a:pt x="1590" y="1159"/>
                    </a:lnTo>
                    <a:lnTo>
                      <a:pt x="1594" y="1129"/>
                    </a:lnTo>
                    <a:lnTo>
                      <a:pt x="1596" y="1099"/>
                    </a:lnTo>
                    <a:lnTo>
                      <a:pt x="1596" y="1069"/>
                    </a:lnTo>
                    <a:lnTo>
                      <a:pt x="1596" y="1039"/>
                    </a:lnTo>
                    <a:lnTo>
                      <a:pt x="1594" y="1010"/>
                    </a:lnTo>
                    <a:lnTo>
                      <a:pt x="1590" y="981"/>
                    </a:lnTo>
                    <a:lnTo>
                      <a:pt x="1586" y="953"/>
                    </a:lnTo>
                    <a:lnTo>
                      <a:pt x="1580" y="926"/>
                    </a:lnTo>
                    <a:lnTo>
                      <a:pt x="1573" y="898"/>
                    </a:lnTo>
                    <a:lnTo>
                      <a:pt x="1565" y="871"/>
                    </a:lnTo>
                    <a:lnTo>
                      <a:pt x="1556" y="845"/>
                    </a:lnTo>
                    <a:lnTo>
                      <a:pt x="1545" y="818"/>
                    </a:lnTo>
                    <a:lnTo>
                      <a:pt x="1534" y="794"/>
                    </a:lnTo>
                    <a:lnTo>
                      <a:pt x="1521" y="768"/>
                    </a:lnTo>
                    <a:lnTo>
                      <a:pt x="1507" y="745"/>
                    </a:lnTo>
                    <a:lnTo>
                      <a:pt x="1493" y="721"/>
                    </a:lnTo>
                    <a:lnTo>
                      <a:pt x="1477" y="699"/>
                    </a:lnTo>
                    <a:lnTo>
                      <a:pt x="1461" y="677"/>
                    </a:lnTo>
                    <a:lnTo>
                      <a:pt x="1443" y="655"/>
                    </a:lnTo>
                    <a:lnTo>
                      <a:pt x="1430" y="622"/>
                    </a:lnTo>
                    <a:lnTo>
                      <a:pt x="1417" y="590"/>
                    </a:lnTo>
                    <a:lnTo>
                      <a:pt x="1400" y="558"/>
                    </a:lnTo>
                    <a:lnTo>
                      <a:pt x="1382" y="528"/>
                    </a:lnTo>
                    <a:lnTo>
                      <a:pt x="1363" y="499"/>
                    </a:lnTo>
                    <a:lnTo>
                      <a:pt x="1342" y="470"/>
                    </a:lnTo>
                    <a:lnTo>
                      <a:pt x="1320" y="443"/>
                    </a:lnTo>
                    <a:lnTo>
                      <a:pt x="1296" y="418"/>
                    </a:lnTo>
                    <a:lnTo>
                      <a:pt x="1272" y="393"/>
                    </a:lnTo>
                    <a:lnTo>
                      <a:pt x="1245" y="370"/>
                    </a:lnTo>
                    <a:lnTo>
                      <a:pt x="1217" y="348"/>
                    </a:lnTo>
                    <a:lnTo>
                      <a:pt x="1188" y="327"/>
                    </a:lnTo>
                    <a:lnTo>
                      <a:pt x="1159" y="309"/>
                    </a:lnTo>
                    <a:lnTo>
                      <a:pt x="1128" y="293"/>
                    </a:lnTo>
                    <a:lnTo>
                      <a:pt x="1096" y="276"/>
                    </a:lnTo>
                    <a:lnTo>
                      <a:pt x="1063" y="263"/>
                    </a:lnTo>
                    <a:lnTo>
                      <a:pt x="1036" y="253"/>
                    </a:lnTo>
                    <a:lnTo>
                      <a:pt x="1008" y="244"/>
                    </a:lnTo>
                    <a:lnTo>
                      <a:pt x="979" y="237"/>
                    </a:lnTo>
                    <a:lnTo>
                      <a:pt x="950" y="231"/>
                    </a:lnTo>
                    <a:lnTo>
                      <a:pt x="921" y="226"/>
                    </a:lnTo>
                    <a:lnTo>
                      <a:pt x="891" y="222"/>
                    </a:lnTo>
                    <a:lnTo>
                      <a:pt x="861" y="221"/>
                    </a:lnTo>
                    <a:lnTo>
                      <a:pt x="829" y="220"/>
                    </a:lnTo>
                    <a:lnTo>
                      <a:pt x="795" y="221"/>
                    </a:lnTo>
                    <a:lnTo>
                      <a:pt x="761" y="223"/>
                    </a:lnTo>
                    <a:lnTo>
                      <a:pt x="728" y="228"/>
                    </a:lnTo>
                    <a:lnTo>
                      <a:pt x="694" y="234"/>
                    </a:lnTo>
                    <a:lnTo>
                      <a:pt x="662" y="242"/>
                    </a:lnTo>
                    <a:lnTo>
                      <a:pt x="630" y="251"/>
                    </a:lnTo>
                    <a:lnTo>
                      <a:pt x="599" y="261"/>
                    </a:lnTo>
                    <a:lnTo>
                      <a:pt x="569" y="274"/>
                    </a:lnTo>
                    <a:lnTo>
                      <a:pt x="539" y="288"/>
                    </a:lnTo>
                    <a:lnTo>
                      <a:pt x="510" y="303"/>
                    </a:lnTo>
                    <a:lnTo>
                      <a:pt x="482" y="320"/>
                    </a:lnTo>
                    <a:lnTo>
                      <a:pt x="455" y="338"/>
                    </a:lnTo>
                    <a:lnTo>
                      <a:pt x="430" y="357"/>
                    </a:lnTo>
                    <a:lnTo>
                      <a:pt x="404" y="378"/>
                    </a:lnTo>
                    <a:lnTo>
                      <a:pt x="380" y="400"/>
                    </a:lnTo>
                    <a:lnTo>
                      <a:pt x="358" y="422"/>
                    </a:lnTo>
                    <a:lnTo>
                      <a:pt x="357" y="423"/>
                    </a:lnTo>
                    <a:lnTo>
                      <a:pt x="357" y="423"/>
                    </a:lnTo>
                    <a:lnTo>
                      <a:pt x="342" y="438"/>
                    </a:lnTo>
                    <a:lnTo>
                      <a:pt x="328" y="455"/>
                    </a:lnTo>
                    <a:lnTo>
                      <a:pt x="315" y="472"/>
                    </a:lnTo>
                    <a:lnTo>
                      <a:pt x="303" y="489"/>
                    </a:lnTo>
                    <a:lnTo>
                      <a:pt x="287" y="514"/>
                    </a:lnTo>
                    <a:lnTo>
                      <a:pt x="275" y="540"/>
                    </a:lnTo>
                    <a:lnTo>
                      <a:pt x="263" y="567"/>
                    </a:lnTo>
                    <a:lnTo>
                      <a:pt x="253" y="595"/>
                    </a:lnTo>
                    <a:lnTo>
                      <a:pt x="246" y="622"/>
                    </a:lnTo>
                    <a:lnTo>
                      <a:pt x="240" y="651"/>
                    </a:lnTo>
                    <a:lnTo>
                      <a:pt x="237" y="681"/>
                    </a:lnTo>
                    <a:lnTo>
                      <a:pt x="235" y="713"/>
                    </a:lnTo>
                    <a:lnTo>
                      <a:pt x="237" y="731"/>
                    </a:lnTo>
                    <a:lnTo>
                      <a:pt x="238" y="750"/>
                    </a:lnTo>
                    <a:lnTo>
                      <a:pt x="240" y="768"/>
                    </a:lnTo>
                    <a:lnTo>
                      <a:pt x="242" y="787"/>
                    </a:lnTo>
                    <a:lnTo>
                      <a:pt x="246" y="804"/>
                    </a:lnTo>
                    <a:lnTo>
                      <a:pt x="250" y="823"/>
                    </a:lnTo>
                    <a:lnTo>
                      <a:pt x="256" y="839"/>
                    </a:lnTo>
                    <a:lnTo>
                      <a:pt x="262" y="856"/>
                    </a:lnTo>
                    <a:lnTo>
                      <a:pt x="269" y="872"/>
                    </a:lnTo>
                    <a:lnTo>
                      <a:pt x="276" y="889"/>
                    </a:lnTo>
                    <a:lnTo>
                      <a:pt x="284" y="905"/>
                    </a:lnTo>
                    <a:lnTo>
                      <a:pt x="293" y="920"/>
                    </a:lnTo>
                    <a:lnTo>
                      <a:pt x="303" y="935"/>
                    </a:lnTo>
                    <a:lnTo>
                      <a:pt x="313" y="950"/>
                    </a:lnTo>
                    <a:lnTo>
                      <a:pt x="323" y="964"/>
                    </a:lnTo>
                    <a:lnTo>
                      <a:pt x="335" y="978"/>
                    </a:lnTo>
                    <a:lnTo>
                      <a:pt x="352" y="996"/>
                    </a:lnTo>
                    <a:lnTo>
                      <a:pt x="371" y="1015"/>
                    </a:lnTo>
                    <a:lnTo>
                      <a:pt x="391" y="1031"/>
                    </a:lnTo>
                    <a:lnTo>
                      <a:pt x="411" y="1046"/>
                    </a:lnTo>
                    <a:lnTo>
                      <a:pt x="433" y="1061"/>
                    </a:lnTo>
                    <a:lnTo>
                      <a:pt x="457" y="1074"/>
                    </a:lnTo>
                    <a:lnTo>
                      <a:pt x="481" y="1084"/>
                    </a:lnTo>
                    <a:lnTo>
                      <a:pt x="505" y="1095"/>
                    </a:lnTo>
                    <a:lnTo>
                      <a:pt x="524" y="1100"/>
                    </a:lnTo>
                    <a:lnTo>
                      <a:pt x="543" y="1106"/>
                    </a:lnTo>
                    <a:lnTo>
                      <a:pt x="563" y="1110"/>
                    </a:lnTo>
                    <a:lnTo>
                      <a:pt x="584" y="1113"/>
                    </a:lnTo>
                    <a:lnTo>
                      <a:pt x="598" y="1115"/>
                    </a:lnTo>
                    <a:lnTo>
                      <a:pt x="612" y="1117"/>
                    </a:lnTo>
                    <a:lnTo>
                      <a:pt x="627" y="1117"/>
                    </a:lnTo>
                    <a:lnTo>
                      <a:pt x="641" y="1118"/>
                    </a:lnTo>
                    <a:lnTo>
                      <a:pt x="663" y="1117"/>
                    </a:lnTo>
                    <a:lnTo>
                      <a:pt x="684" y="1115"/>
                    </a:lnTo>
                    <a:lnTo>
                      <a:pt x="706" y="1112"/>
                    </a:lnTo>
                    <a:lnTo>
                      <a:pt x="726" y="1108"/>
                    </a:lnTo>
                    <a:lnTo>
                      <a:pt x="746" y="1104"/>
                    </a:lnTo>
                    <a:lnTo>
                      <a:pt x="767" y="1097"/>
                    </a:lnTo>
                    <a:lnTo>
                      <a:pt x="787" y="1090"/>
                    </a:lnTo>
                    <a:lnTo>
                      <a:pt x="805" y="1083"/>
                    </a:lnTo>
                    <a:lnTo>
                      <a:pt x="824" y="1074"/>
                    </a:lnTo>
                    <a:lnTo>
                      <a:pt x="842" y="1064"/>
                    </a:lnTo>
                    <a:lnTo>
                      <a:pt x="860" y="1053"/>
                    </a:lnTo>
                    <a:lnTo>
                      <a:pt x="877" y="1041"/>
                    </a:lnTo>
                    <a:lnTo>
                      <a:pt x="893" y="1030"/>
                    </a:lnTo>
                    <a:lnTo>
                      <a:pt x="908" y="1016"/>
                    </a:lnTo>
                    <a:lnTo>
                      <a:pt x="923" y="1002"/>
                    </a:lnTo>
                    <a:lnTo>
                      <a:pt x="937" y="988"/>
                    </a:lnTo>
                    <a:lnTo>
                      <a:pt x="945" y="980"/>
                    </a:lnTo>
                    <a:lnTo>
                      <a:pt x="953" y="972"/>
                    </a:lnTo>
                    <a:lnTo>
                      <a:pt x="960" y="963"/>
                    </a:lnTo>
                    <a:lnTo>
                      <a:pt x="966" y="953"/>
                    </a:lnTo>
                    <a:lnTo>
                      <a:pt x="966" y="953"/>
                    </a:lnTo>
                    <a:lnTo>
                      <a:pt x="967" y="952"/>
                    </a:lnTo>
                    <a:lnTo>
                      <a:pt x="968" y="950"/>
                    </a:lnTo>
                    <a:lnTo>
                      <a:pt x="970" y="949"/>
                    </a:lnTo>
                    <a:lnTo>
                      <a:pt x="971" y="946"/>
                    </a:lnTo>
                    <a:lnTo>
                      <a:pt x="972" y="945"/>
                    </a:lnTo>
                    <a:lnTo>
                      <a:pt x="972" y="943"/>
                    </a:lnTo>
                    <a:lnTo>
                      <a:pt x="973" y="942"/>
                    </a:lnTo>
                    <a:lnTo>
                      <a:pt x="974" y="940"/>
                    </a:lnTo>
                    <a:lnTo>
                      <a:pt x="974" y="938"/>
                    </a:lnTo>
                    <a:lnTo>
                      <a:pt x="975" y="936"/>
                    </a:lnTo>
                    <a:lnTo>
                      <a:pt x="977" y="934"/>
                    </a:lnTo>
                    <a:lnTo>
                      <a:pt x="978" y="931"/>
                    </a:lnTo>
                    <a:lnTo>
                      <a:pt x="979" y="929"/>
                    </a:lnTo>
                    <a:lnTo>
                      <a:pt x="979" y="928"/>
                    </a:lnTo>
                    <a:lnTo>
                      <a:pt x="979" y="928"/>
                    </a:lnTo>
                    <a:lnTo>
                      <a:pt x="980" y="926"/>
                    </a:lnTo>
                    <a:lnTo>
                      <a:pt x="981" y="923"/>
                    </a:lnTo>
                    <a:lnTo>
                      <a:pt x="981" y="921"/>
                    </a:lnTo>
                    <a:lnTo>
                      <a:pt x="982" y="919"/>
                    </a:lnTo>
                    <a:lnTo>
                      <a:pt x="983" y="916"/>
                    </a:lnTo>
                    <a:lnTo>
                      <a:pt x="985" y="913"/>
                    </a:lnTo>
                    <a:lnTo>
                      <a:pt x="986" y="907"/>
                    </a:lnTo>
                    <a:lnTo>
                      <a:pt x="987" y="901"/>
                    </a:lnTo>
                    <a:lnTo>
                      <a:pt x="988" y="897"/>
                    </a:lnTo>
                    <a:lnTo>
                      <a:pt x="989" y="892"/>
                    </a:lnTo>
                    <a:lnTo>
                      <a:pt x="989" y="886"/>
                    </a:lnTo>
                    <a:lnTo>
                      <a:pt x="990" y="880"/>
                    </a:lnTo>
                    <a:lnTo>
                      <a:pt x="990" y="878"/>
                    </a:lnTo>
                    <a:lnTo>
                      <a:pt x="990" y="876"/>
                    </a:lnTo>
                    <a:lnTo>
                      <a:pt x="990" y="872"/>
                    </a:lnTo>
                    <a:lnTo>
                      <a:pt x="990" y="869"/>
                    </a:lnTo>
                    <a:lnTo>
                      <a:pt x="989" y="853"/>
                    </a:lnTo>
                    <a:lnTo>
                      <a:pt x="987" y="837"/>
                    </a:lnTo>
                    <a:lnTo>
                      <a:pt x="983" y="821"/>
                    </a:lnTo>
                    <a:lnTo>
                      <a:pt x="978" y="806"/>
                    </a:lnTo>
                    <a:lnTo>
                      <a:pt x="971" y="793"/>
                    </a:lnTo>
                    <a:lnTo>
                      <a:pt x="963" y="779"/>
                    </a:lnTo>
                    <a:lnTo>
                      <a:pt x="953" y="767"/>
                    </a:lnTo>
                    <a:lnTo>
                      <a:pt x="943" y="756"/>
                    </a:lnTo>
                    <a:lnTo>
                      <a:pt x="931" y="745"/>
                    </a:lnTo>
                    <a:lnTo>
                      <a:pt x="920" y="736"/>
                    </a:lnTo>
                    <a:lnTo>
                      <a:pt x="906" y="728"/>
                    </a:lnTo>
                    <a:lnTo>
                      <a:pt x="892" y="721"/>
                    </a:lnTo>
                    <a:lnTo>
                      <a:pt x="877" y="715"/>
                    </a:lnTo>
                    <a:lnTo>
                      <a:pt x="862" y="712"/>
                    </a:lnTo>
                    <a:lnTo>
                      <a:pt x="846" y="709"/>
                    </a:lnTo>
                    <a:lnTo>
                      <a:pt x="829" y="708"/>
                    </a:lnTo>
                    <a:lnTo>
                      <a:pt x="816" y="709"/>
                    </a:lnTo>
                    <a:lnTo>
                      <a:pt x="802" y="710"/>
                    </a:lnTo>
                    <a:lnTo>
                      <a:pt x="788" y="714"/>
                    </a:lnTo>
                    <a:lnTo>
                      <a:pt x="774" y="718"/>
                    </a:lnTo>
                    <a:lnTo>
                      <a:pt x="762" y="723"/>
                    </a:lnTo>
                    <a:lnTo>
                      <a:pt x="750" y="729"/>
                    </a:lnTo>
                    <a:lnTo>
                      <a:pt x="738" y="737"/>
                    </a:lnTo>
                    <a:lnTo>
                      <a:pt x="728" y="745"/>
                    </a:lnTo>
                    <a:lnTo>
                      <a:pt x="728" y="745"/>
                    </a:lnTo>
                    <a:lnTo>
                      <a:pt x="731" y="740"/>
                    </a:lnTo>
                    <a:lnTo>
                      <a:pt x="736" y="737"/>
                    </a:lnTo>
                    <a:lnTo>
                      <a:pt x="739" y="735"/>
                    </a:lnTo>
                    <a:lnTo>
                      <a:pt x="741" y="732"/>
                    </a:lnTo>
                    <a:lnTo>
                      <a:pt x="747" y="729"/>
                    </a:lnTo>
                    <a:lnTo>
                      <a:pt x="752" y="725"/>
                    </a:lnTo>
                    <a:lnTo>
                      <a:pt x="753" y="724"/>
                    </a:lnTo>
                    <a:lnTo>
                      <a:pt x="753" y="724"/>
                    </a:lnTo>
                    <a:lnTo>
                      <a:pt x="754" y="724"/>
                    </a:lnTo>
                    <a:lnTo>
                      <a:pt x="754" y="723"/>
                    </a:lnTo>
                    <a:lnTo>
                      <a:pt x="756" y="722"/>
                    </a:lnTo>
                    <a:lnTo>
                      <a:pt x="759" y="721"/>
                    </a:lnTo>
                    <a:lnTo>
                      <a:pt x="760" y="720"/>
                    </a:lnTo>
                    <a:lnTo>
                      <a:pt x="760" y="720"/>
                    </a:lnTo>
                    <a:lnTo>
                      <a:pt x="761" y="720"/>
                    </a:lnTo>
                    <a:lnTo>
                      <a:pt x="761" y="718"/>
                    </a:lnTo>
                    <a:lnTo>
                      <a:pt x="762" y="718"/>
                    </a:lnTo>
                    <a:lnTo>
                      <a:pt x="762" y="718"/>
                    </a:lnTo>
                    <a:lnTo>
                      <a:pt x="765" y="717"/>
                    </a:lnTo>
                    <a:lnTo>
                      <a:pt x="767" y="715"/>
                    </a:lnTo>
                    <a:lnTo>
                      <a:pt x="769" y="714"/>
                    </a:lnTo>
                    <a:lnTo>
                      <a:pt x="770" y="713"/>
                    </a:lnTo>
                    <a:lnTo>
                      <a:pt x="773" y="712"/>
                    </a:lnTo>
                    <a:lnTo>
                      <a:pt x="775" y="710"/>
                    </a:lnTo>
                    <a:lnTo>
                      <a:pt x="776" y="709"/>
                    </a:lnTo>
                    <a:lnTo>
                      <a:pt x="777" y="709"/>
                    </a:lnTo>
                    <a:lnTo>
                      <a:pt x="777" y="709"/>
                    </a:lnTo>
                    <a:lnTo>
                      <a:pt x="777" y="708"/>
                    </a:lnTo>
                    <a:lnTo>
                      <a:pt x="778" y="708"/>
                    </a:lnTo>
                    <a:lnTo>
                      <a:pt x="780" y="708"/>
                    </a:lnTo>
                    <a:lnTo>
                      <a:pt x="781" y="707"/>
                    </a:lnTo>
                    <a:lnTo>
                      <a:pt x="781" y="707"/>
                    </a:lnTo>
                    <a:lnTo>
                      <a:pt x="783" y="706"/>
                    </a:lnTo>
                    <a:lnTo>
                      <a:pt x="785" y="703"/>
                    </a:lnTo>
                    <a:lnTo>
                      <a:pt x="785" y="703"/>
                    </a:lnTo>
                    <a:lnTo>
                      <a:pt x="787" y="703"/>
                    </a:lnTo>
                    <a:lnTo>
                      <a:pt x="790" y="701"/>
                    </a:lnTo>
                    <a:lnTo>
                      <a:pt x="795" y="699"/>
                    </a:lnTo>
                    <a:lnTo>
                      <a:pt x="797" y="698"/>
                    </a:lnTo>
                    <a:lnTo>
                      <a:pt x="800" y="697"/>
                    </a:lnTo>
                    <a:lnTo>
                      <a:pt x="803" y="695"/>
                    </a:lnTo>
                    <a:lnTo>
                      <a:pt x="805" y="693"/>
                    </a:lnTo>
                    <a:lnTo>
                      <a:pt x="806" y="693"/>
                    </a:lnTo>
                    <a:lnTo>
                      <a:pt x="807" y="693"/>
                    </a:lnTo>
                    <a:lnTo>
                      <a:pt x="811" y="691"/>
                    </a:lnTo>
                    <a:lnTo>
                      <a:pt x="814" y="690"/>
                    </a:lnTo>
                    <a:lnTo>
                      <a:pt x="814" y="690"/>
                    </a:lnTo>
                    <a:lnTo>
                      <a:pt x="816" y="688"/>
                    </a:lnTo>
                    <a:lnTo>
                      <a:pt x="818" y="687"/>
                    </a:lnTo>
                    <a:lnTo>
                      <a:pt x="820" y="686"/>
                    </a:lnTo>
                    <a:lnTo>
                      <a:pt x="822" y="686"/>
                    </a:lnTo>
                    <a:lnTo>
                      <a:pt x="825" y="685"/>
                    </a:lnTo>
                    <a:lnTo>
                      <a:pt x="827" y="684"/>
                    </a:lnTo>
                    <a:lnTo>
                      <a:pt x="829" y="683"/>
                    </a:lnTo>
                    <a:lnTo>
                      <a:pt x="832" y="681"/>
                    </a:lnTo>
                    <a:lnTo>
                      <a:pt x="835" y="680"/>
                    </a:lnTo>
                    <a:lnTo>
                      <a:pt x="836" y="679"/>
                    </a:lnTo>
                    <a:lnTo>
                      <a:pt x="839" y="679"/>
                    </a:lnTo>
                    <a:lnTo>
                      <a:pt x="841" y="678"/>
                    </a:lnTo>
                    <a:lnTo>
                      <a:pt x="843" y="677"/>
                    </a:lnTo>
                    <a:lnTo>
                      <a:pt x="846" y="677"/>
                    </a:lnTo>
                    <a:lnTo>
                      <a:pt x="848" y="676"/>
                    </a:lnTo>
                    <a:lnTo>
                      <a:pt x="850" y="675"/>
                    </a:lnTo>
                    <a:lnTo>
                      <a:pt x="853" y="673"/>
                    </a:lnTo>
                    <a:lnTo>
                      <a:pt x="855" y="673"/>
                    </a:lnTo>
                    <a:lnTo>
                      <a:pt x="857" y="672"/>
                    </a:lnTo>
                    <a:lnTo>
                      <a:pt x="862" y="671"/>
                    </a:lnTo>
                    <a:lnTo>
                      <a:pt x="866" y="669"/>
                    </a:lnTo>
                    <a:lnTo>
                      <a:pt x="868" y="669"/>
                    </a:lnTo>
                    <a:lnTo>
                      <a:pt x="868" y="669"/>
                    </a:lnTo>
                    <a:lnTo>
                      <a:pt x="870" y="668"/>
                    </a:lnTo>
                    <a:lnTo>
                      <a:pt x="872" y="668"/>
                    </a:lnTo>
                    <a:lnTo>
                      <a:pt x="875" y="668"/>
                    </a:lnTo>
                    <a:lnTo>
                      <a:pt x="876" y="666"/>
                    </a:lnTo>
                    <a:lnTo>
                      <a:pt x="880" y="665"/>
                    </a:lnTo>
                    <a:lnTo>
                      <a:pt x="885" y="664"/>
                    </a:lnTo>
                    <a:lnTo>
                      <a:pt x="888" y="663"/>
                    </a:lnTo>
                    <a:lnTo>
                      <a:pt x="892" y="662"/>
                    </a:lnTo>
                    <a:lnTo>
                      <a:pt x="908" y="659"/>
                    </a:lnTo>
                    <a:lnTo>
                      <a:pt x="923" y="656"/>
                    </a:lnTo>
                    <a:lnTo>
                      <a:pt x="939" y="654"/>
                    </a:lnTo>
                    <a:lnTo>
                      <a:pt x="955" y="653"/>
                    </a:lnTo>
                    <a:lnTo>
                      <a:pt x="964" y="653"/>
                    </a:lnTo>
                    <a:lnTo>
                      <a:pt x="973" y="651"/>
                    </a:lnTo>
                    <a:lnTo>
                      <a:pt x="979" y="651"/>
                    </a:lnTo>
                    <a:lnTo>
                      <a:pt x="985" y="651"/>
                    </a:lnTo>
                    <a:lnTo>
                      <a:pt x="1000" y="651"/>
                    </a:lnTo>
                    <a:lnTo>
                      <a:pt x="1014" y="653"/>
                    </a:lnTo>
                    <a:lnTo>
                      <a:pt x="1027" y="654"/>
                    </a:lnTo>
                    <a:lnTo>
                      <a:pt x="1041" y="656"/>
                    </a:lnTo>
                    <a:lnTo>
                      <a:pt x="1062" y="659"/>
                    </a:lnTo>
                    <a:lnTo>
                      <a:pt x="1082" y="663"/>
                    </a:lnTo>
                    <a:lnTo>
                      <a:pt x="1100" y="669"/>
                    </a:lnTo>
                    <a:lnTo>
                      <a:pt x="1120" y="675"/>
                    </a:lnTo>
                    <a:lnTo>
                      <a:pt x="1137" y="681"/>
                    </a:lnTo>
                    <a:lnTo>
                      <a:pt x="1156" y="690"/>
                    </a:lnTo>
                    <a:lnTo>
                      <a:pt x="1173" y="698"/>
                    </a:lnTo>
                    <a:lnTo>
                      <a:pt x="1191" y="708"/>
                    </a:lnTo>
                    <a:lnTo>
                      <a:pt x="1191" y="708"/>
                    </a:lnTo>
                    <a:lnTo>
                      <a:pt x="1199" y="727"/>
                    </a:lnTo>
                    <a:lnTo>
                      <a:pt x="1206" y="746"/>
                    </a:lnTo>
                    <a:lnTo>
                      <a:pt x="1212" y="765"/>
                    </a:lnTo>
                    <a:lnTo>
                      <a:pt x="1216" y="786"/>
                    </a:lnTo>
                    <a:lnTo>
                      <a:pt x="1220" y="805"/>
                    </a:lnTo>
                    <a:lnTo>
                      <a:pt x="1223" y="826"/>
                    </a:lnTo>
                    <a:lnTo>
                      <a:pt x="1224" y="848"/>
                    </a:lnTo>
                    <a:lnTo>
                      <a:pt x="1225" y="869"/>
                    </a:lnTo>
                    <a:lnTo>
                      <a:pt x="1224" y="893"/>
                    </a:lnTo>
                    <a:lnTo>
                      <a:pt x="1222" y="916"/>
                    </a:lnTo>
                    <a:lnTo>
                      <a:pt x="1219" y="940"/>
                    </a:lnTo>
                    <a:lnTo>
                      <a:pt x="1214" y="961"/>
                    </a:lnTo>
                    <a:lnTo>
                      <a:pt x="1208" y="985"/>
                    </a:lnTo>
                    <a:lnTo>
                      <a:pt x="1200" y="1005"/>
                    </a:lnTo>
                    <a:lnTo>
                      <a:pt x="1192" y="1026"/>
                    </a:lnTo>
                    <a:lnTo>
                      <a:pt x="1183" y="1047"/>
                    </a:lnTo>
                    <a:lnTo>
                      <a:pt x="1165" y="1074"/>
                    </a:lnTo>
                    <a:lnTo>
                      <a:pt x="1148" y="1100"/>
                    </a:lnTo>
                    <a:lnTo>
                      <a:pt x="1128" y="1125"/>
                    </a:lnTo>
                    <a:lnTo>
                      <a:pt x="1109" y="1149"/>
                    </a:lnTo>
                    <a:lnTo>
                      <a:pt x="1089" y="1170"/>
                    </a:lnTo>
                    <a:lnTo>
                      <a:pt x="1069" y="1189"/>
                    </a:lnTo>
                    <a:lnTo>
                      <a:pt x="1048" y="1208"/>
                    </a:lnTo>
                    <a:lnTo>
                      <a:pt x="1026" y="1226"/>
                    </a:lnTo>
                    <a:lnTo>
                      <a:pt x="1004" y="1243"/>
                    </a:lnTo>
                    <a:lnTo>
                      <a:pt x="981" y="1259"/>
                    </a:lnTo>
                    <a:lnTo>
                      <a:pt x="957" y="1274"/>
                    </a:lnTo>
                    <a:lnTo>
                      <a:pt x="933" y="1288"/>
                    </a:lnTo>
                    <a:lnTo>
                      <a:pt x="907" y="1301"/>
                    </a:lnTo>
                    <a:lnTo>
                      <a:pt x="880" y="1312"/>
                    </a:lnTo>
                    <a:lnTo>
                      <a:pt x="854" y="1323"/>
                    </a:lnTo>
                    <a:lnTo>
                      <a:pt x="827" y="1332"/>
                    </a:lnTo>
                    <a:lnTo>
                      <a:pt x="799" y="1340"/>
                    </a:lnTo>
                    <a:lnTo>
                      <a:pt x="770" y="1347"/>
                    </a:lnTo>
                    <a:lnTo>
                      <a:pt x="743" y="1353"/>
                    </a:lnTo>
                    <a:lnTo>
                      <a:pt x="712" y="1357"/>
                    </a:lnTo>
                    <a:lnTo>
                      <a:pt x="703" y="1357"/>
                    </a:lnTo>
                    <a:lnTo>
                      <a:pt x="675" y="1358"/>
                    </a:lnTo>
                    <a:lnTo>
                      <a:pt x="656" y="1358"/>
                    </a:lnTo>
                    <a:lnTo>
                      <a:pt x="633" y="1358"/>
                    </a:lnTo>
                    <a:lnTo>
                      <a:pt x="607" y="1357"/>
                    </a:lnTo>
                    <a:lnTo>
                      <a:pt x="580" y="1355"/>
                    </a:lnTo>
                    <a:lnTo>
                      <a:pt x="550" y="1351"/>
                    </a:lnTo>
                    <a:lnTo>
                      <a:pt x="520" y="1347"/>
                    </a:lnTo>
                    <a:lnTo>
                      <a:pt x="488" y="1341"/>
                    </a:lnTo>
                    <a:lnTo>
                      <a:pt x="457" y="1334"/>
                    </a:lnTo>
                    <a:lnTo>
                      <a:pt x="424" y="1325"/>
                    </a:lnTo>
                    <a:lnTo>
                      <a:pt x="393" y="1313"/>
                    </a:lnTo>
                    <a:lnTo>
                      <a:pt x="377" y="1306"/>
                    </a:lnTo>
                    <a:lnTo>
                      <a:pt x="362" y="1299"/>
                    </a:lnTo>
                    <a:lnTo>
                      <a:pt x="347" y="1292"/>
                    </a:lnTo>
                    <a:lnTo>
                      <a:pt x="331" y="1283"/>
                    </a:lnTo>
                    <a:lnTo>
                      <a:pt x="331" y="1284"/>
                    </a:lnTo>
                    <a:lnTo>
                      <a:pt x="313" y="1274"/>
                    </a:lnTo>
                    <a:lnTo>
                      <a:pt x="294" y="1264"/>
                    </a:lnTo>
                    <a:lnTo>
                      <a:pt x="277" y="1252"/>
                    </a:lnTo>
                    <a:lnTo>
                      <a:pt x="261" y="1240"/>
                    </a:lnTo>
                    <a:lnTo>
                      <a:pt x="243" y="1228"/>
                    </a:lnTo>
                    <a:lnTo>
                      <a:pt x="227" y="1214"/>
                    </a:lnTo>
                    <a:lnTo>
                      <a:pt x="211" y="1201"/>
                    </a:lnTo>
                    <a:lnTo>
                      <a:pt x="196" y="1186"/>
                    </a:lnTo>
                    <a:lnTo>
                      <a:pt x="181" y="1172"/>
                    </a:lnTo>
                    <a:lnTo>
                      <a:pt x="167" y="1157"/>
                    </a:lnTo>
                    <a:lnTo>
                      <a:pt x="153" y="1141"/>
                    </a:lnTo>
                    <a:lnTo>
                      <a:pt x="139" y="1125"/>
                    </a:lnTo>
                    <a:lnTo>
                      <a:pt x="126" y="1108"/>
                    </a:lnTo>
                    <a:lnTo>
                      <a:pt x="115" y="1091"/>
                    </a:lnTo>
                    <a:lnTo>
                      <a:pt x="103" y="1075"/>
                    </a:lnTo>
                    <a:lnTo>
                      <a:pt x="92" y="1056"/>
                    </a:lnTo>
                    <a:lnTo>
                      <a:pt x="81" y="1039"/>
                    </a:lnTo>
                    <a:lnTo>
                      <a:pt x="71" y="1021"/>
                    </a:lnTo>
                    <a:lnTo>
                      <a:pt x="62" y="1001"/>
                    </a:lnTo>
                    <a:lnTo>
                      <a:pt x="52" y="982"/>
                    </a:lnTo>
                    <a:lnTo>
                      <a:pt x="44" y="963"/>
                    </a:lnTo>
                    <a:lnTo>
                      <a:pt x="37" y="943"/>
                    </a:lnTo>
                    <a:lnTo>
                      <a:pt x="30" y="922"/>
                    </a:lnTo>
                    <a:lnTo>
                      <a:pt x="23" y="901"/>
                    </a:lnTo>
                    <a:lnTo>
                      <a:pt x="19" y="880"/>
                    </a:lnTo>
                    <a:lnTo>
                      <a:pt x="14" y="860"/>
                    </a:lnTo>
                    <a:lnTo>
                      <a:pt x="10" y="839"/>
                    </a:lnTo>
                    <a:lnTo>
                      <a:pt x="6" y="817"/>
                    </a:lnTo>
                    <a:lnTo>
                      <a:pt x="4" y="795"/>
                    </a:lnTo>
                    <a:lnTo>
                      <a:pt x="1" y="773"/>
                    </a:lnTo>
                    <a:lnTo>
                      <a:pt x="0" y="751"/>
                    </a:lnTo>
                    <a:lnTo>
                      <a:pt x="0" y="729"/>
                    </a:lnTo>
                    <a:lnTo>
                      <a:pt x="0" y="699"/>
                    </a:lnTo>
                    <a:lnTo>
                      <a:pt x="3" y="670"/>
                    </a:lnTo>
                    <a:lnTo>
                      <a:pt x="6" y="641"/>
                    </a:lnTo>
                    <a:lnTo>
                      <a:pt x="11" y="612"/>
                    </a:lnTo>
                    <a:lnTo>
                      <a:pt x="16" y="584"/>
                    </a:lnTo>
                    <a:lnTo>
                      <a:pt x="23" y="556"/>
                    </a:lnTo>
                    <a:lnTo>
                      <a:pt x="32" y="530"/>
                    </a:lnTo>
                    <a:lnTo>
                      <a:pt x="42" y="503"/>
                    </a:lnTo>
                    <a:lnTo>
                      <a:pt x="45" y="494"/>
                    </a:lnTo>
                    <a:lnTo>
                      <a:pt x="50" y="485"/>
                    </a:lnTo>
                    <a:lnTo>
                      <a:pt x="55" y="475"/>
                    </a:lnTo>
                    <a:lnTo>
                      <a:pt x="59" y="467"/>
                    </a:lnTo>
                    <a:lnTo>
                      <a:pt x="64" y="458"/>
                    </a:lnTo>
                    <a:lnTo>
                      <a:pt x="69" y="450"/>
                    </a:lnTo>
                    <a:lnTo>
                      <a:pt x="74" y="441"/>
                    </a:lnTo>
                    <a:lnTo>
                      <a:pt x="79" y="432"/>
                    </a:lnTo>
                    <a:lnTo>
                      <a:pt x="85" y="422"/>
                    </a:lnTo>
                    <a:lnTo>
                      <a:pt x="91" y="413"/>
                    </a:lnTo>
                    <a:lnTo>
                      <a:pt x="95" y="406"/>
                    </a:lnTo>
                    <a:lnTo>
                      <a:pt x="100" y="398"/>
                    </a:lnTo>
                    <a:close/>
                  </a:path>
                </a:pathLst>
              </a:custGeom>
              <a:solidFill>
                <a:srgbClr val="FBC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" name="Freeform 7"/>
              <p:cNvSpPr>
                <a:spLocks noEditPoints="1"/>
              </p:cNvSpPr>
              <p:nvPr/>
            </p:nvSpPr>
            <p:spPr bwMode="auto">
              <a:xfrm>
                <a:off x="609076" y="4250092"/>
                <a:ext cx="369887" cy="295275"/>
              </a:xfrm>
              <a:custGeom>
                <a:avLst/>
                <a:gdLst>
                  <a:gd name="T0" fmla="*/ 762 w 1635"/>
                  <a:gd name="T1" fmla="*/ 312 h 1302"/>
                  <a:gd name="T2" fmla="*/ 732 w 1635"/>
                  <a:gd name="T3" fmla="*/ 349 h 1302"/>
                  <a:gd name="T4" fmla="*/ 711 w 1635"/>
                  <a:gd name="T5" fmla="*/ 466 h 1302"/>
                  <a:gd name="T6" fmla="*/ 767 w 1635"/>
                  <a:gd name="T7" fmla="*/ 558 h 1302"/>
                  <a:gd name="T8" fmla="*/ 868 w 1635"/>
                  <a:gd name="T9" fmla="*/ 595 h 1302"/>
                  <a:gd name="T10" fmla="*/ 966 w 1635"/>
                  <a:gd name="T11" fmla="*/ 562 h 1302"/>
                  <a:gd name="T12" fmla="*/ 881 w 1635"/>
                  <a:gd name="T13" fmla="*/ 629 h 1302"/>
                  <a:gd name="T14" fmla="*/ 745 w 1635"/>
                  <a:gd name="T15" fmla="*/ 677 h 1302"/>
                  <a:gd name="T16" fmla="*/ 623 w 1635"/>
                  <a:gd name="T17" fmla="*/ 678 h 1302"/>
                  <a:gd name="T18" fmla="*/ 502 w 1635"/>
                  <a:gd name="T19" fmla="*/ 582 h 1302"/>
                  <a:gd name="T20" fmla="*/ 474 w 1635"/>
                  <a:gd name="T21" fmla="*/ 434 h 1302"/>
                  <a:gd name="T22" fmla="*/ 504 w 1635"/>
                  <a:gd name="T23" fmla="*/ 282 h 1302"/>
                  <a:gd name="T24" fmla="*/ 585 w 1635"/>
                  <a:gd name="T25" fmla="*/ 159 h 1302"/>
                  <a:gd name="T26" fmla="*/ 717 w 1635"/>
                  <a:gd name="T27" fmla="*/ 67 h 1302"/>
                  <a:gd name="T28" fmla="*/ 897 w 1635"/>
                  <a:gd name="T29" fmla="*/ 8 h 1302"/>
                  <a:gd name="T30" fmla="*/ 1035 w 1635"/>
                  <a:gd name="T31" fmla="*/ 0 h 1302"/>
                  <a:gd name="T32" fmla="*/ 1261 w 1635"/>
                  <a:gd name="T33" fmla="*/ 54 h 1302"/>
                  <a:gd name="T34" fmla="*/ 1457 w 1635"/>
                  <a:gd name="T35" fmla="*/ 193 h 1302"/>
                  <a:gd name="T36" fmla="*/ 1546 w 1635"/>
                  <a:gd name="T37" fmla="*/ 310 h 1302"/>
                  <a:gd name="T38" fmla="*/ 1619 w 1635"/>
                  <a:gd name="T39" fmla="*/ 491 h 1302"/>
                  <a:gd name="T40" fmla="*/ 1633 w 1635"/>
                  <a:gd name="T41" fmla="*/ 694 h 1302"/>
                  <a:gd name="T42" fmla="*/ 1579 w 1635"/>
                  <a:gd name="T43" fmla="*/ 893 h 1302"/>
                  <a:gd name="T44" fmla="*/ 1469 w 1635"/>
                  <a:gd name="T45" fmla="*/ 1061 h 1302"/>
                  <a:gd name="T46" fmla="*/ 1318 w 1635"/>
                  <a:gd name="T47" fmla="*/ 1178 h 1302"/>
                  <a:gd name="T48" fmla="*/ 1132 w 1635"/>
                  <a:gd name="T49" fmla="*/ 1261 h 1302"/>
                  <a:gd name="T50" fmla="*/ 892 w 1635"/>
                  <a:gd name="T51" fmla="*/ 1302 h 1302"/>
                  <a:gd name="T52" fmla="*/ 610 w 1635"/>
                  <a:gd name="T53" fmla="*/ 1264 h 1302"/>
                  <a:gd name="T54" fmla="*/ 348 w 1635"/>
                  <a:gd name="T55" fmla="*/ 1129 h 1302"/>
                  <a:gd name="T56" fmla="*/ 148 w 1635"/>
                  <a:gd name="T57" fmla="*/ 920 h 1302"/>
                  <a:gd name="T58" fmla="*/ 28 w 1635"/>
                  <a:gd name="T59" fmla="*/ 651 h 1302"/>
                  <a:gd name="T60" fmla="*/ 1 w 1635"/>
                  <a:gd name="T61" fmla="*/ 385 h 1302"/>
                  <a:gd name="T62" fmla="*/ 27 w 1635"/>
                  <a:gd name="T63" fmla="*/ 221 h 1302"/>
                  <a:gd name="T64" fmla="*/ 81 w 1635"/>
                  <a:gd name="T65" fmla="*/ 68 h 1302"/>
                  <a:gd name="T66" fmla="*/ 39 w 1635"/>
                  <a:gd name="T67" fmla="*/ 264 h 1302"/>
                  <a:gd name="T68" fmla="*/ 53 w 1635"/>
                  <a:gd name="T69" fmla="*/ 425 h 1302"/>
                  <a:gd name="T70" fmla="*/ 101 w 1635"/>
                  <a:gd name="T71" fmla="*/ 566 h 1302"/>
                  <a:gd name="T72" fmla="*/ 178 w 1635"/>
                  <a:gd name="T73" fmla="*/ 690 h 1302"/>
                  <a:gd name="T74" fmla="*/ 282 w 1635"/>
                  <a:gd name="T75" fmla="*/ 793 h 1302"/>
                  <a:gd name="T76" fmla="*/ 401 w 1635"/>
                  <a:gd name="T77" fmla="*/ 884 h 1302"/>
                  <a:gd name="T78" fmla="*/ 551 w 1635"/>
                  <a:gd name="T79" fmla="*/ 1000 h 1302"/>
                  <a:gd name="T80" fmla="*/ 746 w 1635"/>
                  <a:gd name="T81" fmla="*/ 1072 h 1302"/>
                  <a:gd name="T82" fmla="*/ 955 w 1635"/>
                  <a:gd name="T83" fmla="*/ 1077 h 1302"/>
                  <a:gd name="T84" fmla="*/ 1143 w 1635"/>
                  <a:gd name="T85" fmla="*/ 1023 h 1302"/>
                  <a:gd name="T86" fmla="*/ 1281 w 1635"/>
                  <a:gd name="T87" fmla="*/ 935 h 1302"/>
                  <a:gd name="T88" fmla="*/ 1379 w 1635"/>
                  <a:gd name="T89" fmla="*/ 817 h 1302"/>
                  <a:gd name="T90" fmla="*/ 1427 w 1635"/>
                  <a:gd name="T91" fmla="*/ 668 h 1302"/>
                  <a:gd name="T92" fmla="*/ 1416 w 1635"/>
                  <a:gd name="T93" fmla="*/ 518 h 1302"/>
                  <a:gd name="T94" fmla="*/ 1357 w 1635"/>
                  <a:gd name="T95" fmla="*/ 392 h 1302"/>
                  <a:gd name="T96" fmla="*/ 1251 w 1635"/>
                  <a:gd name="T97" fmla="*/ 286 h 1302"/>
                  <a:gd name="T98" fmla="*/ 1159 w 1635"/>
                  <a:gd name="T99" fmla="*/ 240 h 1302"/>
                  <a:gd name="T100" fmla="*/ 1039 w 1635"/>
                  <a:gd name="T101" fmla="*/ 216 h 1302"/>
                  <a:gd name="T102" fmla="*/ 962 w 1635"/>
                  <a:gd name="T103" fmla="*/ 221 h 1302"/>
                  <a:gd name="T104" fmla="*/ 914 w 1635"/>
                  <a:gd name="T105" fmla="*/ 233 h 1302"/>
                  <a:gd name="T106" fmla="*/ 896 w 1635"/>
                  <a:gd name="T107" fmla="*/ 237 h 1302"/>
                  <a:gd name="T108" fmla="*/ 880 w 1635"/>
                  <a:gd name="T109" fmla="*/ 243 h 1302"/>
                  <a:gd name="T110" fmla="*/ 864 w 1635"/>
                  <a:gd name="T111" fmla="*/ 250 h 1302"/>
                  <a:gd name="T112" fmla="*/ 850 w 1635"/>
                  <a:gd name="T113" fmla="*/ 256 h 1302"/>
                  <a:gd name="T114" fmla="*/ 834 w 1635"/>
                  <a:gd name="T115" fmla="*/ 264 h 1302"/>
                  <a:gd name="T116" fmla="*/ 820 w 1635"/>
                  <a:gd name="T117" fmla="*/ 272 h 1302"/>
                  <a:gd name="T118" fmla="*/ 814 w 1635"/>
                  <a:gd name="T119" fmla="*/ 275 h 1302"/>
                  <a:gd name="T120" fmla="*/ 801 w 1635"/>
                  <a:gd name="T121" fmla="*/ 283 h 1302"/>
                  <a:gd name="T122" fmla="*/ 793 w 1635"/>
                  <a:gd name="T123" fmla="*/ 288 h 1302"/>
                  <a:gd name="T124" fmla="*/ 778 w 1635"/>
                  <a:gd name="T125" fmla="*/ 300 h 1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35" h="1302">
                    <a:moveTo>
                      <a:pt x="756" y="318"/>
                    </a:moveTo>
                    <a:lnTo>
                      <a:pt x="755" y="318"/>
                    </a:lnTo>
                    <a:lnTo>
                      <a:pt x="754" y="319"/>
                    </a:lnTo>
                    <a:lnTo>
                      <a:pt x="755" y="319"/>
                    </a:lnTo>
                    <a:lnTo>
                      <a:pt x="756" y="318"/>
                    </a:lnTo>
                    <a:close/>
                    <a:moveTo>
                      <a:pt x="760" y="315"/>
                    </a:moveTo>
                    <a:lnTo>
                      <a:pt x="762" y="312"/>
                    </a:lnTo>
                    <a:lnTo>
                      <a:pt x="765" y="310"/>
                    </a:lnTo>
                    <a:lnTo>
                      <a:pt x="762" y="312"/>
                    </a:lnTo>
                    <a:lnTo>
                      <a:pt x="760" y="315"/>
                    </a:lnTo>
                    <a:close/>
                    <a:moveTo>
                      <a:pt x="767" y="310"/>
                    </a:moveTo>
                    <a:lnTo>
                      <a:pt x="754" y="322"/>
                    </a:lnTo>
                    <a:lnTo>
                      <a:pt x="742" y="334"/>
                    </a:lnTo>
                    <a:lnTo>
                      <a:pt x="732" y="349"/>
                    </a:lnTo>
                    <a:lnTo>
                      <a:pt x="724" y="364"/>
                    </a:lnTo>
                    <a:lnTo>
                      <a:pt x="717" y="381"/>
                    </a:lnTo>
                    <a:lnTo>
                      <a:pt x="712" y="398"/>
                    </a:lnTo>
                    <a:lnTo>
                      <a:pt x="709" y="415"/>
                    </a:lnTo>
                    <a:lnTo>
                      <a:pt x="707" y="434"/>
                    </a:lnTo>
                    <a:lnTo>
                      <a:pt x="709" y="450"/>
                    </a:lnTo>
                    <a:lnTo>
                      <a:pt x="711" y="466"/>
                    </a:lnTo>
                    <a:lnTo>
                      <a:pt x="716" y="481"/>
                    </a:lnTo>
                    <a:lnTo>
                      <a:pt x="720" y="496"/>
                    </a:lnTo>
                    <a:lnTo>
                      <a:pt x="727" y="510"/>
                    </a:lnTo>
                    <a:lnTo>
                      <a:pt x="735" y="524"/>
                    </a:lnTo>
                    <a:lnTo>
                      <a:pt x="745" y="536"/>
                    </a:lnTo>
                    <a:lnTo>
                      <a:pt x="755" y="547"/>
                    </a:lnTo>
                    <a:lnTo>
                      <a:pt x="767" y="558"/>
                    </a:lnTo>
                    <a:lnTo>
                      <a:pt x="779" y="567"/>
                    </a:lnTo>
                    <a:lnTo>
                      <a:pt x="792" y="575"/>
                    </a:lnTo>
                    <a:lnTo>
                      <a:pt x="806" y="582"/>
                    </a:lnTo>
                    <a:lnTo>
                      <a:pt x="821" y="588"/>
                    </a:lnTo>
                    <a:lnTo>
                      <a:pt x="836" y="591"/>
                    </a:lnTo>
                    <a:lnTo>
                      <a:pt x="852" y="594"/>
                    </a:lnTo>
                    <a:lnTo>
                      <a:pt x="868" y="595"/>
                    </a:lnTo>
                    <a:lnTo>
                      <a:pt x="883" y="594"/>
                    </a:lnTo>
                    <a:lnTo>
                      <a:pt x="899" y="591"/>
                    </a:lnTo>
                    <a:lnTo>
                      <a:pt x="914" y="588"/>
                    </a:lnTo>
                    <a:lnTo>
                      <a:pt x="927" y="583"/>
                    </a:lnTo>
                    <a:lnTo>
                      <a:pt x="940" y="577"/>
                    </a:lnTo>
                    <a:lnTo>
                      <a:pt x="953" y="570"/>
                    </a:lnTo>
                    <a:lnTo>
                      <a:pt x="966" y="562"/>
                    </a:lnTo>
                    <a:lnTo>
                      <a:pt x="976" y="553"/>
                    </a:lnTo>
                    <a:lnTo>
                      <a:pt x="962" y="567"/>
                    </a:lnTo>
                    <a:lnTo>
                      <a:pt x="947" y="581"/>
                    </a:lnTo>
                    <a:lnTo>
                      <a:pt x="932" y="595"/>
                    </a:lnTo>
                    <a:lnTo>
                      <a:pt x="916" y="606"/>
                    </a:lnTo>
                    <a:lnTo>
                      <a:pt x="899" y="618"/>
                    </a:lnTo>
                    <a:lnTo>
                      <a:pt x="881" y="629"/>
                    </a:lnTo>
                    <a:lnTo>
                      <a:pt x="863" y="639"/>
                    </a:lnTo>
                    <a:lnTo>
                      <a:pt x="844" y="648"/>
                    </a:lnTo>
                    <a:lnTo>
                      <a:pt x="826" y="655"/>
                    </a:lnTo>
                    <a:lnTo>
                      <a:pt x="806" y="662"/>
                    </a:lnTo>
                    <a:lnTo>
                      <a:pt x="785" y="669"/>
                    </a:lnTo>
                    <a:lnTo>
                      <a:pt x="765" y="673"/>
                    </a:lnTo>
                    <a:lnTo>
                      <a:pt x="745" y="677"/>
                    </a:lnTo>
                    <a:lnTo>
                      <a:pt x="723" y="680"/>
                    </a:lnTo>
                    <a:lnTo>
                      <a:pt x="702" y="682"/>
                    </a:lnTo>
                    <a:lnTo>
                      <a:pt x="680" y="683"/>
                    </a:lnTo>
                    <a:lnTo>
                      <a:pt x="666" y="682"/>
                    </a:lnTo>
                    <a:lnTo>
                      <a:pt x="651" y="682"/>
                    </a:lnTo>
                    <a:lnTo>
                      <a:pt x="637" y="680"/>
                    </a:lnTo>
                    <a:lnTo>
                      <a:pt x="623" y="678"/>
                    </a:lnTo>
                    <a:lnTo>
                      <a:pt x="602" y="675"/>
                    </a:lnTo>
                    <a:lnTo>
                      <a:pt x="582" y="671"/>
                    </a:lnTo>
                    <a:lnTo>
                      <a:pt x="563" y="665"/>
                    </a:lnTo>
                    <a:lnTo>
                      <a:pt x="544" y="660"/>
                    </a:lnTo>
                    <a:lnTo>
                      <a:pt x="528" y="634"/>
                    </a:lnTo>
                    <a:lnTo>
                      <a:pt x="514" y="609"/>
                    </a:lnTo>
                    <a:lnTo>
                      <a:pt x="502" y="582"/>
                    </a:lnTo>
                    <a:lnTo>
                      <a:pt x="492" y="554"/>
                    </a:lnTo>
                    <a:lnTo>
                      <a:pt x="484" y="525"/>
                    </a:lnTo>
                    <a:lnTo>
                      <a:pt x="478" y="495"/>
                    </a:lnTo>
                    <a:lnTo>
                      <a:pt x="476" y="480"/>
                    </a:lnTo>
                    <a:lnTo>
                      <a:pt x="475" y="465"/>
                    </a:lnTo>
                    <a:lnTo>
                      <a:pt x="474" y="450"/>
                    </a:lnTo>
                    <a:lnTo>
                      <a:pt x="474" y="434"/>
                    </a:lnTo>
                    <a:lnTo>
                      <a:pt x="475" y="411"/>
                    </a:lnTo>
                    <a:lnTo>
                      <a:pt x="476" y="389"/>
                    </a:lnTo>
                    <a:lnTo>
                      <a:pt x="479" y="367"/>
                    </a:lnTo>
                    <a:lnTo>
                      <a:pt x="484" y="345"/>
                    </a:lnTo>
                    <a:lnTo>
                      <a:pt x="489" y="324"/>
                    </a:lnTo>
                    <a:lnTo>
                      <a:pt x="496" y="303"/>
                    </a:lnTo>
                    <a:lnTo>
                      <a:pt x="504" y="282"/>
                    </a:lnTo>
                    <a:lnTo>
                      <a:pt x="512" y="263"/>
                    </a:lnTo>
                    <a:lnTo>
                      <a:pt x="522" y="244"/>
                    </a:lnTo>
                    <a:lnTo>
                      <a:pt x="533" y="226"/>
                    </a:lnTo>
                    <a:lnTo>
                      <a:pt x="544" y="207"/>
                    </a:lnTo>
                    <a:lnTo>
                      <a:pt x="557" y="191"/>
                    </a:lnTo>
                    <a:lnTo>
                      <a:pt x="571" y="174"/>
                    </a:lnTo>
                    <a:lnTo>
                      <a:pt x="585" y="159"/>
                    </a:lnTo>
                    <a:lnTo>
                      <a:pt x="601" y="143"/>
                    </a:lnTo>
                    <a:lnTo>
                      <a:pt x="616" y="130"/>
                    </a:lnTo>
                    <a:lnTo>
                      <a:pt x="633" y="118"/>
                    </a:lnTo>
                    <a:lnTo>
                      <a:pt x="650" y="106"/>
                    </a:lnTo>
                    <a:lnTo>
                      <a:pt x="667" y="95"/>
                    </a:lnTo>
                    <a:lnTo>
                      <a:pt x="684" y="84"/>
                    </a:lnTo>
                    <a:lnTo>
                      <a:pt x="717" y="67"/>
                    </a:lnTo>
                    <a:lnTo>
                      <a:pt x="751" y="51"/>
                    </a:lnTo>
                    <a:lnTo>
                      <a:pt x="786" y="37"/>
                    </a:lnTo>
                    <a:lnTo>
                      <a:pt x="822" y="25"/>
                    </a:lnTo>
                    <a:lnTo>
                      <a:pt x="841" y="20"/>
                    </a:lnTo>
                    <a:lnTo>
                      <a:pt x="859" y="16"/>
                    </a:lnTo>
                    <a:lnTo>
                      <a:pt x="878" y="12"/>
                    </a:lnTo>
                    <a:lnTo>
                      <a:pt x="897" y="8"/>
                    </a:lnTo>
                    <a:lnTo>
                      <a:pt x="916" y="6"/>
                    </a:lnTo>
                    <a:lnTo>
                      <a:pt x="936" y="3"/>
                    </a:lnTo>
                    <a:lnTo>
                      <a:pt x="955" y="1"/>
                    </a:lnTo>
                    <a:lnTo>
                      <a:pt x="975" y="0"/>
                    </a:lnTo>
                    <a:lnTo>
                      <a:pt x="988" y="0"/>
                    </a:lnTo>
                    <a:lnTo>
                      <a:pt x="1002" y="0"/>
                    </a:lnTo>
                    <a:lnTo>
                      <a:pt x="1035" y="0"/>
                    </a:lnTo>
                    <a:lnTo>
                      <a:pt x="1070" y="3"/>
                    </a:lnTo>
                    <a:lnTo>
                      <a:pt x="1104" y="8"/>
                    </a:lnTo>
                    <a:lnTo>
                      <a:pt x="1136" y="14"/>
                    </a:lnTo>
                    <a:lnTo>
                      <a:pt x="1168" y="22"/>
                    </a:lnTo>
                    <a:lnTo>
                      <a:pt x="1200" y="31"/>
                    </a:lnTo>
                    <a:lnTo>
                      <a:pt x="1231" y="43"/>
                    </a:lnTo>
                    <a:lnTo>
                      <a:pt x="1261" y="54"/>
                    </a:lnTo>
                    <a:lnTo>
                      <a:pt x="1292" y="71"/>
                    </a:lnTo>
                    <a:lnTo>
                      <a:pt x="1322" y="87"/>
                    </a:lnTo>
                    <a:lnTo>
                      <a:pt x="1351" y="105"/>
                    </a:lnTo>
                    <a:lnTo>
                      <a:pt x="1379" y="125"/>
                    </a:lnTo>
                    <a:lnTo>
                      <a:pt x="1407" y="146"/>
                    </a:lnTo>
                    <a:lnTo>
                      <a:pt x="1432" y="169"/>
                    </a:lnTo>
                    <a:lnTo>
                      <a:pt x="1457" y="193"/>
                    </a:lnTo>
                    <a:lnTo>
                      <a:pt x="1480" y="218"/>
                    </a:lnTo>
                    <a:lnTo>
                      <a:pt x="1481" y="219"/>
                    </a:lnTo>
                    <a:lnTo>
                      <a:pt x="1482" y="220"/>
                    </a:lnTo>
                    <a:lnTo>
                      <a:pt x="1500" y="242"/>
                    </a:lnTo>
                    <a:lnTo>
                      <a:pt x="1516" y="264"/>
                    </a:lnTo>
                    <a:lnTo>
                      <a:pt x="1532" y="286"/>
                    </a:lnTo>
                    <a:lnTo>
                      <a:pt x="1546" y="310"/>
                    </a:lnTo>
                    <a:lnTo>
                      <a:pt x="1560" y="333"/>
                    </a:lnTo>
                    <a:lnTo>
                      <a:pt x="1573" y="359"/>
                    </a:lnTo>
                    <a:lnTo>
                      <a:pt x="1584" y="383"/>
                    </a:lnTo>
                    <a:lnTo>
                      <a:pt x="1595" y="410"/>
                    </a:lnTo>
                    <a:lnTo>
                      <a:pt x="1604" y="436"/>
                    </a:lnTo>
                    <a:lnTo>
                      <a:pt x="1612" y="463"/>
                    </a:lnTo>
                    <a:lnTo>
                      <a:pt x="1619" y="491"/>
                    </a:lnTo>
                    <a:lnTo>
                      <a:pt x="1625" y="518"/>
                    </a:lnTo>
                    <a:lnTo>
                      <a:pt x="1629" y="546"/>
                    </a:lnTo>
                    <a:lnTo>
                      <a:pt x="1633" y="575"/>
                    </a:lnTo>
                    <a:lnTo>
                      <a:pt x="1635" y="604"/>
                    </a:lnTo>
                    <a:lnTo>
                      <a:pt x="1635" y="634"/>
                    </a:lnTo>
                    <a:lnTo>
                      <a:pt x="1635" y="664"/>
                    </a:lnTo>
                    <a:lnTo>
                      <a:pt x="1633" y="694"/>
                    </a:lnTo>
                    <a:lnTo>
                      <a:pt x="1629" y="724"/>
                    </a:lnTo>
                    <a:lnTo>
                      <a:pt x="1623" y="754"/>
                    </a:lnTo>
                    <a:lnTo>
                      <a:pt x="1618" y="783"/>
                    </a:lnTo>
                    <a:lnTo>
                      <a:pt x="1610" y="811"/>
                    </a:lnTo>
                    <a:lnTo>
                      <a:pt x="1601" y="839"/>
                    </a:lnTo>
                    <a:lnTo>
                      <a:pt x="1591" y="867"/>
                    </a:lnTo>
                    <a:lnTo>
                      <a:pt x="1579" y="893"/>
                    </a:lnTo>
                    <a:lnTo>
                      <a:pt x="1567" y="920"/>
                    </a:lnTo>
                    <a:lnTo>
                      <a:pt x="1554" y="945"/>
                    </a:lnTo>
                    <a:lnTo>
                      <a:pt x="1539" y="970"/>
                    </a:lnTo>
                    <a:lnTo>
                      <a:pt x="1523" y="994"/>
                    </a:lnTo>
                    <a:lnTo>
                      <a:pt x="1507" y="1017"/>
                    </a:lnTo>
                    <a:lnTo>
                      <a:pt x="1488" y="1039"/>
                    </a:lnTo>
                    <a:lnTo>
                      <a:pt x="1469" y="1061"/>
                    </a:lnTo>
                    <a:lnTo>
                      <a:pt x="1469" y="1061"/>
                    </a:lnTo>
                    <a:lnTo>
                      <a:pt x="1469" y="1061"/>
                    </a:lnTo>
                    <a:lnTo>
                      <a:pt x="1441" y="1088"/>
                    </a:lnTo>
                    <a:lnTo>
                      <a:pt x="1412" y="1112"/>
                    </a:lnTo>
                    <a:lnTo>
                      <a:pt x="1381" y="1135"/>
                    </a:lnTo>
                    <a:lnTo>
                      <a:pt x="1350" y="1157"/>
                    </a:lnTo>
                    <a:lnTo>
                      <a:pt x="1318" y="1178"/>
                    </a:lnTo>
                    <a:lnTo>
                      <a:pt x="1284" y="1197"/>
                    </a:lnTo>
                    <a:lnTo>
                      <a:pt x="1249" y="1215"/>
                    </a:lnTo>
                    <a:lnTo>
                      <a:pt x="1215" y="1231"/>
                    </a:lnTo>
                    <a:lnTo>
                      <a:pt x="1215" y="1231"/>
                    </a:lnTo>
                    <a:lnTo>
                      <a:pt x="1214" y="1231"/>
                    </a:lnTo>
                    <a:lnTo>
                      <a:pt x="1174" y="1247"/>
                    </a:lnTo>
                    <a:lnTo>
                      <a:pt x="1132" y="1261"/>
                    </a:lnTo>
                    <a:lnTo>
                      <a:pt x="1091" y="1274"/>
                    </a:lnTo>
                    <a:lnTo>
                      <a:pt x="1048" y="1283"/>
                    </a:lnTo>
                    <a:lnTo>
                      <a:pt x="1004" y="1291"/>
                    </a:lnTo>
                    <a:lnTo>
                      <a:pt x="960" y="1297"/>
                    </a:lnTo>
                    <a:lnTo>
                      <a:pt x="937" y="1299"/>
                    </a:lnTo>
                    <a:lnTo>
                      <a:pt x="915" y="1301"/>
                    </a:lnTo>
                    <a:lnTo>
                      <a:pt x="892" y="1302"/>
                    </a:lnTo>
                    <a:lnTo>
                      <a:pt x="868" y="1302"/>
                    </a:lnTo>
                    <a:lnTo>
                      <a:pt x="824" y="1301"/>
                    </a:lnTo>
                    <a:lnTo>
                      <a:pt x="779" y="1298"/>
                    </a:lnTo>
                    <a:lnTo>
                      <a:pt x="736" y="1293"/>
                    </a:lnTo>
                    <a:lnTo>
                      <a:pt x="694" y="1284"/>
                    </a:lnTo>
                    <a:lnTo>
                      <a:pt x="652" y="1275"/>
                    </a:lnTo>
                    <a:lnTo>
                      <a:pt x="610" y="1264"/>
                    </a:lnTo>
                    <a:lnTo>
                      <a:pt x="570" y="1250"/>
                    </a:lnTo>
                    <a:lnTo>
                      <a:pt x="530" y="1234"/>
                    </a:lnTo>
                    <a:lnTo>
                      <a:pt x="492" y="1216"/>
                    </a:lnTo>
                    <a:lnTo>
                      <a:pt x="455" y="1198"/>
                    </a:lnTo>
                    <a:lnTo>
                      <a:pt x="418" y="1177"/>
                    </a:lnTo>
                    <a:lnTo>
                      <a:pt x="383" y="1154"/>
                    </a:lnTo>
                    <a:lnTo>
                      <a:pt x="348" y="1129"/>
                    </a:lnTo>
                    <a:lnTo>
                      <a:pt x="316" y="1104"/>
                    </a:lnTo>
                    <a:lnTo>
                      <a:pt x="285" y="1077"/>
                    </a:lnTo>
                    <a:lnTo>
                      <a:pt x="255" y="1048"/>
                    </a:lnTo>
                    <a:lnTo>
                      <a:pt x="226" y="1018"/>
                    </a:lnTo>
                    <a:lnTo>
                      <a:pt x="198" y="986"/>
                    </a:lnTo>
                    <a:lnTo>
                      <a:pt x="172" y="953"/>
                    </a:lnTo>
                    <a:lnTo>
                      <a:pt x="148" y="920"/>
                    </a:lnTo>
                    <a:lnTo>
                      <a:pt x="126" y="884"/>
                    </a:lnTo>
                    <a:lnTo>
                      <a:pt x="104" y="848"/>
                    </a:lnTo>
                    <a:lnTo>
                      <a:pt x="86" y="810"/>
                    </a:lnTo>
                    <a:lnTo>
                      <a:pt x="68" y="772"/>
                    </a:lnTo>
                    <a:lnTo>
                      <a:pt x="52" y="732"/>
                    </a:lnTo>
                    <a:lnTo>
                      <a:pt x="39" y="692"/>
                    </a:lnTo>
                    <a:lnTo>
                      <a:pt x="28" y="651"/>
                    </a:lnTo>
                    <a:lnTo>
                      <a:pt x="17" y="609"/>
                    </a:lnTo>
                    <a:lnTo>
                      <a:pt x="10" y="566"/>
                    </a:lnTo>
                    <a:lnTo>
                      <a:pt x="5" y="523"/>
                    </a:lnTo>
                    <a:lnTo>
                      <a:pt x="1" y="479"/>
                    </a:lnTo>
                    <a:lnTo>
                      <a:pt x="0" y="434"/>
                    </a:lnTo>
                    <a:lnTo>
                      <a:pt x="0" y="410"/>
                    </a:lnTo>
                    <a:lnTo>
                      <a:pt x="1" y="385"/>
                    </a:lnTo>
                    <a:lnTo>
                      <a:pt x="3" y="361"/>
                    </a:lnTo>
                    <a:lnTo>
                      <a:pt x="6" y="337"/>
                    </a:lnTo>
                    <a:lnTo>
                      <a:pt x="8" y="314"/>
                    </a:lnTo>
                    <a:lnTo>
                      <a:pt x="11" y="290"/>
                    </a:lnTo>
                    <a:lnTo>
                      <a:pt x="16" y="266"/>
                    </a:lnTo>
                    <a:lnTo>
                      <a:pt x="21" y="243"/>
                    </a:lnTo>
                    <a:lnTo>
                      <a:pt x="27" y="221"/>
                    </a:lnTo>
                    <a:lnTo>
                      <a:pt x="32" y="198"/>
                    </a:lnTo>
                    <a:lnTo>
                      <a:pt x="39" y="176"/>
                    </a:lnTo>
                    <a:lnTo>
                      <a:pt x="46" y="154"/>
                    </a:lnTo>
                    <a:lnTo>
                      <a:pt x="54" y="132"/>
                    </a:lnTo>
                    <a:lnTo>
                      <a:pt x="62" y="110"/>
                    </a:lnTo>
                    <a:lnTo>
                      <a:pt x="72" y="89"/>
                    </a:lnTo>
                    <a:lnTo>
                      <a:pt x="81" y="68"/>
                    </a:lnTo>
                    <a:lnTo>
                      <a:pt x="71" y="95"/>
                    </a:lnTo>
                    <a:lnTo>
                      <a:pt x="62" y="121"/>
                    </a:lnTo>
                    <a:lnTo>
                      <a:pt x="55" y="149"/>
                    </a:lnTo>
                    <a:lnTo>
                      <a:pt x="50" y="177"/>
                    </a:lnTo>
                    <a:lnTo>
                      <a:pt x="45" y="206"/>
                    </a:lnTo>
                    <a:lnTo>
                      <a:pt x="42" y="235"/>
                    </a:lnTo>
                    <a:lnTo>
                      <a:pt x="39" y="264"/>
                    </a:lnTo>
                    <a:lnTo>
                      <a:pt x="39" y="294"/>
                    </a:lnTo>
                    <a:lnTo>
                      <a:pt x="39" y="316"/>
                    </a:lnTo>
                    <a:lnTo>
                      <a:pt x="40" y="338"/>
                    </a:lnTo>
                    <a:lnTo>
                      <a:pt x="43" y="360"/>
                    </a:lnTo>
                    <a:lnTo>
                      <a:pt x="45" y="382"/>
                    </a:lnTo>
                    <a:lnTo>
                      <a:pt x="49" y="404"/>
                    </a:lnTo>
                    <a:lnTo>
                      <a:pt x="53" y="425"/>
                    </a:lnTo>
                    <a:lnTo>
                      <a:pt x="58" y="445"/>
                    </a:lnTo>
                    <a:lnTo>
                      <a:pt x="62" y="466"/>
                    </a:lnTo>
                    <a:lnTo>
                      <a:pt x="69" y="487"/>
                    </a:lnTo>
                    <a:lnTo>
                      <a:pt x="76" y="508"/>
                    </a:lnTo>
                    <a:lnTo>
                      <a:pt x="83" y="528"/>
                    </a:lnTo>
                    <a:lnTo>
                      <a:pt x="91" y="547"/>
                    </a:lnTo>
                    <a:lnTo>
                      <a:pt x="101" y="566"/>
                    </a:lnTo>
                    <a:lnTo>
                      <a:pt x="110" y="586"/>
                    </a:lnTo>
                    <a:lnTo>
                      <a:pt x="120" y="603"/>
                    </a:lnTo>
                    <a:lnTo>
                      <a:pt x="131" y="621"/>
                    </a:lnTo>
                    <a:lnTo>
                      <a:pt x="142" y="639"/>
                    </a:lnTo>
                    <a:lnTo>
                      <a:pt x="154" y="656"/>
                    </a:lnTo>
                    <a:lnTo>
                      <a:pt x="165" y="673"/>
                    </a:lnTo>
                    <a:lnTo>
                      <a:pt x="178" y="690"/>
                    </a:lnTo>
                    <a:lnTo>
                      <a:pt x="192" y="706"/>
                    </a:lnTo>
                    <a:lnTo>
                      <a:pt x="206" y="722"/>
                    </a:lnTo>
                    <a:lnTo>
                      <a:pt x="220" y="737"/>
                    </a:lnTo>
                    <a:lnTo>
                      <a:pt x="235" y="751"/>
                    </a:lnTo>
                    <a:lnTo>
                      <a:pt x="250" y="766"/>
                    </a:lnTo>
                    <a:lnTo>
                      <a:pt x="266" y="779"/>
                    </a:lnTo>
                    <a:lnTo>
                      <a:pt x="282" y="793"/>
                    </a:lnTo>
                    <a:lnTo>
                      <a:pt x="300" y="805"/>
                    </a:lnTo>
                    <a:lnTo>
                      <a:pt x="316" y="817"/>
                    </a:lnTo>
                    <a:lnTo>
                      <a:pt x="335" y="829"/>
                    </a:lnTo>
                    <a:lnTo>
                      <a:pt x="352" y="839"/>
                    </a:lnTo>
                    <a:lnTo>
                      <a:pt x="370" y="849"/>
                    </a:lnTo>
                    <a:lnTo>
                      <a:pt x="386" y="867"/>
                    </a:lnTo>
                    <a:lnTo>
                      <a:pt x="401" y="884"/>
                    </a:lnTo>
                    <a:lnTo>
                      <a:pt x="417" y="899"/>
                    </a:lnTo>
                    <a:lnTo>
                      <a:pt x="433" y="915"/>
                    </a:lnTo>
                    <a:lnTo>
                      <a:pt x="455" y="934"/>
                    </a:lnTo>
                    <a:lnTo>
                      <a:pt x="478" y="952"/>
                    </a:lnTo>
                    <a:lnTo>
                      <a:pt x="501" y="970"/>
                    </a:lnTo>
                    <a:lnTo>
                      <a:pt x="526" y="986"/>
                    </a:lnTo>
                    <a:lnTo>
                      <a:pt x="551" y="1000"/>
                    </a:lnTo>
                    <a:lnTo>
                      <a:pt x="577" y="1014"/>
                    </a:lnTo>
                    <a:lnTo>
                      <a:pt x="603" y="1026"/>
                    </a:lnTo>
                    <a:lnTo>
                      <a:pt x="631" y="1038"/>
                    </a:lnTo>
                    <a:lnTo>
                      <a:pt x="659" y="1048"/>
                    </a:lnTo>
                    <a:lnTo>
                      <a:pt x="688" y="1058"/>
                    </a:lnTo>
                    <a:lnTo>
                      <a:pt x="717" y="1065"/>
                    </a:lnTo>
                    <a:lnTo>
                      <a:pt x="746" y="1072"/>
                    </a:lnTo>
                    <a:lnTo>
                      <a:pt x="776" y="1076"/>
                    </a:lnTo>
                    <a:lnTo>
                      <a:pt x="806" y="1080"/>
                    </a:lnTo>
                    <a:lnTo>
                      <a:pt x="837" y="1082"/>
                    </a:lnTo>
                    <a:lnTo>
                      <a:pt x="868" y="1083"/>
                    </a:lnTo>
                    <a:lnTo>
                      <a:pt x="897" y="1082"/>
                    </a:lnTo>
                    <a:lnTo>
                      <a:pt x="926" y="1081"/>
                    </a:lnTo>
                    <a:lnTo>
                      <a:pt x="955" y="1077"/>
                    </a:lnTo>
                    <a:lnTo>
                      <a:pt x="983" y="1073"/>
                    </a:lnTo>
                    <a:lnTo>
                      <a:pt x="1011" y="1067"/>
                    </a:lnTo>
                    <a:lnTo>
                      <a:pt x="1039" y="1061"/>
                    </a:lnTo>
                    <a:lnTo>
                      <a:pt x="1065" y="1053"/>
                    </a:lnTo>
                    <a:lnTo>
                      <a:pt x="1092" y="1044"/>
                    </a:lnTo>
                    <a:lnTo>
                      <a:pt x="1117" y="1033"/>
                    </a:lnTo>
                    <a:lnTo>
                      <a:pt x="1143" y="1023"/>
                    </a:lnTo>
                    <a:lnTo>
                      <a:pt x="1167" y="1010"/>
                    </a:lnTo>
                    <a:lnTo>
                      <a:pt x="1192" y="997"/>
                    </a:lnTo>
                    <a:lnTo>
                      <a:pt x="1215" y="984"/>
                    </a:lnTo>
                    <a:lnTo>
                      <a:pt x="1238" y="969"/>
                    </a:lnTo>
                    <a:lnTo>
                      <a:pt x="1260" y="952"/>
                    </a:lnTo>
                    <a:lnTo>
                      <a:pt x="1282" y="935"/>
                    </a:lnTo>
                    <a:lnTo>
                      <a:pt x="1281" y="935"/>
                    </a:lnTo>
                    <a:lnTo>
                      <a:pt x="1298" y="920"/>
                    </a:lnTo>
                    <a:lnTo>
                      <a:pt x="1313" y="905"/>
                    </a:lnTo>
                    <a:lnTo>
                      <a:pt x="1328" y="889"/>
                    </a:lnTo>
                    <a:lnTo>
                      <a:pt x="1342" y="872"/>
                    </a:lnTo>
                    <a:lnTo>
                      <a:pt x="1356" y="854"/>
                    </a:lnTo>
                    <a:lnTo>
                      <a:pt x="1368" y="837"/>
                    </a:lnTo>
                    <a:lnTo>
                      <a:pt x="1379" y="817"/>
                    </a:lnTo>
                    <a:lnTo>
                      <a:pt x="1388" y="797"/>
                    </a:lnTo>
                    <a:lnTo>
                      <a:pt x="1398" y="778"/>
                    </a:lnTo>
                    <a:lnTo>
                      <a:pt x="1406" y="757"/>
                    </a:lnTo>
                    <a:lnTo>
                      <a:pt x="1413" y="735"/>
                    </a:lnTo>
                    <a:lnTo>
                      <a:pt x="1419" y="713"/>
                    </a:lnTo>
                    <a:lnTo>
                      <a:pt x="1423" y="691"/>
                    </a:lnTo>
                    <a:lnTo>
                      <a:pt x="1427" y="668"/>
                    </a:lnTo>
                    <a:lnTo>
                      <a:pt x="1429" y="645"/>
                    </a:lnTo>
                    <a:lnTo>
                      <a:pt x="1429" y="621"/>
                    </a:lnTo>
                    <a:lnTo>
                      <a:pt x="1429" y="601"/>
                    </a:lnTo>
                    <a:lnTo>
                      <a:pt x="1427" y="580"/>
                    </a:lnTo>
                    <a:lnTo>
                      <a:pt x="1424" y="559"/>
                    </a:lnTo>
                    <a:lnTo>
                      <a:pt x="1421" y="538"/>
                    </a:lnTo>
                    <a:lnTo>
                      <a:pt x="1416" y="518"/>
                    </a:lnTo>
                    <a:lnTo>
                      <a:pt x="1410" y="499"/>
                    </a:lnTo>
                    <a:lnTo>
                      <a:pt x="1403" y="480"/>
                    </a:lnTo>
                    <a:lnTo>
                      <a:pt x="1397" y="462"/>
                    </a:lnTo>
                    <a:lnTo>
                      <a:pt x="1387" y="443"/>
                    </a:lnTo>
                    <a:lnTo>
                      <a:pt x="1378" y="426"/>
                    </a:lnTo>
                    <a:lnTo>
                      <a:pt x="1369" y="408"/>
                    </a:lnTo>
                    <a:lnTo>
                      <a:pt x="1357" y="392"/>
                    </a:lnTo>
                    <a:lnTo>
                      <a:pt x="1346" y="376"/>
                    </a:lnTo>
                    <a:lnTo>
                      <a:pt x="1333" y="360"/>
                    </a:lnTo>
                    <a:lnTo>
                      <a:pt x="1320" y="346"/>
                    </a:lnTo>
                    <a:lnTo>
                      <a:pt x="1306" y="331"/>
                    </a:lnTo>
                    <a:lnTo>
                      <a:pt x="1289" y="315"/>
                    </a:lnTo>
                    <a:lnTo>
                      <a:pt x="1270" y="300"/>
                    </a:lnTo>
                    <a:lnTo>
                      <a:pt x="1251" y="286"/>
                    </a:lnTo>
                    <a:lnTo>
                      <a:pt x="1230" y="273"/>
                    </a:lnTo>
                    <a:lnTo>
                      <a:pt x="1230" y="273"/>
                    </a:lnTo>
                    <a:lnTo>
                      <a:pt x="1230" y="273"/>
                    </a:lnTo>
                    <a:lnTo>
                      <a:pt x="1212" y="263"/>
                    </a:lnTo>
                    <a:lnTo>
                      <a:pt x="1195" y="255"/>
                    </a:lnTo>
                    <a:lnTo>
                      <a:pt x="1178" y="246"/>
                    </a:lnTo>
                    <a:lnTo>
                      <a:pt x="1159" y="240"/>
                    </a:lnTo>
                    <a:lnTo>
                      <a:pt x="1139" y="234"/>
                    </a:lnTo>
                    <a:lnTo>
                      <a:pt x="1121" y="228"/>
                    </a:lnTo>
                    <a:lnTo>
                      <a:pt x="1101" y="224"/>
                    </a:lnTo>
                    <a:lnTo>
                      <a:pt x="1080" y="221"/>
                    </a:lnTo>
                    <a:lnTo>
                      <a:pt x="1066" y="219"/>
                    </a:lnTo>
                    <a:lnTo>
                      <a:pt x="1053" y="218"/>
                    </a:lnTo>
                    <a:lnTo>
                      <a:pt x="1039" y="216"/>
                    </a:lnTo>
                    <a:lnTo>
                      <a:pt x="1024" y="216"/>
                    </a:lnTo>
                    <a:lnTo>
                      <a:pt x="1018" y="216"/>
                    </a:lnTo>
                    <a:lnTo>
                      <a:pt x="1012" y="216"/>
                    </a:lnTo>
                    <a:lnTo>
                      <a:pt x="1003" y="218"/>
                    </a:lnTo>
                    <a:lnTo>
                      <a:pt x="994" y="218"/>
                    </a:lnTo>
                    <a:lnTo>
                      <a:pt x="978" y="219"/>
                    </a:lnTo>
                    <a:lnTo>
                      <a:pt x="962" y="221"/>
                    </a:lnTo>
                    <a:lnTo>
                      <a:pt x="947" y="224"/>
                    </a:lnTo>
                    <a:lnTo>
                      <a:pt x="931" y="227"/>
                    </a:lnTo>
                    <a:lnTo>
                      <a:pt x="927" y="228"/>
                    </a:lnTo>
                    <a:lnTo>
                      <a:pt x="924" y="229"/>
                    </a:lnTo>
                    <a:lnTo>
                      <a:pt x="919" y="230"/>
                    </a:lnTo>
                    <a:lnTo>
                      <a:pt x="915" y="231"/>
                    </a:lnTo>
                    <a:lnTo>
                      <a:pt x="914" y="233"/>
                    </a:lnTo>
                    <a:lnTo>
                      <a:pt x="911" y="233"/>
                    </a:lnTo>
                    <a:lnTo>
                      <a:pt x="909" y="233"/>
                    </a:lnTo>
                    <a:lnTo>
                      <a:pt x="908" y="234"/>
                    </a:lnTo>
                    <a:lnTo>
                      <a:pt x="907" y="234"/>
                    </a:lnTo>
                    <a:lnTo>
                      <a:pt x="905" y="234"/>
                    </a:lnTo>
                    <a:lnTo>
                      <a:pt x="901" y="236"/>
                    </a:lnTo>
                    <a:lnTo>
                      <a:pt x="896" y="237"/>
                    </a:lnTo>
                    <a:lnTo>
                      <a:pt x="894" y="238"/>
                    </a:lnTo>
                    <a:lnTo>
                      <a:pt x="892" y="238"/>
                    </a:lnTo>
                    <a:lnTo>
                      <a:pt x="889" y="240"/>
                    </a:lnTo>
                    <a:lnTo>
                      <a:pt x="887" y="241"/>
                    </a:lnTo>
                    <a:lnTo>
                      <a:pt x="885" y="242"/>
                    </a:lnTo>
                    <a:lnTo>
                      <a:pt x="882" y="242"/>
                    </a:lnTo>
                    <a:lnTo>
                      <a:pt x="880" y="243"/>
                    </a:lnTo>
                    <a:lnTo>
                      <a:pt x="878" y="244"/>
                    </a:lnTo>
                    <a:lnTo>
                      <a:pt x="875" y="244"/>
                    </a:lnTo>
                    <a:lnTo>
                      <a:pt x="874" y="245"/>
                    </a:lnTo>
                    <a:lnTo>
                      <a:pt x="871" y="246"/>
                    </a:lnTo>
                    <a:lnTo>
                      <a:pt x="868" y="248"/>
                    </a:lnTo>
                    <a:lnTo>
                      <a:pt x="866" y="249"/>
                    </a:lnTo>
                    <a:lnTo>
                      <a:pt x="864" y="250"/>
                    </a:lnTo>
                    <a:lnTo>
                      <a:pt x="861" y="251"/>
                    </a:lnTo>
                    <a:lnTo>
                      <a:pt x="859" y="251"/>
                    </a:lnTo>
                    <a:lnTo>
                      <a:pt x="857" y="252"/>
                    </a:lnTo>
                    <a:lnTo>
                      <a:pt x="855" y="253"/>
                    </a:lnTo>
                    <a:lnTo>
                      <a:pt x="853" y="255"/>
                    </a:lnTo>
                    <a:lnTo>
                      <a:pt x="853" y="255"/>
                    </a:lnTo>
                    <a:lnTo>
                      <a:pt x="850" y="256"/>
                    </a:lnTo>
                    <a:lnTo>
                      <a:pt x="846" y="258"/>
                    </a:lnTo>
                    <a:lnTo>
                      <a:pt x="845" y="258"/>
                    </a:lnTo>
                    <a:lnTo>
                      <a:pt x="844" y="258"/>
                    </a:lnTo>
                    <a:lnTo>
                      <a:pt x="842" y="260"/>
                    </a:lnTo>
                    <a:lnTo>
                      <a:pt x="839" y="262"/>
                    </a:lnTo>
                    <a:lnTo>
                      <a:pt x="836" y="263"/>
                    </a:lnTo>
                    <a:lnTo>
                      <a:pt x="834" y="264"/>
                    </a:lnTo>
                    <a:lnTo>
                      <a:pt x="829" y="266"/>
                    </a:lnTo>
                    <a:lnTo>
                      <a:pt x="826" y="268"/>
                    </a:lnTo>
                    <a:lnTo>
                      <a:pt x="826" y="268"/>
                    </a:lnTo>
                    <a:lnTo>
                      <a:pt x="824" y="268"/>
                    </a:lnTo>
                    <a:lnTo>
                      <a:pt x="822" y="271"/>
                    </a:lnTo>
                    <a:lnTo>
                      <a:pt x="820" y="272"/>
                    </a:lnTo>
                    <a:lnTo>
                      <a:pt x="820" y="272"/>
                    </a:lnTo>
                    <a:lnTo>
                      <a:pt x="819" y="273"/>
                    </a:lnTo>
                    <a:lnTo>
                      <a:pt x="817" y="273"/>
                    </a:lnTo>
                    <a:lnTo>
                      <a:pt x="816" y="273"/>
                    </a:lnTo>
                    <a:lnTo>
                      <a:pt x="816" y="274"/>
                    </a:lnTo>
                    <a:lnTo>
                      <a:pt x="816" y="274"/>
                    </a:lnTo>
                    <a:lnTo>
                      <a:pt x="815" y="274"/>
                    </a:lnTo>
                    <a:lnTo>
                      <a:pt x="814" y="275"/>
                    </a:lnTo>
                    <a:lnTo>
                      <a:pt x="812" y="277"/>
                    </a:lnTo>
                    <a:lnTo>
                      <a:pt x="809" y="278"/>
                    </a:lnTo>
                    <a:lnTo>
                      <a:pt x="808" y="279"/>
                    </a:lnTo>
                    <a:lnTo>
                      <a:pt x="806" y="280"/>
                    </a:lnTo>
                    <a:lnTo>
                      <a:pt x="804" y="281"/>
                    </a:lnTo>
                    <a:lnTo>
                      <a:pt x="801" y="283"/>
                    </a:lnTo>
                    <a:lnTo>
                      <a:pt x="801" y="283"/>
                    </a:lnTo>
                    <a:lnTo>
                      <a:pt x="800" y="283"/>
                    </a:lnTo>
                    <a:lnTo>
                      <a:pt x="800" y="285"/>
                    </a:lnTo>
                    <a:lnTo>
                      <a:pt x="799" y="285"/>
                    </a:lnTo>
                    <a:lnTo>
                      <a:pt x="799" y="285"/>
                    </a:lnTo>
                    <a:lnTo>
                      <a:pt x="799" y="286"/>
                    </a:lnTo>
                    <a:lnTo>
                      <a:pt x="795" y="287"/>
                    </a:lnTo>
                    <a:lnTo>
                      <a:pt x="793" y="288"/>
                    </a:lnTo>
                    <a:lnTo>
                      <a:pt x="793" y="289"/>
                    </a:lnTo>
                    <a:lnTo>
                      <a:pt x="792" y="289"/>
                    </a:lnTo>
                    <a:lnTo>
                      <a:pt x="792" y="289"/>
                    </a:lnTo>
                    <a:lnTo>
                      <a:pt x="791" y="290"/>
                    </a:lnTo>
                    <a:lnTo>
                      <a:pt x="786" y="294"/>
                    </a:lnTo>
                    <a:lnTo>
                      <a:pt x="780" y="297"/>
                    </a:lnTo>
                    <a:lnTo>
                      <a:pt x="778" y="300"/>
                    </a:lnTo>
                    <a:lnTo>
                      <a:pt x="775" y="302"/>
                    </a:lnTo>
                    <a:lnTo>
                      <a:pt x="770" y="305"/>
                    </a:lnTo>
                    <a:lnTo>
                      <a:pt x="767" y="309"/>
                    </a:lnTo>
                    <a:lnTo>
                      <a:pt x="767" y="310"/>
                    </a:lnTo>
                    <a:close/>
                  </a:path>
                </a:pathLst>
              </a:custGeom>
              <a:solidFill>
                <a:srgbClr val="005C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386160" y="643202"/>
              <a:ext cx="6211219" cy="440304"/>
            </a:xfrm>
            <a:custGeom>
              <a:avLst/>
              <a:gdLst>
                <a:gd name="T0" fmla="*/ 14362 w 14811"/>
                <a:gd name="T1" fmla="*/ 579 h 1050"/>
                <a:gd name="T2" fmla="*/ 14431 w 14811"/>
                <a:gd name="T3" fmla="*/ 267 h 1050"/>
                <a:gd name="T4" fmla="*/ 14507 w 14811"/>
                <a:gd name="T5" fmla="*/ 503 h 1050"/>
                <a:gd name="T6" fmla="*/ 12521 w 14811"/>
                <a:gd name="T7" fmla="*/ 850 h 1050"/>
                <a:gd name="T8" fmla="*/ 12405 w 14811"/>
                <a:gd name="T9" fmla="*/ 373 h 1050"/>
                <a:gd name="T10" fmla="*/ 12422 w 14811"/>
                <a:gd name="T11" fmla="*/ 631 h 1050"/>
                <a:gd name="T12" fmla="*/ 12229 w 14811"/>
                <a:gd name="T13" fmla="*/ 468 h 1050"/>
                <a:gd name="T14" fmla="*/ 12244 w 14811"/>
                <a:gd name="T15" fmla="*/ 691 h 1050"/>
                <a:gd name="T16" fmla="*/ 11564 w 14811"/>
                <a:gd name="T17" fmla="*/ 457 h 1050"/>
                <a:gd name="T18" fmla="*/ 11435 w 14811"/>
                <a:gd name="T19" fmla="*/ 438 h 1050"/>
                <a:gd name="T20" fmla="*/ 11757 w 14811"/>
                <a:gd name="T21" fmla="*/ 380 h 1050"/>
                <a:gd name="T22" fmla="*/ 11774 w 14811"/>
                <a:gd name="T23" fmla="*/ 644 h 1050"/>
                <a:gd name="T24" fmla="*/ 11367 w 14811"/>
                <a:gd name="T25" fmla="*/ 834 h 1050"/>
                <a:gd name="T26" fmla="*/ 11554 w 14811"/>
                <a:gd name="T27" fmla="*/ 742 h 1050"/>
                <a:gd name="T28" fmla="*/ 10702 w 14811"/>
                <a:gd name="T29" fmla="*/ 351 h 1050"/>
                <a:gd name="T30" fmla="*/ 11178 w 14811"/>
                <a:gd name="T31" fmla="*/ 389 h 1050"/>
                <a:gd name="T32" fmla="*/ 10830 w 14811"/>
                <a:gd name="T33" fmla="*/ 865 h 1050"/>
                <a:gd name="T34" fmla="*/ 10719 w 14811"/>
                <a:gd name="T35" fmla="*/ 556 h 1050"/>
                <a:gd name="T36" fmla="*/ 10906 w 14811"/>
                <a:gd name="T37" fmla="*/ 357 h 1050"/>
                <a:gd name="T38" fmla="*/ 10846 w 14811"/>
                <a:gd name="T39" fmla="*/ 698 h 1050"/>
                <a:gd name="T40" fmla="*/ 10014 w 14811"/>
                <a:gd name="T41" fmla="*/ 51 h 1050"/>
                <a:gd name="T42" fmla="*/ 10590 w 14811"/>
                <a:gd name="T43" fmla="*/ 417 h 1050"/>
                <a:gd name="T44" fmla="*/ 10363 w 14811"/>
                <a:gd name="T45" fmla="*/ 400 h 1050"/>
                <a:gd name="T46" fmla="*/ 9329 w 14811"/>
                <a:gd name="T47" fmla="*/ 260 h 1050"/>
                <a:gd name="T48" fmla="*/ 7898 w 14811"/>
                <a:gd name="T49" fmla="*/ 335 h 1050"/>
                <a:gd name="T50" fmla="*/ 8365 w 14811"/>
                <a:gd name="T51" fmla="*/ 405 h 1050"/>
                <a:gd name="T52" fmla="*/ 7995 w 14811"/>
                <a:gd name="T53" fmla="*/ 864 h 1050"/>
                <a:gd name="T54" fmla="*/ 7911 w 14811"/>
                <a:gd name="T55" fmla="*/ 549 h 1050"/>
                <a:gd name="T56" fmla="*/ 8083 w 14811"/>
                <a:gd name="T57" fmla="*/ 359 h 1050"/>
                <a:gd name="T58" fmla="*/ 8033 w 14811"/>
                <a:gd name="T59" fmla="*/ 713 h 1050"/>
                <a:gd name="T60" fmla="*/ 7675 w 14811"/>
                <a:gd name="T61" fmla="*/ 51 h 1050"/>
                <a:gd name="T62" fmla="*/ 7756 w 14811"/>
                <a:gd name="T63" fmla="*/ 557 h 1050"/>
                <a:gd name="T64" fmla="*/ 7361 w 14811"/>
                <a:gd name="T65" fmla="*/ 713 h 1050"/>
                <a:gd name="T66" fmla="*/ 7459 w 14811"/>
                <a:gd name="T67" fmla="*/ 485 h 1050"/>
                <a:gd name="T68" fmla="*/ 5791 w 14811"/>
                <a:gd name="T69" fmla="*/ 779 h 1050"/>
                <a:gd name="T70" fmla="*/ 4631 w 14811"/>
                <a:gd name="T71" fmla="*/ 375 h 1050"/>
                <a:gd name="T72" fmla="*/ 4658 w 14811"/>
                <a:gd name="T73" fmla="*/ 732 h 1050"/>
                <a:gd name="T74" fmla="*/ 4796 w 14811"/>
                <a:gd name="T75" fmla="*/ 827 h 1050"/>
                <a:gd name="T76" fmla="*/ 4399 w 14811"/>
                <a:gd name="T77" fmla="*/ 718 h 1050"/>
                <a:gd name="T78" fmla="*/ 4517 w 14811"/>
                <a:gd name="T79" fmla="*/ 270 h 1050"/>
                <a:gd name="T80" fmla="*/ 4899 w 14811"/>
                <a:gd name="T81" fmla="*/ 475 h 1050"/>
                <a:gd name="T82" fmla="*/ 2721 w 14811"/>
                <a:gd name="T83" fmla="*/ 490 h 1050"/>
                <a:gd name="T84" fmla="*/ 2705 w 14811"/>
                <a:gd name="T85" fmla="*/ 361 h 1050"/>
                <a:gd name="T86" fmla="*/ 2875 w 14811"/>
                <a:gd name="T87" fmla="*/ 264 h 1050"/>
                <a:gd name="T88" fmla="*/ 2947 w 14811"/>
                <a:gd name="T89" fmla="*/ 565 h 1050"/>
                <a:gd name="T90" fmla="*/ 2784 w 14811"/>
                <a:gd name="T91" fmla="*/ 864 h 1050"/>
                <a:gd name="T92" fmla="*/ 2718 w 14811"/>
                <a:gd name="T93" fmla="*/ 750 h 1050"/>
                <a:gd name="T94" fmla="*/ 2726 w 14811"/>
                <a:gd name="T95" fmla="*/ 607 h 1050"/>
                <a:gd name="T96" fmla="*/ 2352 w 14811"/>
                <a:gd name="T97" fmla="*/ 293 h 1050"/>
                <a:gd name="T98" fmla="*/ 2177 w 14811"/>
                <a:gd name="T99" fmla="*/ 831 h 1050"/>
                <a:gd name="T100" fmla="*/ 1892 w 14811"/>
                <a:gd name="T101" fmla="*/ 635 h 1050"/>
                <a:gd name="T102" fmla="*/ 2205 w 14811"/>
                <a:gd name="T103" fmla="*/ 366 h 1050"/>
                <a:gd name="T104" fmla="*/ 2108 w 14811"/>
                <a:gd name="T105" fmla="*/ 600 h 1050"/>
                <a:gd name="T106" fmla="*/ 2206 w 14811"/>
                <a:gd name="T107" fmla="*/ 713 h 1050"/>
                <a:gd name="T108" fmla="*/ 1636 w 14811"/>
                <a:gd name="T109" fmla="*/ 256 h 1050"/>
                <a:gd name="T110" fmla="*/ 1764 w 14811"/>
                <a:gd name="T111" fmla="*/ 747 h 1050"/>
                <a:gd name="T112" fmla="*/ 1452 w 14811"/>
                <a:gd name="T113" fmla="*/ 607 h 1050"/>
                <a:gd name="T114" fmla="*/ 1612 w 14811"/>
                <a:gd name="T115" fmla="*/ 576 h 1050"/>
                <a:gd name="T116" fmla="*/ 1453 w 14811"/>
                <a:gd name="T117" fmla="*/ 456 h 1050"/>
                <a:gd name="T118" fmla="*/ 1147 w 14811"/>
                <a:gd name="T119" fmla="*/ 456 h 1050"/>
                <a:gd name="T120" fmla="*/ 1162 w 14811"/>
                <a:gd name="T121" fmla="*/ 746 h 1050"/>
                <a:gd name="T122" fmla="*/ 973 w 14811"/>
                <a:gd name="T123" fmla="*/ 387 h 1050"/>
                <a:gd name="T124" fmla="*/ 985 w 14811"/>
                <a:gd name="T125" fmla="*/ 611 h 1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811" h="1050">
                  <a:moveTo>
                    <a:pt x="0" y="51"/>
                  </a:moveTo>
                  <a:lnTo>
                    <a:pt x="548" y="51"/>
                  </a:lnTo>
                  <a:lnTo>
                    <a:pt x="548" y="189"/>
                  </a:lnTo>
                  <a:lnTo>
                    <a:pt x="199" y="189"/>
                  </a:lnTo>
                  <a:lnTo>
                    <a:pt x="199" y="375"/>
                  </a:lnTo>
                  <a:lnTo>
                    <a:pt x="470" y="375"/>
                  </a:lnTo>
                  <a:lnTo>
                    <a:pt x="470" y="513"/>
                  </a:lnTo>
                  <a:lnTo>
                    <a:pt x="199" y="513"/>
                  </a:lnTo>
                  <a:lnTo>
                    <a:pt x="199" y="707"/>
                  </a:lnTo>
                  <a:lnTo>
                    <a:pt x="548" y="707"/>
                  </a:lnTo>
                  <a:lnTo>
                    <a:pt x="548" y="850"/>
                  </a:lnTo>
                  <a:lnTo>
                    <a:pt x="0" y="850"/>
                  </a:lnTo>
                  <a:lnTo>
                    <a:pt x="0" y="51"/>
                  </a:lnTo>
                  <a:close/>
                  <a:moveTo>
                    <a:pt x="6426" y="159"/>
                  </a:moveTo>
                  <a:lnTo>
                    <a:pt x="6597" y="159"/>
                  </a:lnTo>
                  <a:lnTo>
                    <a:pt x="6597" y="0"/>
                  </a:lnTo>
                  <a:lnTo>
                    <a:pt x="6426" y="0"/>
                  </a:lnTo>
                  <a:lnTo>
                    <a:pt x="6426" y="159"/>
                  </a:lnTo>
                  <a:close/>
                  <a:moveTo>
                    <a:pt x="3928" y="159"/>
                  </a:moveTo>
                  <a:lnTo>
                    <a:pt x="4099" y="159"/>
                  </a:lnTo>
                  <a:lnTo>
                    <a:pt x="4099" y="0"/>
                  </a:lnTo>
                  <a:lnTo>
                    <a:pt x="3928" y="0"/>
                  </a:lnTo>
                  <a:lnTo>
                    <a:pt x="3928" y="159"/>
                  </a:lnTo>
                  <a:close/>
                  <a:moveTo>
                    <a:pt x="14625" y="850"/>
                  </a:moveTo>
                  <a:lnTo>
                    <a:pt x="14625" y="626"/>
                  </a:lnTo>
                  <a:lnTo>
                    <a:pt x="14540" y="626"/>
                  </a:lnTo>
                  <a:lnTo>
                    <a:pt x="14438" y="850"/>
                  </a:lnTo>
                  <a:lnTo>
                    <a:pt x="14250" y="850"/>
                  </a:lnTo>
                  <a:lnTo>
                    <a:pt x="14384" y="592"/>
                  </a:lnTo>
                  <a:lnTo>
                    <a:pt x="14372" y="586"/>
                  </a:lnTo>
                  <a:lnTo>
                    <a:pt x="14362" y="579"/>
                  </a:lnTo>
                  <a:lnTo>
                    <a:pt x="14353" y="572"/>
                  </a:lnTo>
                  <a:lnTo>
                    <a:pt x="14343" y="565"/>
                  </a:lnTo>
                  <a:lnTo>
                    <a:pt x="14334" y="557"/>
                  </a:lnTo>
                  <a:lnTo>
                    <a:pt x="14327" y="549"/>
                  </a:lnTo>
                  <a:lnTo>
                    <a:pt x="14320" y="541"/>
                  </a:lnTo>
                  <a:lnTo>
                    <a:pt x="14313" y="532"/>
                  </a:lnTo>
                  <a:lnTo>
                    <a:pt x="14307" y="522"/>
                  </a:lnTo>
                  <a:lnTo>
                    <a:pt x="14303" y="512"/>
                  </a:lnTo>
                  <a:lnTo>
                    <a:pt x="14299" y="501"/>
                  </a:lnTo>
                  <a:lnTo>
                    <a:pt x="14296" y="491"/>
                  </a:lnTo>
                  <a:lnTo>
                    <a:pt x="14294" y="479"/>
                  </a:lnTo>
                  <a:lnTo>
                    <a:pt x="14291" y="468"/>
                  </a:lnTo>
                  <a:lnTo>
                    <a:pt x="14290" y="456"/>
                  </a:lnTo>
                  <a:lnTo>
                    <a:pt x="14290" y="444"/>
                  </a:lnTo>
                  <a:lnTo>
                    <a:pt x="14290" y="426"/>
                  </a:lnTo>
                  <a:lnTo>
                    <a:pt x="14292" y="409"/>
                  </a:lnTo>
                  <a:lnTo>
                    <a:pt x="14296" y="392"/>
                  </a:lnTo>
                  <a:lnTo>
                    <a:pt x="14302" y="375"/>
                  </a:lnTo>
                  <a:lnTo>
                    <a:pt x="14309" y="359"/>
                  </a:lnTo>
                  <a:lnTo>
                    <a:pt x="14317" y="344"/>
                  </a:lnTo>
                  <a:lnTo>
                    <a:pt x="14326" y="329"/>
                  </a:lnTo>
                  <a:lnTo>
                    <a:pt x="14338" y="315"/>
                  </a:lnTo>
                  <a:lnTo>
                    <a:pt x="14343" y="308"/>
                  </a:lnTo>
                  <a:lnTo>
                    <a:pt x="14350" y="302"/>
                  </a:lnTo>
                  <a:lnTo>
                    <a:pt x="14358" y="297"/>
                  </a:lnTo>
                  <a:lnTo>
                    <a:pt x="14366" y="291"/>
                  </a:lnTo>
                  <a:lnTo>
                    <a:pt x="14376" y="285"/>
                  </a:lnTo>
                  <a:lnTo>
                    <a:pt x="14385" y="280"/>
                  </a:lnTo>
                  <a:lnTo>
                    <a:pt x="14395" y="277"/>
                  </a:lnTo>
                  <a:lnTo>
                    <a:pt x="14407" y="273"/>
                  </a:lnTo>
                  <a:lnTo>
                    <a:pt x="14431" y="267"/>
                  </a:lnTo>
                  <a:lnTo>
                    <a:pt x="14458" y="263"/>
                  </a:lnTo>
                  <a:lnTo>
                    <a:pt x="14488" y="260"/>
                  </a:lnTo>
                  <a:lnTo>
                    <a:pt x="14521" y="260"/>
                  </a:lnTo>
                  <a:lnTo>
                    <a:pt x="14811" y="260"/>
                  </a:lnTo>
                  <a:lnTo>
                    <a:pt x="14811" y="850"/>
                  </a:lnTo>
                  <a:lnTo>
                    <a:pt x="14625" y="850"/>
                  </a:lnTo>
                  <a:close/>
                  <a:moveTo>
                    <a:pt x="14625" y="507"/>
                  </a:moveTo>
                  <a:lnTo>
                    <a:pt x="14625" y="367"/>
                  </a:lnTo>
                  <a:lnTo>
                    <a:pt x="14544" y="367"/>
                  </a:lnTo>
                  <a:lnTo>
                    <a:pt x="14533" y="368"/>
                  </a:lnTo>
                  <a:lnTo>
                    <a:pt x="14523" y="368"/>
                  </a:lnTo>
                  <a:lnTo>
                    <a:pt x="14515" y="371"/>
                  </a:lnTo>
                  <a:lnTo>
                    <a:pt x="14507" y="372"/>
                  </a:lnTo>
                  <a:lnTo>
                    <a:pt x="14500" y="374"/>
                  </a:lnTo>
                  <a:lnTo>
                    <a:pt x="14494" y="378"/>
                  </a:lnTo>
                  <a:lnTo>
                    <a:pt x="14488" y="381"/>
                  </a:lnTo>
                  <a:lnTo>
                    <a:pt x="14485" y="386"/>
                  </a:lnTo>
                  <a:lnTo>
                    <a:pt x="14481" y="390"/>
                  </a:lnTo>
                  <a:lnTo>
                    <a:pt x="14478" y="396"/>
                  </a:lnTo>
                  <a:lnTo>
                    <a:pt x="14475" y="402"/>
                  </a:lnTo>
                  <a:lnTo>
                    <a:pt x="14473" y="409"/>
                  </a:lnTo>
                  <a:lnTo>
                    <a:pt x="14471" y="424"/>
                  </a:lnTo>
                  <a:lnTo>
                    <a:pt x="14470" y="442"/>
                  </a:lnTo>
                  <a:lnTo>
                    <a:pt x="14471" y="456"/>
                  </a:lnTo>
                  <a:lnTo>
                    <a:pt x="14473" y="468"/>
                  </a:lnTo>
                  <a:lnTo>
                    <a:pt x="14476" y="479"/>
                  </a:lnTo>
                  <a:lnTo>
                    <a:pt x="14482" y="489"/>
                  </a:lnTo>
                  <a:lnTo>
                    <a:pt x="14487" y="493"/>
                  </a:lnTo>
                  <a:lnTo>
                    <a:pt x="14493" y="497"/>
                  </a:lnTo>
                  <a:lnTo>
                    <a:pt x="14499" y="500"/>
                  </a:lnTo>
                  <a:lnTo>
                    <a:pt x="14507" y="503"/>
                  </a:lnTo>
                  <a:lnTo>
                    <a:pt x="14516" y="505"/>
                  </a:lnTo>
                  <a:lnTo>
                    <a:pt x="14527" y="506"/>
                  </a:lnTo>
                  <a:lnTo>
                    <a:pt x="14539" y="507"/>
                  </a:lnTo>
                  <a:lnTo>
                    <a:pt x="14552" y="507"/>
                  </a:lnTo>
                  <a:lnTo>
                    <a:pt x="14625" y="507"/>
                  </a:lnTo>
                  <a:close/>
                  <a:moveTo>
                    <a:pt x="13841" y="779"/>
                  </a:moveTo>
                  <a:lnTo>
                    <a:pt x="13841" y="850"/>
                  </a:lnTo>
                  <a:lnTo>
                    <a:pt x="13654" y="850"/>
                  </a:lnTo>
                  <a:lnTo>
                    <a:pt x="13654" y="260"/>
                  </a:lnTo>
                  <a:lnTo>
                    <a:pt x="13841" y="260"/>
                  </a:lnTo>
                  <a:lnTo>
                    <a:pt x="13841" y="543"/>
                  </a:lnTo>
                  <a:lnTo>
                    <a:pt x="13991" y="335"/>
                  </a:lnTo>
                  <a:lnTo>
                    <a:pt x="13991" y="260"/>
                  </a:lnTo>
                  <a:lnTo>
                    <a:pt x="14179" y="260"/>
                  </a:lnTo>
                  <a:lnTo>
                    <a:pt x="14179" y="850"/>
                  </a:lnTo>
                  <a:lnTo>
                    <a:pt x="13991" y="850"/>
                  </a:lnTo>
                  <a:lnTo>
                    <a:pt x="13991" y="574"/>
                  </a:lnTo>
                  <a:lnTo>
                    <a:pt x="13961" y="619"/>
                  </a:lnTo>
                  <a:lnTo>
                    <a:pt x="13841" y="779"/>
                  </a:lnTo>
                  <a:close/>
                  <a:moveTo>
                    <a:pt x="13094" y="260"/>
                  </a:moveTo>
                  <a:lnTo>
                    <a:pt x="13596" y="260"/>
                  </a:lnTo>
                  <a:lnTo>
                    <a:pt x="13596" y="392"/>
                  </a:lnTo>
                  <a:lnTo>
                    <a:pt x="13439" y="392"/>
                  </a:lnTo>
                  <a:lnTo>
                    <a:pt x="13439" y="850"/>
                  </a:lnTo>
                  <a:lnTo>
                    <a:pt x="13252" y="850"/>
                  </a:lnTo>
                  <a:lnTo>
                    <a:pt x="13252" y="392"/>
                  </a:lnTo>
                  <a:lnTo>
                    <a:pt x="13094" y="392"/>
                  </a:lnTo>
                  <a:lnTo>
                    <a:pt x="13094" y="260"/>
                  </a:lnTo>
                  <a:close/>
                  <a:moveTo>
                    <a:pt x="12707" y="779"/>
                  </a:moveTo>
                  <a:lnTo>
                    <a:pt x="12707" y="850"/>
                  </a:lnTo>
                  <a:lnTo>
                    <a:pt x="12521" y="850"/>
                  </a:lnTo>
                  <a:lnTo>
                    <a:pt x="12521" y="260"/>
                  </a:lnTo>
                  <a:lnTo>
                    <a:pt x="12707" y="260"/>
                  </a:lnTo>
                  <a:lnTo>
                    <a:pt x="12707" y="543"/>
                  </a:lnTo>
                  <a:lnTo>
                    <a:pt x="12858" y="335"/>
                  </a:lnTo>
                  <a:lnTo>
                    <a:pt x="12858" y="260"/>
                  </a:lnTo>
                  <a:lnTo>
                    <a:pt x="13045" y="260"/>
                  </a:lnTo>
                  <a:lnTo>
                    <a:pt x="13045" y="850"/>
                  </a:lnTo>
                  <a:lnTo>
                    <a:pt x="12858" y="850"/>
                  </a:lnTo>
                  <a:lnTo>
                    <a:pt x="12858" y="574"/>
                  </a:lnTo>
                  <a:lnTo>
                    <a:pt x="12827" y="619"/>
                  </a:lnTo>
                  <a:lnTo>
                    <a:pt x="12707" y="779"/>
                  </a:lnTo>
                  <a:close/>
                  <a:moveTo>
                    <a:pt x="11872" y="850"/>
                  </a:moveTo>
                  <a:lnTo>
                    <a:pt x="11872" y="260"/>
                  </a:lnTo>
                  <a:lnTo>
                    <a:pt x="12212" y="260"/>
                  </a:lnTo>
                  <a:lnTo>
                    <a:pt x="12241" y="260"/>
                  </a:lnTo>
                  <a:lnTo>
                    <a:pt x="12268" y="262"/>
                  </a:lnTo>
                  <a:lnTo>
                    <a:pt x="12292" y="267"/>
                  </a:lnTo>
                  <a:lnTo>
                    <a:pt x="12312" y="271"/>
                  </a:lnTo>
                  <a:lnTo>
                    <a:pt x="12321" y="275"/>
                  </a:lnTo>
                  <a:lnTo>
                    <a:pt x="12331" y="279"/>
                  </a:lnTo>
                  <a:lnTo>
                    <a:pt x="12340" y="284"/>
                  </a:lnTo>
                  <a:lnTo>
                    <a:pt x="12348" y="290"/>
                  </a:lnTo>
                  <a:lnTo>
                    <a:pt x="12356" y="297"/>
                  </a:lnTo>
                  <a:lnTo>
                    <a:pt x="12364" y="304"/>
                  </a:lnTo>
                  <a:lnTo>
                    <a:pt x="12372" y="312"/>
                  </a:lnTo>
                  <a:lnTo>
                    <a:pt x="12379" y="321"/>
                  </a:lnTo>
                  <a:lnTo>
                    <a:pt x="12386" y="330"/>
                  </a:lnTo>
                  <a:lnTo>
                    <a:pt x="12392" y="341"/>
                  </a:lnTo>
                  <a:lnTo>
                    <a:pt x="12398" y="351"/>
                  </a:lnTo>
                  <a:lnTo>
                    <a:pt x="12401" y="361"/>
                  </a:lnTo>
                  <a:lnTo>
                    <a:pt x="12405" y="373"/>
                  </a:lnTo>
                  <a:lnTo>
                    <a:pt x="12407" y="385"/>
                  </a:lnTo>
                  <a:lnTo>
                    <a:pt x="12408" y="397"/>
                  </a:lnTo>
                  <a:lnTo>
                    <a:pt x="12409" y="410"/>
                  </a:lnTo>
                  <a:lnTo>
                    <a:pt x="12408" y="419"/>
                  </a:lnTo>
                  <a:lnTo>
                    <a:pt x="12407" y="430"/>
                  </a:lnTo>
                  <a:lnTo>
                    <a:pt x="12406" y="439"/>
                  </a:lnTo>
                  <a:lnTo>
                    <a:pt x="12404" y="448"/>
                  </a:lnTo>
                  <a:lnTo>
                    <a:pt x="12401" y="456"/>
                  </a:lnTo>
                  <a:lnTo>
                    <a:pt x="12397" y="466"/>
                  </a:lnTo>
                  <a:lnTo>
                    <a:pt x="12393" y="474"/>
                  </a:lnTo>
                  <a:lnTo>
                    <a:pt x="12389" y="482"/>
                  </a:lnTo>
                  <a:lnTo>
                    <a:pt x="12383" y="489"/>
                  </a:lnTo>
                  <a:lnTo>
                    <a:pt x="12376" y="497"/>
                  </a:lnTo>
                  <a:lnTo>
                    <a:pt x="12370" y="504"/>
                  </a:lnTo>
                  <a:lnTo>
                    <a:pt x="12362" y="511"/>
                  </a:lnTo>
                  <a:lnTo>
                    <a:pt x="12354" y="516"/>
                  </a:lnTo>
                  <a:lnTo>
                    <a:pt x="12345" y="523"/>
                  </a:lnTo>
                  <a:lnTo>
                    <a:pt x="12335" y="529"/>
                  </a:lnTo>
                  <a:lnTo>
                    <a:pt x="12325" y="535"/>
                  </a:lnTo>
                  <a:lnTo>
                    <a:pt x="12338" y="541"/>
                  </a:lnTo>
                  <a:lnTo>
                    <a:pt x="12349" y="547"/>
                  </a:lnTo>
                  <a:lnTo>
                    <a:pt x="12361" y="554"/>
                  </a:lnTo>
                  <a:lnTo>
                    <a:pt x="12370" y="560"/>
                  </a:lnTo>
                  <a:lnTo>
                    <a:pt x="12379" y="567"/>
                  </a:lnTo>
                  <a:lnTo>
                    <a:pt x="12389" y="576"/>
                  </a:lnTo>
                  <a:lnTo>
                    <a:pt x="12395" y="584"/>
                  </a:lnTo>
                  <a:lnTo>
                    <a:pt x="12402" y="592"/>
                  </a:lnTo>
                  <a:lnTo>
                    <a:pt x="12408" y="601"/>
                  </a:lnTo>
                  <a:lnTo>
                    <a:pt x="12414" y="610"/>
                  </a:lnTo>
                  <a:lnTo>
                    <a:pt x="12417" y="621"/>
                  </a:lnTo>
                  <a:lnTo>
                    <a:pt x="12422" y="631"/>
                  </a:lnTo>
                  <a:lnTo>
                    <a:pt x="12424" y="641"/>
                  </a:lnTo>
                  <a:lnTo>
                    <a:pt x="12427" y="653"/>
                  </a:lnTo>
                  <a:lnTo>
                    <a:pt x="12428" y="665"/>
                  </a:lnTo>
                  <a:lnTo>
                    <a:pt x="12428" y="677"/>
                  </a:lnTo>
                  <a:lnTo>
                    <a:pt x="12427" y="696"/>
                  </a:lnTo>
                  <a:lnTo>
                    <a:pt x="12424" y="713"/>
                  </a:lnTo>
                  <a:lnTo>
                    <a:pt x="12421" y="731"/>
                  </a:lnTo>
                  <a:lnTo>
                    <a:pt x="12415" y="746"/>
                  </a:lnTo>
                  <a:lnTo>
                    <a:pt x="12408" y="762"/>
                  </a:lnTo>
                  <a:lnTo>
                    <a:pt x="12400" y="776"/>
                  </a:lnTo>
                  <a:lnTo>
                    <a:pt x="12390" y="790"/>
                  </a:lnTo>
                  <a:lnTo>
                    <a:pt x="12378" y="801"/>
                  </a:lnTo>
                  <a:lnTo>
                    <a:pt x="12364" y="813"/>
                  </a:lnTo>
                  <a:lnTo>
                    <a:pt x="12350" y="823"/>
                  </a:lnTo>
                  <a:lnTo>
                    <a:pt x="12334" y="831"/>
                  </a:lnTo>
                  <a:lnTo>
                    <a:pt x="12318" y="838"/>
                  </a:lnTo>
                  <a:lnTo>
                    <a:pt x="12299" y="843"/>
                  </a:lnTo>
                  <a:lnTo>
                    <a:pt x="12281" y="847"/>
                  </a:lnTo>
                  <a:lnTo>
                    <a:pt x="12260" y="850"/>
                  </a:lnTo>
                  <a:lnTo>
                    <a:pt x="12238" y="850"/>
                  </a:lnTo>
                  <a:lnTo>
                    <a:pt x="11872" y="850"/>
                  </a:lnTo>
                  <a:close/>
                  <a:moveTo>
                    <a:pt x="12071" y="489"/>
                  </a:moveTo>
                  <a:lnTo>
                    <a:pt x="12174" y="489"/>
                  </a:lnTo>
                  <a:lnTo>
                    <a:pt x="12189" y="488"/>
                  </a:lnTo>
                  <a:lnTo>
                    <a:pt x="12202" y="485"/>
                  </a:lnTo>
                  <a:lnTo>
                    <a:pt x="12208" y="483"/>
                  </a:lnTo>
                  <a:lnTo>
                    <a:pt x="12214" y="482"/>
                  </a:lnTo>
                  <a:lnTo>
                    <a:pt x="12218" y="478"/>
                  </a:lnTo>
                  <a:lnTo>
                    <a:pt x="12222" y="476"/>
                  </a:lnTo>
                  <a:lnTo>
                    <a:pt x="12225" y="473"/>
                  </a:lnTo>
                  <a:lnTo>
                    <a:pt x="12229" y="468"/>
                  </a:lnTo>
                  <a:lnTo>
                    <a:pt x="12231" y="463"/>
                  </a:lnTo>
                  <a:lnTo>
                    <a:pt x="12233" y="459"/>
                  </a:lnTo>
                  <a:lnTo>
                    <a:pt x="12236" y="446"/>
                  </a:lnTo>
                  <a:lnTo>
                    <a:pt x="12237" y="431"/>
                  </a:lnTo>
                  <a:lnTo>
                    <a:pt x="12236" y="418"/>
                  </a:lnTo>
                  <a:lnTo>
                    <a:pt x="12234" y="408"/>
                  </a:lnTo>
                  <a:lnTo>
                    <a:pt x="12231" y="397"/>
                  </a:lnTo>
                  <a:lnTo>
                    <a:pt x="12228" y="387"/>
                  </a:lnTo>
                  <a:lnTo>
                    <a:pt x="12224" y="382"/>
                  </a:lnTo>
                  <a:lnTo>
                    <a:pt x="12221" y="379"/>
                  </a:lnTo>
                  <a:lnTo>
                    <a:pt x="12215" y="375"/>
                  </a:lnTo>
                  <a:lnTo>
                    <a:pt x="12209" y="373"/>
                  </a:lnTo>
                  <a:lnTo>
                    <a:pt x="12202" y="371"/>
                  </a:lnTo>
                  <a:lnTo>
                    <a:pt x="12194" y="368"/>
                  </a:lnTo>
                  <a:lnTo>
                    <a:pt x="12185" y="368"/>
                  </a:lnTo>
                  <a:lnTo>
                    <a:pt x="12174" y="367"/>
                  </a:lnTo>
                  <a:lnTo>
                    <a:pt x="12071" y="367"/>
                  </a:lnTo>
                  <a:lnTo>
                    <a:pt x="12071" y="489"/>
                  </a:lnTo>
                  <a:close/>
                  <a:moveTo>
                    <a:pt x="12071" y="722"/>
                  </a:moveTo>
                  <a:lnTo>
                    <a:pt x="12184" y="722"/>
                  </a:lnTo>
                  <a:lnTo>
                    <a:pt x="12193" y="722"/>
                  </a:lnTo>
                  <a:lnTo>
                    <a:pt x="12201" y="721"/>
                  </a:lnTo>
                  <a:lnTo>
                    <a:pt x="12209" y="720"/>
                  </a:lnTo>
                  <a:lnTo>
                    <a:pt x="12216" y="718"/>
                  </a:lnTo>
                  <a:lnTo>
                    <a:pt x="12222" y="716"/>
                  </a:lnTo>
                  <a:lnTo>
                    <a:pt x="12226" y="713"/>
                  </a:lnTo>
                  <a:lnTo>
                    <a:pt x="12231" y="710"/>
                  </a:lnTo>
                  <a:lnTo>
                    <a:pt x="12236" y="706"/>
                  </a:lnTo>
                  <a:lnTo>
                    <a:pt x="12238" y="702"/>
                  </a:lnTo>
                  <a:lnTo>
                    <a:pt x="12241" y="697"/>
                  </a:lnTo>
                  <a:lnTo>
                    <a:pt x="12244" y="691"/>
                  </a:lnTo>
                  <a:lnTo>
                    <a:pt x="12245" y="685"/>
                  </a:lnTo>
                  <a:lnTo>
                    <a:pt x="12247" y="672"/>
                  </a:lnTo>
                  <a:lnTo>
                    <a:pt x="12248" y="657"/>
                  </a:lnTo>
                  <a:lnTo>
                    <a:pt x="12247" y="641"/>
                  </a:lnTo>
                  <a:lnTo>
                    <a:pt x="12245" y="628"/>
                  </a:lnTo>
                  <a:lnTo>
                    <a:pt x="12243" y="622"/>
                  </a:lnTo>
                  <a:lnTo>
                    <a:pt x="12240" y="616"/>
                  </a:lnTo>
                  <a:lnTo>
                    <a:pt x="12238" y="611"/>
                  </a:lnTo>
                  <a:lnTo>
                    <a:pt x="12234" y="607"/>
                  </a:lnTo>
                  <a:lnTo>
                    <a:pt x="12231" y="603"/>
                  </a:lnTo>
                  <a:lnTo>
                    <a:pt x="12226" y="600"/>
                  </a:lnTo>
                  <a:lnTo>
                    <a:pt x="12221" y="596"/>
                  </a:lnTo>
                  <a:lnTo>
                    <a:pt x="12215" y="594"/>
                  </a:lnTo>
                  <a:lnTo>
                    <a:pt x="12208" y="592"/>
                  </a:lnTo>
                  <a:lnTo>
                    <a:pt x="12200" y="591"/>
                  </a:lnTo>
                  <a:lnTo>
                    <a:pt x="12192" y="589"/>
                  </a:lnTo>
                  <a:lnTo>
                    <a:pt x="12184" y="589"/>
                  </a:lnTo>
                  <a:lnTo>
                    <a:pt x="12071" y="589"/>
                  </a:lnTo>
                  <a:lnTo>
                    <a:pt x="12071" y="722"/>
                  </a:lnTo>
                  <a:close/>
                  <a:moveTo>
                    <a:pt x="11438" y="491"/>
                  </a:moveTo>
                  <a:lnTo>
                    <a:pt x="11468" y="491"/>
                  </a:lnTo>
                  <a:lnTo>
                    <a:pt x="11492" y="490"/>
                  </a:lnTo>
                  <a:lnTo>
                    <a:pt x="11511" y="489"/>
                  </a:lnTo>
                  <a:lnTo>
                    <a:pt x="11523" y="488"/>
                  </a:lnTo>
                  <a:lnTo>
                    <a:pt x="11533" y="485"/>
                  </a:lnTo>
                  <a:lnTo>
                    <a:pt x="11541" y="482"/>
                  </a:lnTo>
                  <a:lnTo>
                    <a:pt x="11549" y="477"/>
                  </a:lnTo>
                  <a:lnTo>
                    <a:pt x="11556" y="470"/>
                  </a:lnTo>
                  <a:lnTo>
                    <a:pt x="11559" y="467"/>
                  </a:lnTo>
                  <a:lnTo>
                    <a:pt x="11562" y="462"/>
                  </a:lnTo>
                  <a:lnTo>
                    <a:pt x="11564" y="457"/>
                  </a:lnTo>
                  <a:lnTo>
                    <a:pt x="11566" y="452"/>
                  </a:lnTo>
                  <a:lnTo>
                    <a:pt x="11569" y="440"/>
                  </a:lnTo>
                  <a:lnTo>
                    <a:pt x="11570" y="426"/>
                  </a:lnTo>
                  <a:lnTo>
                    <a:pt x="11569" y="409"/>
                  </a:lnTo>
                  <a:lnTo>
                    <a:pt x="11565" y="394"/>
                  </a:lnTo>
                  <a:lnTo>
                    <a:pt x="11563" y="388"/>
                  </a:lnTo>
                  <a:lnTo>
                    <a:pt x="11560" y="381"/>
                  </a:lnTo>
                  <a:lnTo>
                    <a:pt x="11557" y="376"/>
                  </a:lnTo>
                  <a:lnTo>
                    <a:pt x="11554" y="372"/>
                  </a:lnTo>
                  <a:lnTo>
                    <a:pt x="11550" y="367"/>
                  </a:lnTo>
                  <a:lnTo>
                    <a:pt x="11545" y="364"/>
                  </a:lnTo>
                  <a:lnTo>
                    <a:pt x="11540" y="360"/>
                  </a:lnTo>
                  <a:lnTo>
                    <a:pt x="11535" y="358"/>
                  </a:lnTo>
                  <a:lnTo>
                    <a:pt x="11528" y="356"/>
                  </a:lnTo>
                  <a:lnTo>
                    <a:pt x="11522" y="354"/>
                  </a:lnTo>
                  <a:lnTo>
                    <a:pt x="11515" y="353"/>
                  </a:lnTo>
                  <a:lnTo>
                    <a:pt x="11507" y="353"/>
                  </a:lnTo>
                  <a:lnTo>
                    <a:pt x="11500" y="353"/>
                  </a:lnTo>
                  <a:lnTo>
                    <a:pt x="11494" y="354"/>
                  </a:lnTo>
                  <a:lnTo>
                    <a:pt x="11488" y="357"/>
                  </a:lnTo>
                  <a:lnTo>
                    <a:pt x="11482" y="359"/>
                  </a:lnTo>
                  <a:lnTo>
                    <a:pt x="11476" y="361"/>
                  </a:lnTo>
                  <a:lnTo>
                    <a:pt x="11471" y="365"/>
                  </a:lnTo>
                  <a:lnTo>
                    <a:pt x="11466" y="370"/>
                  </a:lnTo>
                  <a:lnTo>
                    <a:pt x="11461" y="374"/>
                  </a:lnTo>
                  <a:lnTo>
                    <a:pt x="11456" y="380"/>
                  </a:lnTo>
                  <a:lnTo>
                    <a:pt x="11453" y="386"/>
                  </a:lnTo>
                  <a:lnTo>
                    <a:pt x="11449" y="393"/>
                  </a:lnTo>
                  <a:lnTo>
                    <a:pt x="11446" y="401"/>
                  </a:lnTo>
                  <a:lnTo>
                    <a:pt x="11440" y="418"/>
                  </a:lnTo>
                  <a:lnTo>
                    <a:pt x="11435" y="438"/>
                  </a:lnTo>
                  <a:lnTo>
                    <a:pt x="11270" y="410"/>
                  </a:lnTo>
                  <a:lnTo>
                    <a:pt x="11274" y="389"/>
                  </a:lnTo>
                  <a:lnTo>
                    <a:pt x="11281" y="371"/>
                  </a:lnTo>
                  <a:lnTo>
                    <a:pt x="11288" y="353"/>
                  </a:lnTo>
                  <a:lnTo>
                    <a:pt x="11298" y="337"/>
                  </a:lnTo>
                  <a:lnTo>
                    <a:pt x="11308" y="323"/>
                  </a:lnTo>
                  <a:lnTo>
                    <a:pt x="11321" y="309"/>
                  </a:lnTo>
                  <a:lnTo>
                    <a:pt x="11334" y="297"/>
                  </a:lnTo>
                  <a:lnTo>
                    <a:pt x="11349" y="286"/>
                  </a:lnTo>
                  <a:lnTo>
                    <a:pt x="11365" y="276"/>
                  </a:lnTo>
                  <a:lnTo>
                    <a:pt x="11383" y="268"/>
                  </a:lnTo>
                  <a:lnTo>
                    <a:pt x="11402" y="261"/>
                  </a:lnTo>
                  <a:lnTo>
                    <a:pt x="11423" y="255"/>
                  </a:lnTo>
                  <a:lnTo>
                    <a:pt x="11445" y="250"/>
                  </a:lnTo>
                  <a:lnTo>
                    <a:pt x="11468" y="247"/>
                  </a:lnTo>
                  <a:lnTo>
                    <a:pt x="11493" y="246"/>
                  </a:lnTo>
                  <a:lnTo>
                    <a:pt x="11520" y="245"/>
                  </a:lnTo>
                  <a:lnTo>
                    <a:pt x="11549" y="246"/>
                  </a:lnTo>
                  <a:lnTo>
                    <a:pt x="11576" y="248"/>
                  </a:lnTo>
                  <a:lnTo>
                    <a:pt x="11601" y="251"/>
                  </a:lnTo>
                  <a:lnTo>
                    <a:pt x="11624" y="257"/>
                  </a:lnTo>
                  <a:lnTo>
                    <a:pt x="11646" y="264"/>
                  </a:lnTo>
                  <a:lnTo>
                    <a:pt x="11666" y="272"/>
                  </a:lnTo>
                  <a:lnTo>
                    <a:pt x="11683" y="283"/>
                  </a:lnTo>
                  <a:lnTo>
                    <a:pt x="11699" y="294"/>
                  </a:lnTo>
                  <a:lnTo>
                    <a:pt x="11715" y="307"/>
                  </a:lnTo>
                  <a:lnTo>
                    <a:pt x="11726" y="320"/>
                  </a:lnTo>
                  <a:lnTo>
                    <a:pt x="11737" y="334"/>
                  </a:lnTo>
                  <a:lnTo>
                    <a:pt x="11746" y="349"/>
                  </a:lnTo>
                  <a:lnTo>
                    <a:pt x="11752" y="364"/>
                  </a:lnTo>
                  <a:lnTo>
                    <a:pt x="11757" y="380"/>
                  </a:lnTo>
                  <a:lnTo>
                    <a:pt x="11760" y="396"/>
                  </a:lnTo>
                  <a:lnTo>
                    <a:pt x="11761" y="413"/>
                  </a:lnTo>
                  <a:lnTo>
                    <a:pt x="11761" y="424"/>
                  </a:lnTo>
                  <a:lnTo>
                    <a:pt x="11760" y="433"/>
                  </a:lnTo>
                  <a:lnTo>
                    <a:pt x="11757" y="442"/>
                  </a:lnTo>
                  <a:lnTo>
                    <a:pt x="11755" y="452"/>
                  </a:lnTo>
                  <a:lnTo>
                    <a:pt x="11752" y="461"/>
                  </a:lnTo>
                  <a:lnTo>
                    <a:pt x="11748" y="470"/>
                  </a:lnTo>
                  <a:lnTo>
                    <a:pt x="11743" y="478"/>
                  </a:lnTo>
                  <a:lnTo>
                    <a:pt x="11739" y="486"/>
                  </a:lnTo>
                  <a:lnTo>
                    <a:pt x="11733" y="495"/>
                  </a:lnTo>
                  <a:lnTo>
                    <a:pt x="11726" y="501"/>
                  </a:lnTo>
                  <a:lnTo>
                    <a:pt x="11718" y="508"/>
                  </a:lnTo>
                  <a:lnTo>
                    <a:pt x="11711" y="515"/>
                  </a:lnTo>
                  <a:lnTo>
                    <a:pt x="11702" y="522"/>
                  </a:lnTo>
                  <a:lnTo>
                    <a:pt x="11693" y="528"/>
                  </a:lnTo>
                  <a:lnTo>
                    <a:pt x="11682" y="534"/>
                  </a:lnTo>
                  <a:lnTo>
                    <a:pt x="11672" y="540"/>
                  </a:lnTo>
                  <a:lnTo>
                    <a:pt x="11684" y="545"/>
                  </a:lnTo>
                  <a:lnTo>
                    <a:pt x="11696" y="551"/>
                  </a:lnTo>
                  <a:lnTo>
                    <a:pt x="11708" y="558"/>
                  </a:lnTo>
                  <a:lnTo>
                    <a:pt x="11718" y="565"/>
                  </a:lnTo>
                  <a:lnTo>
                    <a:pt x="11727" y="572"/>
                  </a:lnTo>
                  <a:lnTo>
                    <a:pt x="11737" y="580"/>
                  </a:lnTo>
                  <a:lnTo>
                    <a:pt x="11743" y="588"/>
                  </a:lnTo>
                  <a:lnTo>
                    <a:pt x="11752" y="596"/>
                  </a:lnTo>
                  <a:lnTo>
                    <a:pt x="11757" y="604"/>
                  </a:lnTo>
                  <a:lnTo>
                    <a:pt x="11763" y="614"/>
                  </a:lnTo>
                  <a:lnTo>
                    <a:pt x="11767" y="624"/>
                  </a:lnTo>
                  <a:lnTo>
                    <a:pt x="11771" y="633"/>
                  </a:lnTo>
                  <a:lnTo>
                    <a:pt x="11774" y="644"/>
                  </a:lnTo>
                  <a:lnTo>
                    <a:pt x="11776" y="655"/>
                  </a:lnTo>
                  <a:lnTo>
                    <a:pt x="11777" y="666"/>
                  </a:lnTo>
                  <a:lnTo>
                    <a:pt x="11777" y="677"/>
                  </a:lnTo>
                  <a:lnTo>
                    <a:pt x="11777" y="696"/>
                  </a:lnTo>
                  <a:lnTo>
                    <a:pt x="11774" y="713"/>
                  </a:lnTo>
                  <a:lnTo>
                    <a:pt x="11769" y="731"/>
                  </a:lnTo>
                  <a:lnTo>
                    <a:pt x="11763" y="748"/>
                  </a:lnTo>
                  <a:lnTo>
                    <a:pt x="11754" y="764"/>
                  </a:lnTo>
                  <a:lnTo>
                    <a:pt x="11745" y="779"/>
                  </a:lnTo>
                  <a:lnTo>
                    <a:pt x="11732" y="794"/>
                  </a:lnTo>
                  <a:lnTo>
                    <a:pt x="11718" y="808"/>
                  </a:lnTo>
                  <a:lnTo>
                    <a:pt x="11710" y="815"/>
                  </a:lnTo>
                  <a:lnTo>
                    <a:pt x="11702" y="822"/>
                  </a:lnTo>
                  <a:lnTo>
                    <a:pt x="11694" y="828"/>
                  </a:lnTo>
                  <a:lnTo>
                    <a:pt x="11683" y="834"/>
                  </a:lnTo>
                  <a:lnTo>
                    <a:pt x="11674" y="838"/>
                  </a:lnTo>
                  <a:lnTo>
                    <a:pt x="11662" y="843"/>
                  </a:lnTo>
                  <a:lnTo>
                    <a:pt x="11651" y="847"/>
                  </a:lnTo>
                  <a:lnTo>
                    <a:pt x="11639" y="851"/>
                  </a:lnTo>
                  <a:lnTo>
                    <a:pt x="11614" y="857"/>
                  </a:lnTo>
                  <a:lnTo>
                    <a:pt x="11585" y="861"/>
                  </a:lnTo>
                  <a:lnTo>
                    <a:pt x="11555" y="864"/>
                  </a:lnTo>
                  <a:lnTo>
                    <a:pt x="11521" y="865"/>
                  </a:lnTo>
                  <a:lnTo>
                    <a:pt x="11499" y="864"/>
                  </a:lnTo>
                  <a:lnTo>
                    <a:pt x="11478" y="862"/>
                  </a:lnTo>
                  <a:lnTo>
                    <a:pt x="11457" y="860"/>
                  </a:lnTo>
                  <a:lnTo>
                    <a:pt x="11438" y="857"/>
                  </a:lnTo>
                  <a:lnTo>
                    <a:pt x="11419" y="852"/>
                  </a:lnTo>
                  <a:lnTo>
                    <a:pt x="11401" y="847"/>
                  </a:lnTo>
                  <a:lnTo>
                    <a:pt x="11384" y="840"/>
                  </a:lnTo>
                  <a:lnTo>
                    <a:pt x="11367" y="834"/>
                  </a:lnTo>
                  <a:lnTo>
                    <a:pt x="11359" y="829"/>
                  </a:lnTo>
                  <a:lnTo>
                    <a:pt x="11352" y="824"/>
                  </a:lnTo>
                  <a:lnTo>
                    <a:pt x="11344" y="819"/>
                  </a:lnTo>
                  <a:lnTo>
                    <a:pt x="11336" y="813"/>
                  </a:lnTo>
                  <a:lnTo>
                    <a:pt x="11322" y="799"/>
                  </a:lnTo>
                  <a:lnTo>
                    <a:pt x="11307" y="781"/>
                  </a:lnTo>
                  <a:lnTo>
                    <a:pt x="11294" y="763"/>
                  </a:lnTo>
                  <a:lnTo>
                    <a:pt x="11280" y="741"/>
                  </a:lnTo>
                  <a:lnTo>
                    <a:pt x="11268" y="717"/>
                  </a:lnTo>
                  <a:lnTo>
                    <a:pt x="11256" y="690"/>
                  </a:lnTo>
                  <a:lnTo>
                    <a:pt x="11416" y="665"/>
                  </a:lnTo>
                  <a:lnTo>
                    <a:pt x="11424" y="685"/>
                  </a:lnTo>
                  <a:lnTo>
                    <a:pt x="11433" y="704"/>
                  </a:lnTo>
                  <a:lnTo>
                    <a:pt x="11438" y="712"/>
                  </a:lnTo>
                  <a:lnTo>
                    <a:pt x="11444" y="719"/>
                  </a:lnTo>
                  <a:lnTo>
                    <a:pt x="11449" y="726"/>
                  </a:lnTo>
                  <a:lnTo>
                    <a:pt x="11455" y="732"/>
                  </a:lnTo>
                  <a:lnTo>
                    <a:pt x="11461" y="736"/>
                  </a:lnTo>
                  <a:lnTo>
                    <a:pt x="11468" y="741"/>
                  </a:lnTo>
                  <a:lnTo>
                    <a:pt x="11475" y="746"/>
                  </a:lnTo>
                  <a:lnTo>
                    <a:pt x="11482" y="748"/>
                  </a:lnTo>
                  <a:lnTo>
                    <a:pt x="11489" y="750"/>
                  </a:lnTo>
                  <a:lnTo>
                    <a:pt x="11497" y="753"/>
                  </a:lnTo>
                  <a:lnTo>
                    <a:pt x="11505" y="754"/>
                  </a:lnTo>
                  <a:lnTo>
                    <a:pt x="11513" y="754"/>
                  </a:lnTo>
                  <a:lnTo>
                    <a:pt x="11521" y="754"/>
                  </a:lnTo>
                  <a:lnTo>
                    <a:pt x="11528" y="753"/>
                  </a:lnTo>
                  <a:lnTo>
                    <a:pt x="11535" y="751"/>
                  </a:lnTo>
                  <a:lnTo>
                    <a:pt x="11542" y="749"/>
                  </a:lnTo>
                  <a:lnTo>
                    <a:pt x="11548" y="746"/>
                  </a:lnTo>
                  <a:lnTo>
                    <a:pt x="11554" y="742"/>
                  </a:lnTo>
                  <a:lnTo>
                    <a:pt x="11559" y="738"/>
                  </a:lnTo>
                  <a:lnTo>
                    <a:pt x="11565" y="733"/>
                  </a:lnTo>
                  <a:lnTo>
                    <a:pt x="11570" y="727"/>
                  </a:lnTo>
                  <a:lnTo>
                    <a:pt x="11574" y="721"/>
                  </a:lnTo>
                  <a:lnTo>
                    <a:pt x="11578" y="714"/>
                  </a:lnTo>
                  <a:lnTo>
                    <a:pt x="11580" y="707"/>
                  </a:lnTo>
                  <a:lnTo>
                    <a:pt x="11582" y="699"/>
                  </a:lnTo>
                  <a:lnTo>
                    <a:pt x="11585" y="691"/>
                  </a:lnTo>
                  <a:lnTo>
                    <a:pt x="11586" y="682"/>
                  </a:lnTo>
                  <a:lnTo>
                    <a:pt x="11586" y="673"/>
                  </a:lnTo>
                  <a:lnTo>
                    <a:pt x="11585" y="658"/>
                  </a:lnTo>
                  <a:lnTo>
                    <a:pt x="11582" y="646"/>
                  </a:lnTo>
                  <a:lnTo>
                    <a:pt x="11580" y="640"/>
                  </a:lnTo>
                  <a:lnTo>
                    <a:pt x="11577" y="636"/>
                  </a:lnTo>
                  <a:lnTo>
                    <a:pt x="11573" y="631"/>
                  </a:lnTo>
                  <a:lnTo>
                    <a:pt x="11570" y="626"/>
                  </a:lnTo>
                  <a:lnTo>
                    <a:pt x="11562" y="619"/>
                  </a:lnTo>
                  <a:lnTo>
                    <a:pt x="11552" y="615"/>
                  </a:lnTo>
                  <a:lnTo>
                    <a:pt x="11542" y="611"/>
                  </a:lnTo>
                  <a:lnTo>
                    <a:pt x="11532" y="609"/>
                  </a:lnTo>
                  <a:lnTo>
                    <a:pt x="11516" y="608"/>
                  </a:lnTo>
                  <a:lnTo>
                    <a:pt x="11497" y="607"/>
                  </a:lnTo>
                  <a:lnTo>
                    <a:pt x="11470" y="607"/>
                  </a:lnTo>
                  <a:lnTo>
                    <a:pt x="11438" y="607"/>
                  </a:lnTo>
                  <a:lnTo>
                    <a:pt x="11438" y="491"/>
                  </a:lnTo>
                  <a:close/>
                  <a:moveTo>
                    <a:pt x="10852" y="445"/>
                  </a:moveTo>
                  <a:lnTo>
                    <a:pt x="10675" y="430"/>
                  </a:lnTo>
                  <a:lnTo>
                    <a:pt x="10678" y="408"/>
                  </a:lnTo>
                  <a:lnTo>
                    <a:pt x="10685" y="388"/>
                  </a:lnTo>
                  <a:lnTo>
                    <a:pt x="10693" y="368"/>
                  </a:lnTo>
                  <a:lnTo>
                    <a:pt x="10702" y="351"/>
                  </a:lnTo>
                  <a:lnTo>
                    <a:pt x="10714" y="335"/>
                  </a:lnTo>
                  <a:lnTo>
                    <a:pt x="10728" y="320"/>
                  </a:lnTo>
                  <a:lnTo>
                    <a:pt x="10743" y="306"/>
                  </a:lnTo>
                  <a:lnTo>
                    <a:pt x="10760" y="293"/>
                  </a:lnTo>
                  <a:lnTo>
                    <a:pt x="10780" y="282"/>
                  </a:lnTo>
                  <a:lnTo>
                    <a:pt x="10800" y="272"/>
                  </a:lnTo>
                  <a:lnTo>
                    <a:pt x="10822" y="263"/>
                  </a:lnTo>
                  <a:lnTo>
                    <a:pt x="10844" y="257"/>
                  </a:lnTo>
                  <a:lnTo>
                    <a:pt x="10868" y="251"/>
                  </a:lnTo>
                  <a:lnTo>
                    <a:pt x="10892" y="248"/>
                  </a:lnTo>
                  <a:lnTo>
                    <a:pt x="10919" y="246"/>
                  </a:lnTo>
                  <a:lnTo>
                    <a:pt x="10946" y="245"/>
                  </a:lnTo>
                  <a:lnTo>
                    <a:pt x="10969" y="246"/>
                  </a:lnTo>
                  <a:lnTo>
                    <a:pt x="10991" y="247"/>
                  </a:lnTo>
                  <a:lnTo>
                    <a:pt x="11012" y="249"/>
                  </a:lnTo>
                  <a:lnTo>
                    <a:pt x="11031" y="253"/>
                  </a:lnTo>
                  <a:lnTo>
                    <a:pt x="11050" y="257"/>
                  </a:lnTo>
                  <a:lnTo>
                    <a:pt x="11066" y="263"/>
                  </a:lnTo>
                  <a:lnTo>
                    <a:pt x="11082" y="269"/>
                  </a:lnTo>
                  <a:lnTo>
                    <a:pt x="11097" y="277"/>
                  </a:lnTo>
                  <a:lnTo>
                    <a:pt x="11111" y="285"/>
                  </a:lnTo>
                  <a:lnTo>
                    <a:pt x="11124" y="293"/>
                  </a:lnTo>
                  <a:lnTo>
                    <a:pt x="11134" y="302"/>
                  </a:lnTo>
                  <a:lnTo>
                    <a:pt x="11144" y="312"/>
                  </a:lnTo>
                  <a:lnTo>
                    <a:pt x="11153" y="321"/>
                  </a:lnTo>
                  <a:lnTo>
                    <a:pt x="11160" y="330"/>
                  </a:lnTo>
                  <a:lnTo>
                    <a:pt x="11166" y="341"/>
                  </a:lnTo>
                  <a:lnTo>
                    <a:pt x="11169" y="351"/>
                  </a:lnTo>
                  <a:lnTo>
                    <a:pt x="11173" y="363"/>
                  </a:lnTo>
                  <a:lnTo>
                    <a:pt x="11176" y="375"/>
                  </a:lnTo>
                  <a:lnTo>
                    <a:pt x="11178" y="389"/>
                  </a:lnTo>
                  <a:lnTo>
                    <a:pt x="11181" y="405"/>
                  </a:lnTo>
                  <a:lnTo>
                    <a:pt x="11184" y="440"/>
                  </a:lnTo>
                  <a:lnTo>
                    <a:pt x="11184" y="482"/>
                  </a:lnTo>
                  <a:lnTo>
                    <a:pt x="11184" y="719"/>
                  </a:lnTo>
                  <a:lnTo>
                    <a:pt x="11185" y="769"/>
                  </a:lnTo>
                  <a:lnTo>
                    <a:pt x="11186" y="807"/>
                  </a:lnTo>
                  <a:lnTo>
                    <a:pt x="11189" y="822"/>
                  </a:lnTo>
                  <a:lnTo>
                    <a:pt x="11190" y="834"/>
                  </a:lnTo>
                  <a:lnTo>
                    <a:pt x="11192" y="844"/>
                  </a:lnTo>
                  <a:lnTo>
                    <a:pt x="11195" y="850"/>
                  </a:lnTo>
                  <a:lnTo>
                    <a:pt x="11022" y="850"/>
                  </a:lnTo>
                  <a:lnTo>
                    <a:pt x="11019" y="836"/>
                  </a:lnTo>
                  <a:lnTo>
                    <a:pt x="11015" y="816"/>
                  </a:lnTo>
                  <a:lnTo>
                    <a:pt x="11014" y="791"/>
                  </a:lnTo>
                  <a:lnTo>
                    <a:pt x="11013" y="759"/>
                  </a:lnTo>
                  <a:lnTo>
                    <a:pt x="11005" y="772"/>
                  </a:lnTo>
                  <a:lnTo>
                    <a:pt x="10997" y="784"/>
                  </a:lnTo>
                  <a:lnTo>
                    <a:pt x="10987" y="795"/>
                  </a:lnTo>
                  <a:lnTo>
                    <a:pt x="10978" y="806"/>
                  </a:lnTo>
                  <a:lnTo>
                    <a:pt x="10969" y="815"/>
                  </a:lnTo>
                  <a:lnTo>
                    <a:pt x="10958" y="823"/>
                  </a:lnTo>
                  <a:lnTo>
                    <a:pt x="10948" y="831"/>
                  </a:lnTo>
                  <a:lnTo>
                    <a:pt x="10936" y="838"/>
                  </a:lnTo>
                  <a:lnTo>
                    <a:pt x="10925" y="845"/>
                  </a:lnTo>
                  <a:lnTo>
                    <a:pt x="10912" y="850"/>
                  </a:lnTo>
                  <a:lnTo>
                    <a:pt x="10899" y="854"/>
                  </a:lnTo>
                  <a:lnTo>
                    <a:pt x="10887" y="858"/>
                  </a:lnTo>
                  <a:lnTo>
                    <a:pt x="10873" y="861"/>
                  </a:lnTo>
                  <a:lnTo>
                    <a:pt x="10859" y="864"/>
                  </a:lnTo>
                  <a:lnTo>
                    <a:pt x="10845" y="865"/>
                  </a:lnTo>
                  <a:lnTo>
                    <a:pt x="10830" y="865"/>
                  </a:lnTo>
                  <a:lnTo>
                    <a:pt x="10810" y="864"/>
                  </a:lnTo>
                  <a:lnTo>
                    <a:pt x="10792" y="862"/>
                  </a:lnTo>
                  <a:lnTo>
                    <a:pt x="10775" y="859"/>
                  </a:lnTo>
                  <a:lnTo>
                    <a:pt x="10758" y="854"/>
                  </a:lnTo>
                  <a:lnTo>
                    <a:pt x="10743" y="849"/>
                  </a:lnTo>
                  <a:lnTo>
                    <a:pt x="10728" y="842"/>
                  </a:lnTo>
                  <a:lnTo>
                    <a:pt x="10715" y="832"/>
                  </a:lnTo>
                  <a:lnTo>
                    <a:pt x="10702" y="823"/>
                  </a:lnTo>
                  <a:lnTo>
                    <a:pt x="10691" y="813"/>
                  </a:lnTo>
                  <a:lnTo>
                    <a:pt x="10680" y="800"/>
                  </a:lnTo>
                  <a:lnTo>
                    <a:pt x="10672" y="787"/>
                  </a:lnTo>
                  <a:lnTo>
                    <a:pt x="10665" y="772"/>
                  </a:lnTo>
                  <a:lnTo>
                    <a:pt x="10660" y="757"/>
                  </a:lnTo>
                  <a:lnTo>
                    <a:pt x="10656" y="740"/>
                  </a:lnTo>
                  <a:lnTo>
                    <a:pt x="10654" y="721"/>
                  </a:lnTo>
                  <a:lnTo>
                    <a:pt x="10653" y="703"/>
                  </a:lnTo>
                  <a:lnTo>
                    <a:pt x="10654" y="690"/>
                  </a:lnTo>
                  <a:lnTo>
                    <a:pt x="10654" y="678"/>
                  </a:lnTo>
                  <a:lnTo>
                    <a:pt x="10656" y="667"/>
                  </a:lnTo>
                  <a:lnTo>
                    <a:pt x="10657" y="655"/>
                  </a:lnTo>
                  <a:lnTo>
                    <a:pt x="10661" y="645"/>
                  </a:lnTo>
                  <a:lnTo>
                    <a:pt x="10663" y="635"/>
                  </a:lnTo>
                  <a:lnTo>
                    <a:pt x="10668" y="624"/>
                  </a:lnTo>
                  <a:lnTo>
                    <a:pt x="10671" y="615"/>
                  </a:lnTo>
                  <a:lnTo>
                    <a:pt x="10677" y="604"/>
                  </a:lnTo>
                  <a:lnTo>
                    <a:pt x="10682" y="596"/>
                  </a:lnTo>
                  <a:lnTo>
                    <a:pt x="10688" y="587"/>
                  </a:lnTo>
                  <a:lnTo>
                    <a:pt x="10694" y="579"/>
                  </a:lnTo>
                  <a:lnTo>
                    <a:pt x="10702" y="571"/>
                  </a:lnTo>
                  <a:lnTo>
                    <a:pt x="10709" y="563"/>
                  </a:lnTo>
                  <a:lnTo>
                    <a:pt x="10719" y="556"/>
                  </a:lnTo>
                  <a:lnTo>
                    <a:pt x="10728" y="549"/>
                  </a:lnTo>
                  <a:lnTo>
                    <a:pt x="10737" y="542"/>
                  </a:lnTo>
                  <a:lnTo>
                    <a:pt x="10748" y="536"/>
                  </a:lnTo>
                  <a:lnTo>
                    <a:pt x="10759" y="530"/>
                  </a:lnTo>
                  <a:lnTo>
                    <a:pt x="10772" y="525"/>
                  </a:lnTo>
                  <a:lnTo>
                    <a:pt x="10786" y="519"/>
                  </a:lnTo>
                  <a:lnTo>
                    <a:pt x="10800" y="514"/>
                  </a:lnTo>
                  <a:lnTo>
                    <a:pt x="10816" y="510"/>
                  </a:lnTo>
                  <a:lnTo>
                    <a:pt x="10832" y="505"/>
                  </a:lnTo>
                  <a:lnTo>
                    <a:pt x="10868" y="498"/>
                  </a:lnTo>
                  <a:lnTo>
                    <a:pt x="10907" y="492"/>
                  </a:lnTo>
                  <a:lnTo>
                    <a:pt x="10950" y="486"/>
                  </a:lnTo>
                  <a:lnTo>
                    <a:pt x="10998" y="484"/>
                  </a:lnTo>
                  <a:lnTo>
                    <a:pt x="10998" y="461"/>
                  </a:lnTo>
                  <a:lnTo>
                    <a:pt x="10997" y="433"/>
                  </a:lnTo>
                  <a:lnTo>
                    <a:pt x="10994" y="410"/>
                  </a:lnTo>
                  <a:lnTo>
                    <a:pt x="10992" y="400"/>
                  </a:lnTo>
                  <a:lnTo>
                    <a:pt x="10990" y="390"/>
                  </a:lnTo>
                  <a:lnTo>
                    <a:pt x="10987" y="383"/>
                  </a:lnTo>
                  <a:lnTo>
                    <a:pt x="10984" y="376"/>
                  </a:lnTo>
                  <a:lnTo>
                    <a:pt x="10980" y="372"/>
                  </a:lnTo>
                  <a:lnTo>
                    <a:pt x="10976" y="366"/>
                  </a:lnTo>
                  <a:lnTo>
                    <a:pt x="10970" y="363"/>
                  </a:lnTo>
                  <a:lnTo>
                    <a:pt x="10964" y="359"/>
                  </a:lnTo>
                  <a:lnTo>
                    <a:pt x="10957" y="357"/>
                  </a:lnTo>
                  <a:lnTo>
                    <a:pt x="10949" y="354"/>
                  </a:lnTo>
                  <a:lnTo>
                    <a:pt x="10941" y="353"/>
                  </a:lnTo>
                  <a:lnTo>
                    <a:pt x="10932" y="353"/>
                  </a:lnTo>
                  <a:lnTo>
                    <a:pt x="10922" y="353"/>
                  </a:lnTo>
                  <a:lnTo>
                    <a:pt x="10914" y="354"/>
                  </a:lnTo>
                  <a:lnTo>
                    <a:pt x="10906" y="357"/>
                  </a:lnTo>
                  <a:lnTo>
                    <a:pt x="10899" y="359"/>
                  </a:lnTo>
                  <a:lnTo>
                    <a:pt x="10892" y="363"/>
                  </a:lnTo>
                  <a:lnTo>
                    <a:pt x="10887" y="366"/>
                  </a:lnTo>
                  <a:lnTo>
                    <a:pt x="10881" y="371"/>
                  </a:lnTo>
                  <a:lnTo>
                    <a:pt x="10875" y="376"/>
                  </a:lnTo>
                  <a:lnTo>
                    <a:pt x="10870" y="382"/>
                  </a:lnTo>
                  <a:lnTo>
                    <a:pt x="10867" y="389"/>
                  </a:lnTo>
                  <a:lnTo>
                    <a:pt x="10862" y="396"/>
                  </a:lnTo>
                  <a:lnTo>
                    <a:pt x="10860" y="405"/>
                  </a:lnTo>
                  <a:lnTo>
                    <a:pt x="10856" y="413"/>
                  </a:lnTo>
                  <a:lnTo>
                    <a:pt x="10854" y="424"/>
                  </a:lnTo>
                  <a:lnTo>
                    <a:pt x="10853" y="434"/>
                  </a:lnTo>
                  <a:lnTo>
                    <a:pt x="10852" y="445"/>
                  </a:lnTo>
                  <a:close/>
                  <a:moveTo>
                    <a:pt x="10998" y="569"/>
                  </a:moveTo>
                  <a:lnTo>
                    <a:pt x="10978" y="571"/>
                  </a:lnTo>
                  <a:lnTo>
                    <a:pt x="10959" y="573"/>
                  </a:lnTo>
                  <a:lnTo>
                    <a:pt x="10942" y="577"/>
                  </a:lnTo>
                  <a:lnTo>
                    <a:pt x="10927" y="580"/>
                  </a:lnTo>
                  <a:lnTo>
                    <a:pt x="10913" y="585"/>
                  </a:lnTo>
                  <a:lnTo>
                    <a:pt x="10900" y="589"/>
                  </a:lnTo>
                  <a:lnTo>
                    <a:pt x="10889" y="594"/>
                  </a:lnTo>
                  <a:lnTo>
                    <a:pt x="10880" y="600"/>
                  </a:lnTo>
                  <a:lnTo>
                    <a:pt x="10871" y="607"/>
                  </a:lnTo>
                  <a:lnTo>
                    <a:pt x="10865" y="614"/>
                  </a:lnTo>
                  <a:lnTo>
                    <a:pt x="10859" y="623"/>
                  </a:lnTo>
                  <a:lnTo>
                    <a:pt x="10853" y="632"/>
                  </a:lnTo>
                  <a:lnTo>
                    <a:pt x="10849" y="643"/>
                  </a:lnTo>
                  <a:lnTo>
                    <a:pt x="10847" y="654"/>
                  </a:lnTo>
                  <a:lnTo>
                    <a:pt x="10845" y="667"/>
                  </a:lnTo>
                  <a:lnTo>
                    <a:pt x="10845" y="681"/>
                  </a:lnTo>
                  <a:lnTo>
                    <a:pt x="10846" y="698"/>
                  </a:lnTo>
                  <a:lnTo>
                    <a:pt x="10848" y="713"/>
                  </a:lnTo>
                  <a:lnTo>
                    <a:pt x="10851" y="720"/>
                  </a:lnTo>
                  <a:lnTo>
                    <a:pt x="10854" y="727"/>
                  </a:lnTo>
                  <a:lnTo>
                    <a:pt x="10856" y="732"/>
                  </a:lnTo>
                  <a:lnTo>
                    <a:pt x="10860" y="738"/>
                  </a:lnTo>
                  <a:lnTo>
                    <a:pt x="10865" y="742"/>
                  </a:lnTo>
                  <a:lnTo>
                    <a:pt x="10869" y="746"/>
                  </a:lnTo>
                  <a:lnTo>
                    <a:pt x="10875" y="749"/>
                  </a:lnTo>
                  <a:lnTo>
                    <a:pt x="10881" y="751"/>
                  </a:lnTo>
                  <a:lnTo>
                    <a:pt x="10887" y="754"/>
                  </a:lnTo>
                  <a:lnTo>
                    <a:pt x="10893" y="755"/>
                  </a:lnTo>
                  <a:lnTo>
                    <a:pt x="10900" y="756"/>
                  </a:lnTo>
                  <a:lnTo>
                    <a:pt x="10907" y="756"/>
                  </a:lnTo>
                  <a:lnTo>
                    <a:pt x="10917" y="756"/>
                  </a:lnTo>
                  <a:lnTo>
                    <a:pt x="10925" y="754"/>
                  </a:lnTo>
                  <a:lnTo>
                    <a:pt x="10933" y="751"/>
                  </a:lnTo>
                  <a:lnTo>
                    <a:pt x="10941" y="748"/>
                  </a:lnTo>
                  <a:lnTo>
                    <a:pt x="10948" y="743"/>
                  </a:lnTo>
                  <a:lnTo>
                    <a:pt x="10956" y="738"/>
                  </a:lnTo>
                  <a:lnTo>
                    <a:pt x="10963" y="731"/>
                  </a:lnTo>
                  <a:lnTo>
                    <a:pt x="10970" y="722"/>
                  </a:lnTo>
                  <a:lnTo>
                    <a:pt x="10977" y="713"/>
                  </a:lnTo>
                  <a:lnTo>
                    <a:pt x="10983" y="702"/>
                  </a:lnTo>
                  <a:lnTo>
                    <a:pt x="10987" y="689"/>
                  </a:lnTo>
                  <a:lnTo>
                    <a:pt x="10991" y="674"/>
                  </a:lnTo>
                  <a:lnTo>
                    <a:pt x="10994" y="658"/>
                  </a:lnTo>
                  <a:lnTo>
                    <a:pt x="10997" y="639"/>
                  </a:lnTo>
                  <a:lnTo>
                    <a:pt x="10998" y="619"/>
                  </a:lnTo>
                  <a:lnTo>
                    <a:pt x="10998" y="597"/>
                  </a:lnTo>
                  <a:lnTo>
                    <a:pt x="10998" y="569"/>
                  </a:lnTo>
                  <a:close/>
                  <a:moveTo>
                    <a:pt x="10014" y="51"/>
                  </a:moveTo>
                  <a:lnTo>
                    <a:pt x="10274" y="51"/>
                  </a:lnTo>
                  <a:lnTo>
                    <a:pt x="10303" y="52"/>
                  </a:lnTo>
                  <a:lnTo>
                    <a:pt x="10329" y="52"/>
                  </a:lnTo>
                  <a:lnTo>
                    <a:pt x="10355" y="55"/>
                  </a:lnTo>
                  <a:lnTo>
                    <a:pt x="10378" y="56"/>
                  </a:lnTo>
                  <a:lnTo>
                    <a:pt x="10401" y="58"/>
                  </a:lnTo>
                  <a:lnTo>
                    <a:pt x="10421" y="62"/>
                  </a:lnTo>
                  <a:lnTo>
                    <a:pt x="10439" y="65"/>
                  </a:lnTo>
                  <a:lnTo>
                    <a:pt x="10457" y="70"/>
                  </a:lnTo>
                  <a:lnTo>
                    <a:pt x="10473" y="74"/>
                  </a:lnTo>
                  <a:lnTo>
                    <a:pt x="10488" y="81"/>
                  </a:lnTo>
                  <a:lnTo>
                    <a:pt x="10503" y="88"/>
                  </a:lnTo>
                  <a:lnTo>
                    <a:pt x="10517" y="98"/>
                  </a:lnTo>
                  <a:lnTo>
                    <a:pt x="10530" y="109"/>
                  </a:lnTo>
                  <a:lnTo>
                    <a:pt x="10543" y="121"/>
                  </a:lnTo>
                  <a:lnTo>
                    <a:pt x="10555" y="135"/>
                  </a:lnTo>
                  <a:lnTo>
                    <a:pt x="10566" y="149"/>
                  </a:lnTo>
                  <a:lnTo>
                    <a:pt x="10576" y="165"/>
                  </a:lnTo>
                  <a:lnTo>
                    <a:pt x="10585" y="182"/>
                  </a:lnTo>
                  <a:lnTo>
                    <a:pt x="10594" y="199"/>
                  </a:lnTo>
                  <a:lnTo>
                    <a:pt x="10599" y="218"/>
                  </a:lnTo>
                  <a:lnTo>
                    <a:pt x="10604" y="238"/>
                  </a:lnTo>
                  <a:lnTo>
                    <a:pt x="10607" y="258"/>
                  </a:lnTo>
                  <a:lnTo>
                    <a:pt x="10610" y="279"/>
                  </a:lnTo>
                  <a:lnTo>
                    <a:pt x="10611" y="302"/>
                  </a:lnTo>
                  <a:lnTo>
                    <a:pt x="10610" y="323"/>
                  </a:lnTo>
                  <a:lnTo>
                    <a:pt x="10609" y="344"/>
                  </a:lnTo>
                  <a:lnTo>
                    <a:pt x="10605" y="364"/>
                  </a:lnTo>
                  <a:lnTo>
                    <a:pt x="10602" y="382"/>
                  </a:lnTo>
                  <a:lnTo>
                    <a:pt x="10597" y="401"/>
                  </a:lnTo>
                  <a:lnTo>
                    <a:pt x="10590" y="417"/>
                  </a:lnTo>
                  <a:lnTo>
                    <a:pt x="10583" y="433"/>
                  </a:lnTo>
                  <a:lnTo>
                    <a:pt x="10575" y="447"/>
                  </a:lnTo>
                  <a:lnTo>
                    <a:pt x="10566" y="461"/>
                  </a:lnTo>
                  <a:lnTo>
                    <a:pt x="10555" y="475"/>
                  </a:lnTo>
                  <a:lnTo>
                    <a:pt x="10545" y="486"/>
                  </a:lnTo>
                  <a:lnTo>
                    <a:pt x="10532" y="497"/>
                  </a:lnTo>
                  <a:lnTo>
                    <a:pt x="10519" y="507"/>
                  </a:lnTo>
                  <a:lnTo>
                    <a:pt x="10506" y="515"/>
                  </a:lnTo>
                  <a:lnTo>
                    <a:pt x="10492" y="523"/>
                  </a:lnTo>
                  <a:lnTo>
                    <a:pt x="10477" y="530"/>
                  </a:lnTo>
                  <a:lnTo>
                    <a:pt x="10459" y="536"/>
                  </a:lnTo>
                  <a:lnTo>
                    <a:pt x="10441" y="542"/>
                  </a:lnTo>
                  <a:lnTo>
                    <a:pt x="10420" y="547"/>
                  </a:lnTo>
                  <a:lnTo>
                    <a:pt x="10397" y="550"/>
                  </a:lnTo>
                  <a:lnTo>
                    <a:pt x="10371" y="552"/>
                  </a:lnTo>
                  <a:lnTo>
                    <a:pt x="10343" y="555"/>
                  </a:lnTo>
                  <a:lnTo>
                    <a:pt x="10314" y="556"/>
                  </a:lnTo>
                  <a:lnTo>
                    <a:pt x="10283" y="556"/>
                  </a:lnTo>
                  <a:lnTo>
                    <a:pt x="10213" y="556"/>
                  </a:lnTo>
                  <a:lnTo>
                    <a:pt x="10213" y="850"/>
                  </a:lnTo>
                  <a:lnTo>
                    <a:pt x="10014" y="850"/>
                  </a:lnTo>
                  <a:lnTo>
                    <a:pt x="10014" y="51"/>
                  </a:lnTo>
                  <a:close/>
                  <a:moveTo>
                    <a:pt x="10213" y="182"/>
                  </a:moveTo>
                  <a:lnTo>
                    <a:pt x="10213" y="418"/>
                  </a:lnTo>
                  <a:lnTo>
                    <a:pt x="10274" y="418"/>
                  </a:lnTo>
                  <a:lnTo>
                    <a:pt x="10294" y="418"/>
                  </a:lnTo>
                  <a:lnTo>
                    <a:pt x="10311" y="416"/>
                  </a:lnTo>
                  <a:lnTo>
                    <a:pt x="10327" y="413"/>
                  </a:lnTo>
                  <a:lnTo>
                    <a:pt x="10341" y="410"/>
                  </a:lnTo>
                  <a:lnTo>
                    <a:pt x="10353" y="405"/>
                  </a:lnTo>
                  <a:lnTo>
                    <a:pt x="10363" y="400"/>
                  </a:lnTo>
                  <a:lnTo>
                    <a:pt x="10372" y="393"/>
                  </a:lnTo>
                  <a:lnTo>
                    <a:pt x="10379" y="385"/>
                  </a:lnTo>
                  <a:lnTo>
                    <a:pt x="10384" y="376"/>
                  </a:lnTo>
                  <a:lnTo>
                    <a:pt x="10389" y="367"/>
                  </a:lnTo>
                  <a:lnTo>
                    <a:pt x="10393" y="357"/>
                  </a:lnTo>
                  <a:lnTo>
                    <a:pt x="10397" y="346"/>
                  </a:lnTo>
                  <a:lnTo>
                    <a:pt x="10399" y="336"/>
                  </a:lnTo>
                  <a:lnTo>
                    <a:pt x="10400" y="324"/>
                  </a:lnTo>
                  <a:lnTo>
                    <a:pt x="10401" y="312"/>
                  </a:lnTo>
                  <a:lnTo>
                    <a:pt x="10402" y="299"/>
                  </a:lnTo>
                  <a:lnTo>
                    <a:pt x="10401" y="287"/>
                  </a:lnTo>
                  <a:lnTo>
                    <a:pt x="10401" y="277"/>
                  </a:lnTo>
                  <a:lnTo>
                    <a:pt x="10400" y="268"/>
                  </a:lnTo>
                  <a:lnTo>
                    <a:pt x="10398" y="257"/>
                  </a:lnTo>
                  <a:lnTo>
                    <a:pt x="10395" y="249"/>
                  </a:lnTo>
                  <a:lnTo>
                    <a:pt x="10392" y="241"/>
                  </a:lnTo>
                  <a:lnTo>
                    <a:pt x="10389" y="233"/>
                  </a:lnTo>
                  <a:lnTo>
                    <a:pt x="10384" y="226"/>
                  </a:lnTo>
                  <a:lnTo>
                    <a:pt x="10375" y="213"/>
                  </a:lnTo>
                  <a:lnTo>
                    <a:pt x="10364" y="203"/>
                  </a:lnTo>
                  <a:lnTo>
                    <a:pt x="10360" y="198"/>
                  </a:lnTo>
                  <a:lnTo>
                    <a:pt x="10354" y="195"/>
                  </a:lnTo>
                  <a:lnTo>
                    <a:pt x="10348" y="192"/>
                  </a:lnTo>
                  <a:lnTo>
                    <a:pt x="10342" y="190"/>
                  </a:lnTo>
                  <a:lnTo>
                    <a:pt x="10328" y="187"/>
                  </a:lnTo>
                  <a:lnTo>
                    <a:pt x="10313" y="184"/>
                  </a:lnTo>
                  <a:lnTo>
                    <a:pt x="10295" y="182"/>
                  </a:lnTo>
                  <a:lnTo>
                    <a:pt x="10274" y="182"/>
                  </a:lnTo>
                  <a:lnTo>
                    <a:pt x="10213" y="182"/>
                  </a:lnTo>
                  <a:close/>
                  <a:moveTo>
                    <a:pt x="9142" y="260"/>
                  </a:moveTo>
                  <a:lnTo>
                    <a:pt x="9329" y="260"/>
                  </a:lnTo>
                  <a:lnTo>
                    <a:pt x="9329" y="485"/>
                  </a:lnTo>
                  <a:lnTo>
                    <a:pt x="9513" y="260"/>
                  </a:lnTo>
                  <a:lnTo>
                    <a:pt x="9683" y="260"/>
                  </a:lnTo>
                  <a:lnTo>
                    <a:pt x="9517" y="457"/>
                  </a:lnTo>
                  <a:lnTo>
                    <a:pt x="9701" y="850"/>
                  </a:lnTo>
                  <a:lnTo>
                    <a:pt x="9499" y="850"/>
                  </a:lnTo>
                  <a:lnTo>
                    <a:pt x="9396" y="577"/>
                  </a:lnTo>
                  <a:lnTo>
                    <a:pt x="9329" y="659"/>
                  </a:lnTo>
                  <a:lnTo>
                    <a:pt x="9329" y="850"/>
                  </a:lnTo>
                  <a:lnTo>
                    <a:pt x="9142" y="850"/>
                  </a:lnTo>
                  <a:lnTo>
                    <a:pt x="9142" y="260"/>
                  </a:lnTo>
                  <a:close/>
                  <a:moveTo>
                    <a:pt x="8495" y="850"/>
                  </a:moveTo>
                  <a:lnTo>
                    <a:pt x="8495" y="260"/>
                  </a:lnTo>
                  <a:lnTo>
                    <a:pt x="8682" y="260"/>
                  </a:lnTo>
                  <a:lnTo>
                    <a:pt x="8682" y="471"/>
                  </a:lnTo>
                  <a:lnTo>
                    <a:pt x="8830" y="471"/>
                  </a:lnTo>
                  <a:lnTo>
                    <a:pt x="8830" y="260"/>
                  </a:lnTo>
                  <a:lnTo>
                    <a:pt x="9016" y="260"/>
                  </a:lnTo>
                  <a:lnTo>
                    <a:pt x="9016" y="850"/>
                  </a:lnTo>
                  <a:lnTo>
                    <a:pt x="8830" y="850"/>
                  </a:lnTo>
                  <a:lnTo>
                    <a:pt x="8830" y="600"/>
                  </a:lnTo>
                  <a:lnTo>
                    <a:pt x="8682" y="600"/>
                  </a:lnTo>
                  <a:lnTo>
                    <a:pt x="8682" y="850"/>
                  </a:lnTo>
                  <a:lnTo>
                    <a:pt x="8495" y="850"/>
                  </a:lnTo>
                  <a:close/>
                  <a:moveTo>
                    <a:pt x="8035" y="445"/>
                  </a:moveTo>
                  <a:lnTo>
                    <a:pt x="7858" y="430"/>
                  </a:lnTo>
                  <a:lnTo>
                    <a:pt x="7863" y="408"/>
                  </a:lnTo>
                  <a:lnTo>
                    <a:pt x="7869" y="388"/>
                  </a:lnTo>
                  <a:lnTo>
                    <a:pt x="7877" y="368"/>
                  </a:lnTo>
                  <a:lnTo>
                    <a:pt x="7886" y="351"/>
                  </a:lnTo>
                  <a:lnTo>
                    <a:pt x="7898" y="335"/>
                  </a:lnTo>
                  <a:lnTo>
                    <a:pt x="7911" y="320"/>
                  </a:lnTo>
                  <a:lnTo>
                    <a:pt x="7928" y="306"/>
                  </a:lnTo>
                  <a:lnTo>
                    <a:pt x="7945" y="293"/>
                  </a:lnTo>
                  <a:lnTo>
                    <a:pt x="7964" y="282"/>
                  </a:lnTo>
                  <a:lnTo>
                    <a:pt x="7983" y="272"/>
                  </a:lnTo>
                  <a:lnTo>
                    <a:pt x="8005" y="263"/>
                  </a:lnTo>
                  <a:lnTo>
                    <a:pt x="8027" y="257"/>
                  </a:lnTo>
                  <a:lnTo>
                    <a:pt x="8052" y="251"/>
                  </a:lnTo>
                  <a:lnTo>
                    <a:pt x="8076" y="248"/>
                  </a:lnTo>
                  <a:lnTo>
                    <a:pt x="8103" y="246"/>
                  </a:lnTo>
                  <a:lnTo>
                    <a:pt x="8129" y="245"/>
                  </a:lnTo>
                  <a:lnTo>
                    <a:pt x="8152" y="246"/>
                  </a:lnTo>
                  <a:lnTo>
                    <a:pt x="8174" y="247"/>
                  </a:lnTo>
                  <a:lnTo>
                    <a:pt x="8195" y="249"/>
                  </a:lnTo>
                  <a:lnTo>
                    <a:pt x="8215" y="253"/>
                  </a:lnTo>
                  <a:lnTo>
                    <a:pt x="8233" y="257"/>
                  </a:lnTo>
                  <a:lnTo>
                    <a:pt x="8251" y="263"/>
                  </a:lnTo>
                  <a:lnTo>
                    <a:pt x="8267" y="269"/>
                  </a:lnTo>
                  <a:lnTo>
                    <a:pt x="8281" y="277"/>
                  </a:lnTo>
                  <a:lnTo>
                    <a:pt x="8295" y="285"/>
                  </a:lnTo>
                  <a:lnTo>
                    <a:pt x="8307" y="293"/>
                  </a:lnTo>
                  <a:lnTo>
                    <a:pt x="8318" y="302"/>
                  </a:lnTo>
                  <a:lnTo>
                    <a:pt x="8328" y="312"/>
                  </a:lnTo>
                  <a:lnTo>
                    <a:pt x="8336" y="321"/>
                  </a:lnTo>
                  <a:lnTo>
                    <a:pt x="8343" y="330"/>
                  </a:lnTo>
                  <a:lnTo>
                    <a:pt x="8349" y="341"/>
                  </a:lnTo>
                  <a:lnTo>
                    <a:pt x="8354" y="351"/>
                  </a:lnTo>
                  <a:lnTo>
                    <a:pt x="8357" y="363"/>
                  </a:lnTo>
                  <a:lnTo>
                    <a:pt x="8360" y="375"/>
                  </a:lnTo>
                  <a:lnTo>
                    <a:pt x="8363" y="389"/>
                  </a:lnTo>
                  <a:lnTo>
                    <a:pt x="8365" y="405"/>
                  </a:lnTo>
                  <a:lnTo>
                    <a:pt x="8368" y="440"/>
                  </a:lnTo>
                  <a:lnTo>
                    <a:pt x="8369" y="482"/>
                  </a:lnTo>
                  <a:lnTo>
                    <a:pt x="8369" y="719"/>
                  </a:lnTo>
                  <a:lnTo>
                    <a:pt x="8369" y="769"/>
                  </a:lnTo>
                  <a:lnTo>
                    <a:pt x="8371" y="807"/>
                  </a:lnTo>
                  <a:lnTo>
                    <a:pt x="8372" y="822"/>
                  </a:lnTo>
                  <a:lnTo>
                    <a:pt x="8374" y="834"/>
                  </a:lnTo>
                  <a:lnTo>
                    <a:pt x="8376" y="844"/>
                  </a:lnTo>
                  <a:lnTo>
                    <a:pt x="8378" y="850"/>
                  </a:lnTo>
                  <a:lnTo>
                    <a:pt x="8206" y="850"/>
                  </a:lnTo>
                  <a:lnTo>
                    <a:pt x="8202" y="836"/>
                  </a:lnTo>
                  <a:lnTo>
                    <a:pt x="8200" y="816"/>
                  </a:lnTo>
                  <a:lnTo>
                    <a:pt x="8197" y="791"/>
                  </a:lnTo>
                  <a:lnTo>
                    <a:pt x="8197" y="759"/>
                  </a:lnTo>
                  <a:lnTo>
                    <a:pt x="8189" y="772"/>
                  </a:lnTo>
                  <a:lnTo>
                    <a:pt x="8180" y="784"/>
                  </a:lnTo>
                  <a:lnTo>
                    <a:pt x="8172" y="795"/>
                  </a:lnTo>
                  <a:lnTo>
                    <a:pt x="8163" y="806"/>
                  </a:lnTo>
                  <a:lnTo>
                    <a:pt x="8152" y="815"/>
                  </a:lnTo>
                  <a:lnTo>
                    <a:pt x="8142" y="823"/>
                  </a:lnTo>
                  <a:lnTo>
                    <a:pt x="8131" y="831"/>
                  </a:lnTo>
                  <a:lnTo>
                    <a:pt x="8120" y="838"/>
                  </a:lnTo>
                  <a:lnTo>
                    <a:pt x="8108" y="845"/>
                  </a:lnTo>
                  <a:lnTo>
                    <a:pt x="8097" y="850"/>
                  </a:lnTo>
                  <a:lnTo>
                    <a:pt x="8084" y="854"/>
                  </a:lnTo>
                  <a:lnTo>
                    <a:pt x="8070" y="858"/>
                  </a:lnTo>
                  <a:lnTo>
                    <a:pt x="8057" y="861"/>
                  </a:lnTo>
                  <a:lnTo>
                    <a:pt x="8043" y="864"/>
                  </a:lnTo>
                  <a:lnTo>
                    <a:pt x="8028" y="865"/>
                  </a:lnTo>
                  <a:lnTo>
                    <a:pt x="8013" y="865"/>
                  </a:lnTo>
                  <a:lnTo>
                    <a:pt x="7995" y="864"/>
                  </a:lnTo>
                  <a:lnTo>
                    <a:pt x="7976" y="862"/>
                  </a:lnTo>
                  <a:lnTo>
                    <a:pt x="7959" y="859"/>
                  </a:lnTo>
                  <a:lnTo>
                    <a:pt x="7943" y="854"/>
                  </a:lnTo>
                  <a:lnTo>
                    <a:pt x="7926" y="849"/>
                  </a:lnTo>
                  <a:lnTo>
                    <a:pt x="7913" y="842"/>
                  </a:lnTo>
                  <a:lnTo>
                    <a:pt x="7899" y="832"/>
                  </a:lnTo>
                  <a:lnTo>
                    <a:pt x="7886" y="823"/>
                  </a:lnTo>
                  <a:lnTo>
                    <a:pt x="7874" y="813"/>
                  </a:lnTo>
                  <a:lnTo>
                    <a:pt x="7865" y="800"/>
                  </a:lnTo>
                  <a:lnTo>
                    <a:pt x="7856" y="787"/>
                  </a:lnTo>
                  <a:lnTo>
                    <a:pt x="7849" y="772"/>
                  </a:lnTo>
                  <a:lnTo>
                    <a:pt x="7844" y="757"/>
                  </a:lnTo>
                  <a:lnTo>
                    <a:pt x="7840" y="740"/>
                  </a:lnTo>
                  <a:lnTo>
                    <a:pt x="7837" y="721"/>
                  </a:lnTo>
                  <a:lnTo>
                    <a:pt x="7837" y="703"/>
                  </a:lnTo>
                  <a:lnTo>
                    <a:pt x="7837" y="690"/>
                  </a:lnTo>
                  <a:lnTo>
                    <a:pt x="7838" y="678"/>
                  </a:lnTo>
                  <a:lnTo>
                    <a:pt x="7840" y="667"/>
                  </a:lnTo>
                  <a:lnTo>
                    <a:pt x="7842" y="655"/>
                  </a:lnTo>
                  <a:lnTo>
                    <a:pt x="7844" y="645"/>
                  </a:lnTo>
                  <a:lnTo>
                    <a:pt x="7848" y="635"/>
                  </a:lnTo>
                  <a:lnTo>
                    <a:pt x="7851" y="624"/>
                  </a:lnTo>
                  <a:lnTo>
                    <a:pt x="7856" y="615"/>
                  </a:lnTo>
                  <a:lnTo>
                    <a:pt x="7860" y="604"/>
                  </a:lnTo>
                  <a:lnTo>
                    <a:pt x="7866" y="596"/>
                  </a:lnTo>
                  <a:lnTo>
                    <a:pt x="7872" y="587"/>
                  </a:lnTo>
                  <a:lnTo>
                    <a:pt x="7879" y="579"/>
                  </a:lnTo>
                  <a:lnTo>
                    <a:pt x="7886" y="571"/>
                  </a:lnTo>
                  <a:lnTo>
                    <a:pt x="7894" y="563"/>
                  </a:lnTo>
                  <a:lnTo>
                    <a:pt x="7902" y="556"/>
                  </a:lnTo>
                  <a:lnTo>
                    <a:pt x="7911" y="549"/>
                  </a:lnTo>
                  <a:lnTo>
                    <a:pt x="7921" y="542"/>
                  </a:lnTo>
                  <a:lnTo>
                    <a:pt x="7931" y="536"/>
                  </a:lnTo>
                  <a:lnTo>
                    <a:pt x="7944" y="530"/>
                  </a:lnTo>
                  <a:lnTo>
                    <a:pt x="7955" y="525"/>
                  </a:lnTo>
                  <a:lnTo>
                    <a:pt x="7969" y="519"/>
                  </a:lnTo>
                  <a:lnTo>
                    <a:pt x="7984" y="514"/>
                  </a:lnTo>
                  <a:lnTo>
                    <a:pt x="7999" y="510"/>
                  </a:lnTo>
                  <a:lnTo>
                    <a:pt x="8016" y="505"/>
                  </a:lnTo>
                  <a:lnTo>
                    <a:pt x="8052" y="498"/>
                  </a:lnTo>
                  <a:lnTo>
                    <a:pt x="8091" y="492"/>
                  </a:lnTo>
                  <a:lnTo>
                    <a:pt x="8135" y="486"/>
                  </a:lnTo>
                  <a:lnTo>
                    <a:pt x="8181" y="484"/>
                  </a:lnTo>
                  <a:lnTo>
                    <a:pt x="8181" y="461"/>
                  </a:lnTo>
                  <a:lnTo>
                    <a:pt x="8181" y="433"/>
                  </a:lnTo>
                  <a:lnTo>
                    <a:pt x="8179" y="410"/>
                  </a:lnTo>
                  <a:lnTo>
                    <a:pt x="8177" y="400"/>
                  </a:lnTo>
                  <a:lnTo>
                    <a:pt x="8174" y="390"/>
                  </a:lnTo>
                  <a:lnTo>
                    <a:pt x="8171" y="383"/>
                  </a:lnTo>
                  <a:lnTo>
                    <a:pt x="8169" y="376"/>
                  </a:lnTo>
                  <a:lnTo>
                    <a:pt x="8164" y="372"/>
                  </a:lnTo>
                  <a:lnTo>
                    <a:pt x="8159" y="366"/>
                  </a:lnTo>
                  <a:lnTo>
                    <a:pt x="8155" y="363"/>
                  </a:lnTo>
                  <a:lnTo>
                    <a:pt x="8148" y="359"/>
                  </a:lnTo>
                  <a:lnTo>
                    <a:pt x="8141" y="357"/>
                  </a:lnTo>
                  <a:lnTo>
                    <a:pt x="8133" y="354"/>
                  </a:lnTo>
                  <a:lnTo>
                    <a:pt x="8125" y="353"/>
                  </a:lnTo>
                  <a:lnTo>
                    <a:pt x="8115" y="353"/>
                  </a:lnTo>
                  <a:lnTo>
                    <a:pt x="8106" y="353"/>
                  </a:lnTo>
                  <a:lnTo>
                    <a:pt x="8098" y="354"/>
                  </a:lnTo>
                  <a:lnTo>
                    <a:pt x="8091" y="357"/>
                  </a:lnTo>
                  <a:lnTo>
                    <a:pt x="8083" y="359"/>
                  </a:lnTo>
                  <a:lnTo>
                    <a:pt x="8076" y="363"/>
                  </a:lnTo>
                  <a:lnTo>
                    <a:pt x="8070" y="366"/>
                  </a:lnTo>
                  <a:lnTo>
                    <a:pt x="8064" y="371"/>
                  </a:lnTo>
                  <a:lnTo>
                    <a:pt x="8060" y="376"/>
                  </a:lnTo>
                  <a:lnTo>
                    <a:pt x="8055" y="382"/>
                  </a:lnTo>
                  <a:lnTo>
                    <a:pt x="8050" y="389"/>
                  </a:lnTo>
                  <a:lnTo>
                    <a:pt x="8047" y="396"/>
                  </a:lnTo>
                  <a:lnTo>
                    <a:pt x="8043" y="405"/>
                  </a:lnTo>
                  <a:lnTo>
                    <a:pt x="8041" y="413"/>
                  </a:lnTo>
                  <a:lnTo>
                    <a:pt x="8039" y="424"/>
                  </a:lnTo>
                  <a:lnTo>
                    <a:pt x="8037" y="434"/>
                  </a:lnTo>
                  <a:lnTo>
                    <a:pt x="8035" y="445"/>
                  </a:lnTo>
                  <a:close/>
                  <a:moveTo>
                    <a:pt x="8181" y="569"/>
                  </a:moveTo>
                  <a:lnTo>
                    <a:pt x="8162" y="571"/>
                  </a:lnTo>
                  <a:lnTo>
                    <a:pt x="8143" y="573"/>
                  </a:lnTo>
                  <a:lnTo>
                    <a:pt x="8127" y="577"/>
                  </a:lnTo>
                  <a:lnTo>
                    <a:pt x="8111" y="580"/>
                  </a:lnTo>
                  <a:lnTo>
                    <a:pt x="8097" y="585"/>
                  </a:lnTo>
                  <a:lnTo>
                    <a:pt x="8084" y="589"/>
                  </a:lnTo>
                  <a:lnTo>
                    <a:pt x="8074" y="594"/>
                  </a:lnTo>
                  <a:lnTo>
                    <a:pt x="8064" y="600"/>
                  </a:lnTo>
                  <a:lnTo>
                    <a:pt x="8055" y="607"/>
                  </a:lnTo>
                  <a:lnTo>
                    <a:pt x="8048" y="614"/>
                  </a:lnTo>
                  <a:lnTo>
                    <a:pt x="8042" y="623"/>
                  </a:lnTo>
                  <a:lnTo>
                    <a:pt x="8038" y="632"/>
                  </a:lnTo>
                  <a:lnTo>
                    <a:pt x="8033" y="643"/>
                  </a:lnTo>
                  <a:lnTo>
                    <a:pt x="8031" y="654"/>
                  </a:lnTo>
                  <a:lnTo>
                    <a:pt x="8030" y="667"/>
                  </a:lnTo>
                  <a:lnTo>
                    <a:pt x="8028" y="681"/>
                  </a:lnTo>
                  <a:lnTo>
                    <a:pt x="8030" y="698"/>
                  </a:lnTo>
                  <a:lnTo>
                    <a:pt x="8033" y="713"/>
                  </a:lnTo>
                  <a:lnTo>
                    <a:pt x="8034" y="720"/>
                  </a:lnTo>
                  <a:lnTo>
                    <a:pt x="8038" y="727"/>
                  </a:lnTo>
                  <a:lnTo>
                    <a:pt x="8041" y="732"/>
                  </a:lnTo>
                  <a:lnTo>
                    <a:pt x="8045" y="738"/>
                  </a:lnTo>
                  <a:lnTo>
                    <a:pt x="8048" y="742"/>
                  </a:lnTo>
                  <a:lnTo>
                    <a:pt x="8053" y="746"/>
                  </a:lnTo>
                  <a:lnTo>
                    <a:pt x="8059" y="749"/>
                  </a:lnTo>
                  <a:lnTo>
                    <a:pt x="8064" y="751"/>
                  </a:lnTo>
                  <a:lnTo>
                    <a:pt x="8070" y="754"/>
                  </a:lnTo>
                  <a:lnTo>
                    <a:pt x="8077" y="755"/>
                  </a:lnTo>
                  <a:lnTo>
                    <a:pt x="8084" y="756"/>
                  </a:lnTo>
                  <a:lnTo>
                    <a:pt x="8092" y="756"/>
                  </a:lnTo>
                  <a:lnTo>
                    <a:pt x="8100" y="756"/>
                  </a:lnTo>
                  <a:lnTo>
                    <a:pt x="8108" y="754"/>
                  </a:lnTo>
                  <a:lnTo>
                    <a:pt x="8116" y="751"/>
                  </a:lnTo>
                  <a:lnTo>
                    <a:pt x="8125" y="748"/>
                  </a:lnTo>
                  <a:lnTo>
                    <a:pt x="8133" y="743"/>
                  </a:lnTo>
                  <a:lnTo>
                    <a:pt x="8140" y="738"/>
                  </a:lnTo>
                  <a:lnTo>
                    <a:pt x="8147" y="731"/>
                  </a:lnTo>
                  <a:lnTo>
                    <a:pt x="8153" y="722"/>
                  </a:lnTo>
                  <a:lnTo>
                    <a:pt x="8160" y="713"/>
                  </a:lnTo>
                  <a:lnTo>
                    <a:pt x="8166" y="702"/>
                  </a:lnTo>
                  <a:lnTo>
                    <a:pt x="8171" y="689"/>
                  </a:lnTo>
                  <a:lnTo>
                    <a:pt x="8174" y="674"/>
                  </a:lnTo>
                  <a:lnTo>
                    <a:pt x="8178" y="658"/>
                  </a:lnTo>
                  <a:lnTo>
                    <a:pt x="8180" y="639"/>
                  </a:lnTo>
                  <a:lnTo>
                    <a:pt x="8181" y="619"/>
                  </a:lnTo>
                  <a:lnTo>
                    <a:pt x="8181" y="597"/>
                  </a:lnTo>
                  <a:lnTo>
                    <a:pt x="8181" y="569"/>
                  </a:lnTo>
                  <a:close/>
                  <a:moveTo>
                    <a:pt x="7162" y="51"/>
                  </a:moveTo>
                  <a:lnTo>
                    <a:pt x="7675" y="51"/>
                  </a:lnTo>
                  <a:lnTo>
                    <a:pt x="7675" y="189"/>
                  </a:lnTo>
                  <a:lnTo>
                    <a:pt x="7361" y="189"/>
                  </a:lnTo>
                  <a:lnTo>
                    <a:pt x="7361" y="346"/>
                  </a:lnTo>
                  <a:lnTo>
                    <a:pt x="7431" y="346"/>
                  </a:lnTo>
                  <a:lnTo>
                    <a:pt x="7475" y="348"/>
                  </a:lnTo>
                  <a:lnTo>
                    <a:pt x="7515" y="350"/>
                  </a:lnTo>
                  <a:lnTo>
                    <a:pt x="7535" y="352"/>
                  </a:lnTo>
                  <a:lnTo>
                    <a:pt x="7554" y="356"/>
                  </a:lnTo>
                  <a:lnTo>
                    <a:pt x="7571" y="359"/>
                  </a:lnTo>
                  <a:lnTo>
                    <a:pt x="7587" y="363"/>
                  </a:lnTo>
                  <a:lnTo>
                    <a:pt x="7602" y="367"/>
                  </a:lnTo>
                  <a:lnTo>
                    <a:pt x="7617" y="372"/>
                  </a:lnTo>
                  <a:lnTo>
                    <a:pt x="7631" y="378"/>
                  </a:lnTo>
                  <a:lnTo>
                    <a:pt x="7644" y="383"/>
                  </a:lnTo>
                  <a:lnTo>
                    <a:pt x="7657" y="389"/>
                  </a:lnTo>
                  <a:lnTo>
                    <a:pt x="7667" y="396"/>
                  </a:lnTo>
                  <a:lnTo>
                    <a:pt x="7678" y="404"/>
                  </a:lnTo>
                  <a:lnTo>
                    <a:pt x="7687" y="411"/>
                  </a:lnTo>
                  <a:lnTo>
                    <a:pt x="7696" y="420"/>
                  </a:lnTo>
                  <a:lnTo>
                    <a:pt x="7704" y="429"/>
                  </a:lnTo>
                  <a:lnTo>
                    <a:pt x="7711" y="438"/>
                  </a:lnTo>
                  <a:lnTo>
                    <a:pt x="7718" y="448"/>
                  </a:lnTo>
                  <a:lnTo>
                    <a:pt x="7725" y="459"/>
                  </a:lnTo>
                  <a:lnTo>
                    <a:pt x="7731" y="469"/>
                  </a:lnTo>
                  <a:lnTo>
                    <a:pt x="7737" y="481"/>
                  </a:lnTo>
                  <a:lnTo>
                    <a:pt x="7741" y="492"/>
                  </a:lnTo>
                  <a:lnTo>
                    <a:pt x="7745" y="504"/>
                  </a:lnTo>
                  <a:lnTo>
                    <a:pt x="7748" y="516"/>
                  </a:lnTo>
                  <a:lnTo>
                    <a:pt x="7752" y="530"/>
                  </a:lnTo>
                  <a:lnTo>
                    <a:pt x="7754" y="543"/>
                  </a:lnTo>
                  <a:lnTo>
                    <a:pt x="7756" y="557"/>
                  </a:lnTo>
                  <a:lnTo>
                    <a:pt x="7757" y="572"/>
                  </a:lnTo>
                  <a:lnTo>
                    <a:pt x="7759" y="587"/>
                  </a:lnTo>
                  <a:lnTo>
                    <a:pt x="7759" y="602"/>
                  </a:lnTo>
                  <a:lnTo>
                    <a:pt x="7757" y="625"/>
                  </a:lnTo>
                  <a:lnTo>
                    <a:pt x="7756" y="647"/>
                  </a:lnTo>
                  <a:lnTo>
                    <a:pt x="7752" y="669"/>
                  </a:lnTo>
                  <a:lnTo>
                    <a:pt x="7747" y="689"/>
                  </a:lnTo>
                  <a:lnTo>
                    <a:pt x="7740" y="707"/>
                  </a:lnTo>
                  <a:lnTo>
                    <a:pt x="7732" y="726"/>
                  </a:lnTo>
                  <a:lnTo>
                    <a:pt x="7722" y="742"/>
                  </a:lnTo>
                  <a:lnTo>
                    <a:pt x="7711" y="758"/>
                  </a:lnTo>
                  <a:lnTo>
                    <a:pt x="7698" y="772"/>
                  </a:lnTo>
                  <a:lnTo>
                    <a:pt x="7686" y="786"/>
                  </a:lnTo>
                  <a:lnTo>
                    <a:pt x="7673" y="798"/>
                  </a:lnTo>
                  <a:lnTo>
                    <a:pt x="7659" y="807"/>
                  </a:lnTo>
                  <a:lnTo>
                    <a:pt x="7645" y="816"/>
                  </a:lnTo>
                  <a:lnTo>
                    <a:pt x="7630" y="824"/>
                  </a:lnTo>
                  <a:lnTo>
                    <a:pt x="7615" y="830"/>
                  </a:lnTo>
                  <a:lnTo>
                    <a:pt x="7599" y="835"/>
                  </a:lnTo>
                  <a:lnTo>
                    <a:pt x="7583" y="838"/>
                  </a:lnTo>
                  <a:lnTo>
                    <a:pt x="7564" y="842"/>
                  </a:lnTo>
                  <a:lnTo>
                    <a:pt x="7544" y="844"/>
                  </a:lnTo>
                  <a:lnTo>
                    <a:pt x="7522" y="846"/>
                  </a:lnTo>
                  <a:lnTo>
                    <a:pt x="7499" y="849"/>
                  </a:lnTo>
                  <a:lnTo>
                    <a:pt x="7475" y="850"/>
                  </a:lnTo>
                  <a:lnTo>
                    <a:pt x="7449" y="850"/>
                  </a:lnTo>
                  <a:lnTo>
                    <a:pt x="7422" y="850"/>
                  </a:lnTo>
                  <a:lnTo>
                    <a:pt x="7162" y="850"/>
                  </a:lnTo>
                  <a:lnTo>
                    <a:pt x="7162" y="51"/>
                  </a:lnTo>
                  <a:close/>
                  <a:moveTo>
                    <a:pt x="7361" y="484"/>
                  </a:moveTo>
                  <a:lnTo>
                    <a:pt x="7361" y="713"/>
                  </a:lnTo>
                  <a:lnTo>
                    <a:pt x="7423" y="713"/>
                  </a:lnTo>
                  <a:lnTo>
                    <a:pt x="7439" y="712"/>
                  </a:lnTo>
                  <a:lnTo>
                    <a:pt x="7454" y="711"/>
                  </a:lnTo>
                  <a:lnTo>
                    <a:pt x="7468" y="710"/>
                  </a:lnTo>
                  <a:lnTo>
                    <a:pt x="7479" y="706"/>
                  </a:lnTo>
                  <a:lnTo>
                    <a:pt x="7491" y="703"/>
                  </a:lnTo>
                  <a:lnTo>
                    <a:pt x="7501" y="698"/>
                  </a:lnTo>
                  <a:lnTo>
                    <a:pt x="7512" y="694"/>
                  </a:lnTo>
                  <a:lnTo>
                    <a:pt x="7520" y="688"/>
                  </a:lnTo>
                  <a:lnTo>
                    <a:pt x="7527" y="681"/>
                  </a:lnTo>
                  <a:lnTo>
                    <a:pt x="7533" y="673"/>
                  </a:lnTo>
                  <a:lnTo>
                    <a:pt x="7539" y="663"/>
                  </a:lnTo>
                  <a:lnTo>
                    <a:pt x="7543" y="653"/>
                  </a:lnTo>
                  <a:lnTo>
                    <a:pt x="7545" y="641"/>
                  </a:lnTo>
                  <a:lnTo>
                    <a:pt x="7549" y="630"/>
                  </a:lnTo>
                  <a:lnTo>
                    <a:pt x="7550" y="616"/>
                  </a:lnTo>
                  <a:lnTo>
                    <a:pt x="7550" y="601"/>
                  </a:lnTo>
                  <a:lnTo>
                    <a:pt x="7550" y="588"/>
                  </a:lnTo>
                  <a:lnTo>
                    <a:pt x="7549" y="576"/>
                  </a:lnTo>
                  <a:lnTo>
                    <a:pt x="7547" y="564"/>
                  </a:lnTo>
                  <a:lnTo>
                    <a:pt x="7544" y="552"/>
                  </a:lnTo>
                  <a:lnTo>
                    <a:pt x="7541" y="543"/>
                  </a:lnTo>
                  <a:lnTo>
                    <a:pt x="7537" y="533"/>
                  </a:lnTo>
                  <a:lnTo>
                    <a:pt x="7532" y="523"/>
                  </a:lnTo>
                  <a:lnTo>
                    <a:pt x="7527" y="515"/>
                  </a:lnTo>
                  <a:lnTo>
                    <a:pt x="7520" y="508"/>
                  </a:lnTo>
                  <a:lnTo>
                    <a:pt x="7511" y="501"/>
                  </a:lnTo>
                  <a:lnTo>
                    <a:pt x="7500" y="496"/>
                  </a:lnTo>
                  <a:lnTo>
                    <a:pt x="7489" y="491"/>
                  </a:lnTo>
                  <a:lnTo>
                    <a:pt x="7475" y="488"/>
                  </a:lnTo>
                  <a:lnTo>
                    <a:pt x="7459" y="485"/>
                  </a:lnTo>
                  <a:lnTo>
                    <a:pt x="7441" y="484"/>
                  </a:lnTo>
                  <a:lnTo>
                    <a:pt x="7423" y="484"/>
                  </a:lnTo>
                  <a:lnTo>
                    <a:pt x="7361" y="484"/>
                  </a:lnTo>
                  <a:close/>
                  <a:moveTo>
                    <a:pt x="6441" y="779"/>
                  </a:moveTo>
                  <a:lnTo>
                    <a:pt x="6441" y="850"/>
                  </a:lnTo>
                  <a:lnTo>
                    <a:pt x="6254" y="850"/>
                  </a:lnTo>
                  <a:lnTo>
                    <a:pt x="6254" y="260"/>
                  </a:lnTo>
                  <a:lnTo>
                    <a:pt x="6441" y="260"/>
                  </a:lnTo>
                  <a:lnTo>
                    <a:pt x="6440" y="543"/>
                  </a:lnTo>
                  <a:lnTo>
                    <a:pt x="6591" y="335"/>
                  </a:lnTo>
                  <a:lnTo>
                    <a:pt x="6591" y="260"/>
                  </a:lnTo>
                  <a:lnTo>
                    <a:pt x="6778" y="260"/>
                  </a:lnTo>
                  <a:lnTo>
                    <a:pt x="6778" y="850"/>
                  </a:lnTo>
                  <a:lnTo>
                    <a:pt x="6591" y="850"/>
                  </a:lnTo>
                  <a:lnTo>
                    <a:pt x="6591" y="574"/>
                  </a:lnTo>
                  <a:lnTo>
                    <a:pt x="6561" y="619"/>
                  </a:lnTo>
                  <a:lnTo>
                    <a:pt x="6441" y="779"/>
                  </a:lnTo>
                  <a:close/>
                  <a:moveTo>
                    <a:pt x="5791" y="779"/>
                  </a:moveTo>
                  <a:lnTo>
                    <a:pt x="5791" y="850"/>
                  </a:lnTo>
                  <a:lnTo>
                    <a:pt x="5603" y="850"/>
                  </a:lnTo>
                  <a:lnTo>
                    <a:pt x="5603" y="260"/>
                  </a:lnTo>
                  <a:lnTo>
                    <a:pt x="5791" y="260"/>
                  </a:lnTo>
                  <a:lnTo>
                    <a:pt x="5790" y="543"/>
                  </a:lnTo>
                  <a:lnTo>
                    <a:pt x="5942" y="335"/>
                  </a:lnTo>
                  <a:lnTo>
                    <a:pt x="5942" y="260"/>
                  </a:lnTo>
                  <a:lnTo>
                    <a:pt x="6128" y="260"/>
                  </a:lnTo>
                  <a:lnTo>
                    <a:pt x="6128" y="850"/>
                  </a:lnTo>
                  <a:lnTo>
                    <a:pt x="5942" y="850"/>
                  </a:lnTo>
                  <a:lnTo>
                    <a:pt x="5942" y="574"/>
                  </a:lnTo>
                  <a:lnTo>
                    <a:pt x="5910" y="619"/>
                  </a:lnTo>
                  <a:lnTo>
                    <a:pt x="5791" y="779"/>
                  </a:lnTo>
                  <a:close/>
                  <a:moveTo>
                    <a:pt x="4991" y="260"/>
                  </a:moveTo>
                  <a:lnTo>
                    <a:pt x="5177" y="260"/>
                  </a:lnTo>
                  <a:lnTo>
                    <a:pt x="5177" y="485"/>
                  </a:lnTo>
                  <a:lnTo>
                    <a:pt x="5361" y="260"/>
                  </a:lnTo>
                  <a:lnTo>
                    <a:pt x="5532" y="260"/>
                  </a:lnTo>
                  <a:lnTo>
                    <a:pt x="5365" y="457"/>
                  </a:lnTo>
                  <a:lnTo>
                    <a:pt x="5549" y="850"/>
                  </a:lnTo>
                  <a:lnTo>
                    <a:pt x="5347" y="850"/>
                  </a:lnTo>
                  <a:lnTo>
                    <a:pt x="5244" y="577"/>
                  </a:lnTo>
                  <a:lnTo>
                    <a:pt x="5177" y="659"/>
                  </a:lnTo>
                  <a:lnTo>
                    <a:pt x="5177" y="850"/>
                  </a:lnTo>
                  <a:lnTo>
                    <a:pt x="4991" y="850"/>
                  </a:lnTo>
                  <a:lnTo>
                    <a:pt x="4991" y="260"/>
                  </a:lnTo>
                  <a:close/>
                  <a:moveTo>
                    <a:pt x="4899" y="475"/>
                  </a:moveTo>
                  <a:lnTo>
                    <a:pt x="4727" y="481"/>
                  </a:lnTo>
                  <a:lnTo>
                    <a:pt x="4724" y="456"/>
                  </a:lnTo>
                  <a:lnTo>
                    <a:pt x="4720" y="434"/>
                  </a:lnTo>
                  <a:lnTo>
                    <a:pt x="4718" y="424"/>
                  </a:lnTo>
                  <a:lnTo>
                    <a:pt x="4714" y="416"/>
                  </a:lnTo>
                  <a:lnTo>
                    <a:pt x="4711" y="408"/>
                  </a:lnTo>
                  <a:lnTo>
                    <a:pt x="4707" y="400"/>
                  </a:lnTo>
                  <a:lnTo>
                    <a:pt x="4702" y="394"/>
                  </a:lnTo>
                  <a:lnTo>
                    <a:pt x="4698" y="388"/>
                  </a:lnTo>
                  <a:lnTo>
                    <a:pt x="4692" y="383"/>
                  </a:lnTo>
                  <a:lnTo>
                    <a:pt x="4685" y="380"/>
                  </a:lnTo>
                  <a:lnTo>
                    <a:pt x="4678" y="376"/>
                  </a:lnTo>
                  <a:lnTo>
                    <a:pt x="4671" y="374"/>
                  </a:lnTo>
                  <a:lnTo>
                    <a:pt x="4662" y="373"/>
                  </a:lnTo>
                  <a:lnTo>
                    <a:pt x="4653" y="373"/>
                  </a:lnTo>
                  <a:lnTo>
                    <a:pt x="4642" y="373"/>
                  </a:lnTo>
                  <a:lnTo>
                    <a:pt x="4631" y="375"/>
                  </a:lnTo>
                  <a:lnTo>
                    <a:pt x="4621" y="379"/>
                  </a:lnTo>
                  <a:lnTo>
                    <a:pt x="4612" y="383"/>
                  </a:lnTo>
                  <a:lnTo>
                    <a:pt x="4604" y="389"/>
                  </a:lnTo>
                  <a:lnTo>
                    <a:pt x="4596" y="397"/>
                  </a:lnTo>
                  <a:lnTo>
                    <a:pt x="4589" y="407"/>
                  </a:lnTo>
                  <a:lnTo>
                    <a:pt x="4583" y="417"/>
                  </a:lnTo>
                  <a:lnTo>
                    <a:pt x="4577" y="429"/>
                  </a:lnTo>
                  <a:lnTo>
                    <a:pt x="4573" y="441"/>
                  </a:lnTo>
                  <a:lnTo>
                    <a:pt x="4568" y="455"/>
                  </a:lnTo>
                  <a:lnTo>
                    <a:pt x="4565" y="471"/>
                  </a:lnTo>
                  <a:lnTo>
                    <a:pt x="4562" y="489"/>
                  </a:lnTo>
                  <a:lnTo>
                    <a:pt x="4560" y="507"/>
                  </a:lnTo>
                  <a:lnTo>
                    <a:pt x="4560" y="527"/>
                  </a:lnTo>
                  <a:lnTo>
                    <a:pt x="4559" y="549"/>
                  </a:lnTo>
                  <a:lnTo>
                    <a:pt x="4560" y="573"/>
                  </a:lnTo>
                  <a:lnTo>
                    <a:pt x="4560" y="595"/>
                  </a:lnTo>
                  <a:lnTo>
                    <a:pt x="4562" y="616"/>
                  </a:lnTo>
                  <a:lnTo>
                    <a:pt x="4565" y="636"/>
                  </a:lnTo>
                  <a:lnTo>
                    <a:pt x="4568" y="652"/>
                  </a:lnTo>
                  <a:lnTo>
                    <a:pt x="4572" y="667"/>
                  </a:lnTo>
                  <a:lnTo>
                    <a:pt x="4576" y="680"/>
                  </a:lnTo>
                  <a:lnTo>
                    <a:pt x="4582" y="691"/>
                  </a:lnTo>
                  <a:lnTo>
                    <a:pt x="4588" y="700"/>
                  </a:lnTo>
                  <a:lnTo>
                    <a:pt x="4595" y="709"/>
                  </a:lnTo>
                  <a:lnTo>
                    <a:pt x="4603" y="716"/>
                  </a:lnTo>
                  <a:lnTo>
                    <a:pt x="4611" y="721"/>
                  </a:lnTo>
                  <a:lnTo>
                    <a:pt x="4619" y="726"/>
                  </a:lnTo>
                  <a:lnTo>
                    <a:pt x="4628" y="729"/>
                  </a:lnTo>
                  <a:lnTo>
                    <a:pt x="4639" y="732"/>
                  </a:lnTo>
                  <a:lnTo>
                    <a:pt x="4650" y="732"/>
                  </a:lnTo>
                  <a:lnTo>
                    <a:pt x="4658" y="732"/>
                  </a:lnTo>
                  <a:lnTo>
                    <a:pt x="4667" y="731"/>
                  </a:lnTo>
                  <a:lnTo>
                    <a:pt x="4673" y="728"/>
                  </a:lnTo>
                  <a:lnTo>
                    <a:pt x="4682" y="725"/>
                  </a:lnTo>
                  <a:lnTo>
                    <a:pt x="4687" y="721"/>
                  </a:lnTo>
                  <a:lnTo>
                    <a:pt x="4693" y="717"/>
                  </a:lnTo>
                  <a:lnTo>
                    <a:pt x="4699" y="711"/>
                  </a:lnTo>
                  <a:lnTo>
                    <a:pt x="4705" y="704"/>
                  </a:lnTo>
                  <a:lnTo>
                    <a:pt x="4708" y="697"/>
                  </a:lnTo>
                  <a:lnTo>
                    <a:pt x="4713" y="689"/>
                  </a:lnTo>
                  <a:lnTo>
                    <a:pt x="4716" y="680"/>
                  </a:lnTo>
                  <a:lnTo>
                    <a:pt x="4720" y="669"/>
                  </a:lnTo>
                  <a:lnTo>
                    <a:pt x="4722" y="659"/>
                  </a:lnTo>
                  <a:lnTo>
                    <a:pt x="4724" y="647"/>
                  </a:lnTo>
                  <a:lnTo>
                    <a:pt x="4726" y="635"/>
                  </a:lnTo>
                  <a:lnTo>
                    <a:pt x="4727" y="621"/>
                  </a:lnTo>
                  <a:lnTo>
                    <a:pt x="4899" y="631"/>
                  </a:lnTo>
                  <a:lnTo>
                    <a:pt x="4896" y="660"/>
                  </a:lnTo>
                  <a:lnTo>
                    <a:pt x="4890" y="685"/>
                  </a:lnTo>
                  <a:lnTo>
                    <a:pt x="4883" y="711"/>
                  </a:lnTo>
                  <a:lnTo>
                    <a:pt x="4874" y="733"/>
                  </a:lnTo>
                  <a:lnTo>
                    <a:pt x="4869" y="744"/>
                  </a:lnTo>
                  <a:lnTo>
                    <a:pt x="4863" y="755"/>
                  </a:lnTo>
                  <a:lnTo>
                    <a:pt x="4858" y="764"/>
                  </a:lnTo>
                  <a:lnTo>
                    <a:pt x="4852" y="773"/>
                  </a:lnTo>
                  <a:lnTo>
                    <a:pt x="4845" y="783"/>
                  </a:lnTo>
                  <a:lnTo>
                    <a:pt x="4838" y="791"/>
                  </a:lnTo>
                  <a:lnTo>
                    <a:pt x="4830" y="799"/>
                  </a:lnTo>
                  <a:lnTo>
                    <a:pt x="4822" y="806"/>
                  </a:lnTo>
                  <a:lnTo>
                    <a:pt x="4814" y="814"/>
                  </a:lnTo>
                  <a:lnTo>
                    <a:pt x="4806" y="820"/>
                  </a:lnTo>
                  <a:lnTo>
                    <a:pt x="4796" y="827"/>
                  </a:lnTo>
                  <a:lnTo>
                    <a:pt x="4786" y="832"/>
                  </a:lnTo>
                  <a:lnTo>
                    <a:pt x="4777" y="837"/>
                  </a:lnTo>
                  <a:lnTo>
                    <a:pt x="4766" y="842"/>
                  </a:lnTo>
                  <a:lnTo>
                    <a:pt x="4755" y="846"/>
                  </a:lnTo>
                  <a:lnTo>
                    <a:pt x="4743" y="850"/>
                  </a:lnTo>
                  <a:lnTo>
                    <a:pt x="4720" y="857"/>
                  </a:lnTo>
                  <a:lnTo>
                    <a:pt x="4694" y="861"/>
                  </a:lnTo>
                  <a:lnTo>
                    <a:pt x="4667" y="864"/>
                  </a:lnTo>
                  <a:lnTo>
                    <a:pt x="4638" y="865"/>
                  </a:lnTo>
                  <a:lnTo>
                    <a:pt x="4623" y="865"/>
                  </a:lnTo>
                  <a:lnTo>
                    <a:pt x="4606" y="864"/>
                  </a:lnTo>
                  <a:lnTo>
                    <a:pt x="4591" y="862"/>
                  </a:lnTo>
                  <a:lnTo>
                    <a:pt x="4577" y="860"/>
                  </a:lnTo>
                  <a:lnTo>
                    <a:pt x="4563" y="857"/>
                  </a:lnTo>
                  <a:lnTo>
                    <a:pt x="4550" y="853"/>
                  </a:lnTo>
                  <a:lnTo>
                    <a:pt x="4537" y="850"/>
                  </a:lnTo>
                  <a:lnTo>
                    <a:pt x="4524" y="845"/>
                  </a:lnTo>
                  <a:lnTo>
                    <a:pt x="4513" y="840"/>
                  </a:lnTo>
                  <a:lnTo>
                    <a:pt x="4501" y="835"/>
                  </a:lnTo>
                  <a:lnTo>
                    <a:pt x="4489" y="828"/>
                  </a:lnTo>
                  <a:lnTo>
                    <a:pt x="4479" y="821"/>
                  </a:lnTo>
                  <a:lnTo>
                    <a:pt x="4469" y="814"/>
                  </a:lnTo>
                  <a:lnTo>
                    <a:pt x="4458" y="806"/>
                  </a:lnTo>
                  <a:lnTo>
                    <a:pt x="4449" y="797"/>
                  </a:lnTo>
                  <a:lnTo>
                    <a:pt x="4441" y="787"/>
                  </a:lnTo>
                  <a:lnTo>
                    <a:pt x="4433" y="777"/>
                  </a:lnTo>
                  <a:lnTo>
                    <a:pt x="4425" y="766"/>
                  </a:lnTo>
                  <a:lnTo>
                    <a:pt x="4418" y="755"/>
                  </a:lnTo>
                  <a:lnTo>
                    <a:pt x="4411" y="743"/>
                  </a:lnTo>
                  <a:lnTo>
                    <a:pt x="4405" y="732"/>
                  </a:lnTo>
                  <a:lnTo>
                    <a:pt x="4399" y="718"/>
                  </a:lnTo>
                  <a:lnTo>
                    <a:pt x="4394" y="705"/>
                  </a:lnTo>
                  <a:lnTo>
                    <a:pt x="4390" y="690"/>
                  </a:lnTo>
                  <a:lnTo>
                    <a:pt x="4385" y="676"/>
                  </a:lnTo>
                  <a:lnTo>
                    <a:pt x="4382" y="660"/>
                  </a:lnTo>
                  <a:lnTo>
                    <a:pt x="4379" y="645"/>
                  </a:lnTo>
                  <a:lnTo>
                    <a:pt x="4377" y="628"/>
                  </a:lnTo>
                  <a:lnTo>
                    <a:pt x="4374" y="593"/>
                  </a:lnTo>
                  <a:lnTo>
                    <a:pt x="4372" y="556"/>
                  </a:lnTo>
                  <a:lnTo>
                    <a:pt x="4372" y="537"/>
                  </a:lnTo>
                  <a:lnTo>
                    <a:pt x="4374" y="519"/>
                  </a:lnTo>
                  <a:lnTo>
                    <a:pt x="4375" y="501"/>
                  </a:lnTo>
                  <a:lnTo>
                    <a:pt x="4377" y="485"/>
                  </a:lnTo>
                  <a:lnTo>
                    <a:pt x="4379" y="468"/>
                  </a:lnTo>
                  <a:lnTo>
                    <a:pt x="4383" y="453"/>
                  </a:lnTo>
                  <a:lnTo>
                    <a:pt x="4386" y="437"/>
                  </a:lnTo>
                  <a:lnTo>
                    <a:pt x="4390" y="423"/>
                  </a:lnTo>
                  <a:lnTo>
                    <a:pt x="4396" y="408"/>
                  </a:lnTo>
                  <a:lnTo>
                    <a:pt x="4400" y="394"/>
                  </a:lnTo>
                  <a:lnTo>
                    <a:pt x="4406" y="381"/>
                  </a:lnTo>
                  <a:lnTo>
                    <a:pt x="4413" y="368"/>
                  </a:lnTo>
                  <a:lnTo>
                    <a:pt x="4420" y="357"/>
                  </a:lnTo>
                  <a:lnTo>
                    <a:pt x="4427" y="345"/>
                  </a:lnTo>
                  <a:lnTo>
                    <a:pt x="4435" y="335"/>
                  </a:lnTo>
                  <a:lnTo>
                    <a:pt x="4444" y="324"/>
                  </a:lnTo>
                  <a:lnTo>
                    <a:pt x="4453" y="315"/>
                  </a:lnTo>
                  <a:lnTo>
                    <a:pt x="4463" y="306"/>
                  </a:lnTo>
                  <a:lnTo>
                    <a:pt x="4473" y="298"/>
                  </a:lnTo>
                  <a:lnTo>
                    <a:pt x="4484" y="290"/>
                  </a:lnTo>
                  <a:lnTo>
                    <a:pt x="4494" y="283"/>
                  </a:lnTo>
                  <a:lnTo>
                    <a:pt x="4506" y="276"/>
                  </a:lnTo>
                  <a:lnTo>
                    <a:pt x="4517" y="270"/>
                  </a:lnTo>
                  <a:lnTo>
                    <a:pt x="4530" y="264"/>
                  </a:lnTo>
                  <a:lnTo>
                    <a:pt x="4543" y="260"/>
                  </a:lnTo>
                  <a:lnTo>
                    <a:pt x="4557" y="256"/>
                  </a:lnTo>
                  <a:lnTo>
                    <a:pt x="4569" y="253"/>
                  </a:lnTo>
                  <a:lnTo>
                    <a:pt x="4584" y="250"/>
                  </a:lnTo>
                  <a:lnTo>
                    <a:pt x="4598" y="248"/>
                  </a:lnTo>
                  <a:lnTo>
                    <a:pt x="4613" y="246"/>
                  </a:lnTo>
                  <a:lnTo>
                    <a:pt x="4629" y="245"/>
                  </a:lnTo>
                  <a:lnTo>
                    <a:pt x="4645" y="245"/>
                  </a:lnTo>
                  <a:lnTo>
                    <a:pt x="4673" y="246"/>
                  </a:lnTo>
                  <a:lnTo>
                    <a:pt x="4700" y="248"/>
                  </a:lnTo>
                  <a:lnTo>
                    <a:pt x="4726" y="253"/>
                  </a:lnTo>
                  <a:lnTo>
                    <a:pt x="4749" y="260"/>
                  </a:lnTo>
                  <a:lnTo>
                    <a:pt x="4771" y="268"/>
                  </a:lnTo>
                  <a:lnTo>
                    <a:pt x="4790" y="277"/>
                  </a:lnTo>
                  <a:lnTo>
                    <a:pt x="4800" y="283"/>
                  </a:lnTo>
                  <a:lnTo>
                    <a:pt x="4809" y="289"/>
                  </a:lnTo>
                  <a:lnTo>
                    <a:pt x="4817" y="295"/>
                  </a:lnTo>
                  <a:lnTo>
                    <a:pt x="4825" y="302"/>
                  </a:lnTo>
                  <a:lnTo>
                    <a:pt x="4833" y="309"/>
                  </a:lnTo>
                  <a:lnTo>
                    <a:pt x="4840" y="317"/>
                  </a:lnTo>
                  <a:lnTo>
                    <a:pt x="4847" y="326"/>
                  </a:lnTo>
                  <a:lnTo>
                    <a:pt x="4854" y="335"/>
                  </a:lnTo>
                  <a:lnTo>
                    <a:pt x="4860" y="344"/>
                  </a:lnTo>
                  <a:lnTo>
                    <a:pt x="4866" y="353"/>
                  </a:lnTo>
                  <a:lnTo>
                    <a:pt x="4870" y="364"/>
                  </a:lnTo>
                  <a:lnTo>
                    <a:pt x="4876" y="374"/>
                  </a:lnTo>
                  <a:lnTo>
                    <a:pt x="4884" y="397"/>
                  </a:lnTo>
                  <a:lnTo>
                    <a:pt x="4891" y="422"/>
                  </a:lnTo>
                  <a:lnTo>
                    <a:pt x="4896" y="447"/>
                  </a:lnTo>
                  <a:lnTo>
                    <a:pt x="4899" y="475"/>
                  </a:lnTo>
                  <a:close/>
                  <a:moveTo>
                    <a:pt x="3938" y="779"/>
                  </a:moveTo>
                  <a:lnTo>
                    <a:pt x="3938" y="850"/>
                  </a:lnTo>
                  <a:lnTo>
                    <a:pt x="3752" y="850"/>
                  </a:lnTo>
                  <a:lnTo>
                    <a:pt x="3752" y="260"/>
                  </a:lnTo>
                  <a:lnTo>
                    <a:pt x="3938" y="260"/>
                  </a:lnTo>
                  <a:lnTo>
                    <a:pt x="3937" y="543"/>
                  </a:lnTo>
                  <a:lnTo>
                    <a:pt x="4089" y="335"/>
                  </a:lnTo>
                  <a:lnTo>
                    <a:pt x="4089" y="260"/>
                  </a:lnTo>
                  <a:lnTo>
                    <a:pt x="4275" y="260"/>
                  </a:lnTo>
                  <a:lnTo>
                    <a:pt x="4275" y="850"/>
                  </a:lnTo>
                  <a:lnTo>
                    <a:pt x="4089" y="850"/>
                  </a:lnTo>
                  <a:lnTo>
                    <a:pt x="4089" y="574"/>
                  </a:lnTo>
                  <a:lnTo>
                    <a:pt x="4059" y="619"/>
                  </a:lnTo>
                  <a:lnTo>
                    <a:pt x="3938" y="779"/>
                  </a:lnTo>
                  <a:close/>
                  <a:moveTo>
                    <a:pt x="3288" y="779"/>
                  </a:moveTo>
                  <a:lnTo>
                    <a:pt x="3288" y="850"/>
                  </a:lnTo>
                  <a:lnTo>
                    <a:pt x="3101" y="850"/>
                  </a:lnTo>
                  <a:lnTo>
                    <a:pt x="3101" y="260"/>
                  </a:lnTo>
                  <a:lnTo>
                    <a:pt x="3288" y="260"/>
                  </a:lnTo>
                  <a:lnTo>
                    <a:pt x="3287" y="543"/>
                  </a:lnTo>
                  <a:lnTo>
                    <a:pt x="3439" y="335"/>
                  </a:lnTo>
                  <a:lnTo>
                    <a:pt x="3439" y="260"/>
                  </a:lnTo>
                  <a:lnTo>
                    <a:pt x="3625" y="260"/>
                  </a:lnTo>
                  <a:lnTo>
                    <a:pt x="3625" y="850"/>
                  </a:lnTo>
                  <a:lnTo>
                    <a:pt x="3439" y="850"/>
                  </a:lnTo>
                  <a:lnTo>
                    <a:pt x="3439" y="574"/>
                  </a:lnTo>
                  <a:lnTo>
                    <a:pt x="3408" y="619"/>
                  </a:lnTo>
                  <a:lnTo>
                    <a:pt x="3288" y="779"/>
                  </a:lnTo>
                  <a:close/>
                  <a:moveTo>
                    <a:pt x="2667" y="491"/>
                  </a:moveTo>
                  <a:lnTo>
                    <a:pt x="2697" y="491"/>
                  </a:lnTo>
                  <a:lnTo>
                    <a:pt x="2721" y="490"/>
                  </a:lnTo>
                  <a:lnTo>
                    <a:pt x="2740" y="489"/>
                  </a:lnTo>
                  <a:lnTo>
                    <a:pt x="2752" y="488"/>
                  </a:lnTo>
                  <a:lnTo>
                    <a:pt x="2762" y="485"/>
                  </a:lnTo>
                  <a:lnTo>
                    <a:pt x="2770" y="482"/>
                  </a:lnTo>
                  <a:lnTo>
                    <a:pt x="2778" y="477"/>
                  </a:lnTo>
                  <a:lnTo>
                    <a:pt x="2785" y="470"/>
                  </a:lnTo>
                  <a:lnTo>
                    <a:pt x="2788" y="467"/>
                  </a:lnTo>
                  <a:lnTo>
                    <a:pt x="2790" y="462"/>
                  </a:lnTo>
                  <a:lnTo>
                    <a:pt x="2793" y="457"/>
                  </a:lnTo>
                  <a:lnTo>
                    <a:pt x="2795" y="452"/>
                  </a:lnTo>
                  <a:lnTo>
                    <a:pt x="2797" y="440"/>
                  </a:lnTo>
                  <a:lnTo>
                    <a:pt x="2797" y="426"/>
                  </a:lnTo>
                  <a:lnTo>
                    <a:pt x="2797" y="409"/>
                  </a:lnTo>
                  <a:lnTo>
                    <a:pt x="2794" y="394"/>
                  </a:lnTo>
                  <a:lnTo>
                    <a:pt x="2792" y="388"/>
                  </a:lnTo>
                  <a:lnTo>
                    <a:pt x="2789" y="381"/>
                  </a:lnTo>
                  <a:lnTo>
                    <a:pt x="2786" y="376"/>
                  </a:lnTo>
                  <a:lnTo>
                    <a:pt x="2782" y="372"/>
                  </a:lnTo>
                  <a:lnTo>
                    <a:pt x="2779" y="367"/>
                  </a:lnTo>
                  <a:lnTo>
                    <a:pt x="2774" y="364"/>
                  </a:lnTo>
                  <a:lnTo>
                    <a:pt x="2768" y="360"/>
                  </a:lnTo>
                  <a:lnTo>
                    <a:pt x="2763" y="358"/>
                  </a:lnTo>
                  <a:lnTo>
                    <a:pt x="2757" y="356"/>
                  </a:lnTo>
                  <a:lnTo>
                    <a:pt x="2751" y="354"/>
                  </a:lnTo>
                  <a:lnTo>
                    <a:pt x="2744" y="353"/>
                  </a:lnTo>
                  <a:lnTo>
                    <a:pt x="2736" y="353"/>
                  </a:lnTo>
                  <a:lnTo>
                    <a:pt x="2729" y="353"/>
                  </a:lnTo>
                  <a:lnTo>
                    <a:pt x="2723" y="354"/>
                  </a:lnTo>
                  <a:lnTo>
                    <a:pt x="2716" y="357"/>
                  </a:lnTo>
                  <a:lnTo>
                    <a:pt x="2711" y="359"/>
                  </a:lnTo>
                  <a:lnTo>
                    <a:pt x="2705" y="361"/>
                  </a:lnTo>
                  <a:lnTo>
                    <a:pt x="2700" y="365"/>
                  </a:lnTo>
                  <a:lnTo>
                    <a:pt x="2694" y="370"/>
                  </a:lnTo>
                  <a:lnTo>
                    <a:pt x="2690" y="374"/>
                  </a:lnTo>
                  <a:lnTo>
                    <a:pt x="2685" y="380"/>
                  </a:lnTo>
                  <a:lnTo>
                    <a:pt x="2682" y="386"/>
                  </a:lnTo>
                  <a:lnTo>
                    <a:pt x="2678" y="393"/>
                  </a:lnTo>
                  <a:lnTo>
                    <a:pt x="2675" y="401"/>
                  </a:lnTo>
                  <a:lnTo>
                    <a:pt x="2669" y="418"/>
                  </a:lnTo>
                  <a:lnTo>
                    <a:pt x="2664" y="438"/>
                  </a:lnTo>
                  <a:lnTo>
                    <a:pt x="2499" y="410"/>
                  </a:lnTo>
                  <a:lnTo>
                    <a:pt x="2503" y="389"/>
                  </a:lnTo>
                  <a:lnTo>
                    <a:pt x="2510" y="371"/>
                  </a:lnTo>
                  <a:lnTo>
                    <a:pt x="2517" y="353"/>
                  </a:lnTo>
                  <a:lnTo>
                    <a:pt x="2526" y="337"/>
                  </a:lnTo>
                  <a:lnTo>
                    <a:pt x="2537" y="323"/>
                  </a:lnTo>
                  <a:lnTo>
                    <a:pt x="2550" y="309"/>
                  </a:lnTo>
                  <a:lnTo>
                    <a:pt x="2562" y="297"/>
                  </a:lnTo>
                  <a:lnTo>
                    <a:pt x="2577" y="286"/>
                  </a:lnTo>
                  <a:lnTo>
                    <a:pt x="2594" y="276"/>
                  </a:lnTo>
                  <a:lnTo>
                    <a:pt x="2612" y="268"/>
                  </a:lnTo>
                  <a:lnTo>
                    <a:pt x="2631" y="261"/>
                  </a:lnTo>
                  <a:lnTo>
                    <a:pt x="2652" y="255"/>
                  </a:lnTo>
                  <a:lnTo>
                    <a:pt x="2674" y="250"/>
                  </a:lnTo>
                  <a:lnTo>
                    <a:pt x="2697" y="247"/>
                  </a:lnTo>
                  <a:lnTo>
                    <a:pt x="2722" y="246"/>
                  </a:lnTo>
                  <a:lnTo>
                    <a:pt x="2749" y="245"/>
                  </a:lnTo>
                  <a:lnTo>
                    <a:pt x="2778" y="246"/>
                  </a:lnTo>
                  <a:lnTo>
                    <a:pt x="2804" y="248"/>
                  </a:lnTo>
                  <a:lnTo>
                    <a:pt x="2830" y="251"/>
                  </a:lnTo>
                  <a:lnTo>
                    <a:pt x="2853" y="257"/>
                  </a:lnTo>
                  <a:lnTo>
                    <a:pt x="2875" y="264"/>
                  </a:lnTo>
                  <a:lnTo>
                    <a:pt x="2895" y="272"/>
                  </a:lnTo>
                  <a:lnTo>
                    <a:pt x="2912" y="283"/>
                  </a:lnTo>
                  <a:lnTo>
                    <a:pt x="2928" y="294"/>
                  </a:lnTo>
                  <a:lnTo>
                    <a:pt x="2943" y="307"/>
                  </a:lnTo>
                  <a:lnTo>
                    <a:pt x="2955" y="320"/>
                  </a:lnTo>
                  <a:lnTo>
                    <a:pt x="2965" y="334"/>
                  </a:lnTo>
                  <a:lnTo>
                    <a:pt x="2975" y="349"/>
                  </a:lnTo>
                  <a:lnTo>
                    <a:pt x="2980" y="364"/>
                  </a:lnTo>
                  <a:lnTo>
                    <a:pt x="2986" y="380"/>
                  </a:lnTo>
                  <a:lnTo>
                    <a:pt x="2989" y="396"/>
                  </a:lnTo>
                  <a:lnTo>
                    <a:pt x="2990" y="413"/>
                  </a:lnTo>
                  <a:lnTo>
                    <a:pt x="2990" y="424"/>
                  </a:lnTo>
                  <a:lnTo>
                    <a:pt x="2989" y="433"/>
                  </a:lnTo>
                  <a:lnTo>
                    <a:pt x="2986" y="442"/>
                  </a:lnTo>
                  <a:lnTo>
                    <a:pt x="2984" y="452"/>
                  </a:lnTo>
                  <a:lnTo>
                    <a:pt x="2980" y="461"/>
                  </a:lnTo>
                  <a:lnTo>
                    <a:pt x="2977" y="470"/>
                  </a:lnTo>
                  <a:lnTo>
                    <a:pt x="2972" y="478"/>
                  </a:lnTo>
                  <a:lnTo>
                    <a:pt x="2968" y="486"/>
                  </a:lnTo>
                  <a:lnTo>
                    <a:pt x="2962" y="495"/>
                  </a:lnTo>
                  <a:lnTo>
                    <a:pt x="2955" y="501"/>
                  </a:lnTo>
                  <a:lnTo>
                    <a:pt x="2947" y="508"/>
                  </a:lnTo>
                  <a:lnTo>
                    <a:pt x="2940" y="515"/>
                  </a:lnTo>
                  <a:lnTo>
                    <a:pt x="2931" y="522"/>
                  </a:lnTo>
                  <a:lnTo>
                    <a:pt x="2921" y="528"/>
                  </a:lnTo>
                  <a:lnTo>
                    <a:pt x="2911" y="534"/>
                  </a:lnTo>
                  <a:lnTo>
                    <a:pt x="2901" y="540"/>
                  </a:lnTo>
                  <a:lnTo>
                    <a:pt x="2913" y="545"/>
                  </a:lnTo>
                  <a:lnTo>
                    <a:pt x="2925" y="551"/>
                  </a:lnTo>
                  <a:lnTo>
                    <a:pt x="2936" y="558"/>
                  </a:lnTo>
                  <a:lnTo>
                    <a:pt x="2947" y="565"/>
                  </a:lnTo>
                  <a:lnTo>
                    <a:pt x="2956" y="572"/>
                  </a:lnTo>
                  <a:lnTo>
                    <a:pt x="2965" y="580"/>
                  </a:lnTo>
                  <a:lnTo>
                    <a:pt x="2972" y="588"/>
                  </a:lnTo>
                  <a:lnTo>
                    <a:pt x="2979" y="596"/>
                  </a:lnTo>
                  <a:lnTo>
                    <a:pt x="2986" y="604"/>
                  </a:lnTo>
                  <a:lnTo>
                    <a:pt x="2991" y="614"/>
                  </a:lnTo>
                  <a:lnTo>
                    <a:pt x="2995" y="624"/>
                  </a:lnTo>
                  <a:lnTo>
                    <a:pt x="3000" y="633"/>
                  </a:lnTo>
                  <a:lnTo>
                    <a:pt x="3002" y="644"/>
                  </a:lnTo>
                  <a:lnTo>
                    <a:pt x="3005" y="655"/>
                  </a:lnTo>
                  <a:lnTo>
                    <a:pt x="3006" y="666"/>
                  </a:lnTo>
                  <a:lnTo>
                    <a:pt x="3006" y="677"/>
                  </a:lnTo>
                  <a:lnTo>
                    <a:pt x="3006" y="696"/>
                  </a:lnTo>
                  <a:lnTo>
                    <a:pt x="3002" y="713"/>
                  </a:lnTo>
                  <a:lnTo>
                    <a:pt x="2998" y="731"/>
                  </a:lnTo>
                  <a:lnTo>
                    <a:pt x="2992" y="748"/>
                  </a:lnTo>
                  <a:lnTo>
                    <a:pt x="2983" y="764"/>
                  </a:lnTo>
                  <a:lnTo>
                    <a:pt x="2973" y="779"/>
                  </a:lnTo>
                  <a:lnTo>
                    <a:pt x="2961" y="794"/>
                  </a:lnTo>
                  <a:lnTo>
                    <a:pt x="2947" y="808"/>
                  </a:lnTo>
                  <a:lnTo>
                    <a:pt x="2939" y="815"/>
                  </a:lnTo>
                  <a:lnTo>
                    <a:pt x="2931" y="822"/>
                  </a:lnTo>
                  <a:lnTo>
                    <a:pt x="2923" y="828"/>
                  </a:lnTo>
                  <a:lnTo>
                    <a:pt x="2912" y="834"/>
                  </a:lnTo>
                  <a:lnTo>
                    <a:pt x="2903" y="838"/>
                  </a:lnTo>
                  <a:lnTo>
                    <a:pt x="2891" y="843"/>
                  </a:lnTo>
                  <a:lnTo>
                    <a:pt x="2880" y="847"/>
                  </a:lnTo>
                  <a:lnTo>
                    <a:pt x="2868" y="851"/>
                  </a:lnTo>
                  <a:lnTo>
                    <a:pt x="2843" y="857"/>
                  </a:lnTo>
                  <a:lnTo>
                    <a:pt x="2814" y="861"/>
                  </a:lnTo>
                  <a:lnTo>
                    <a:pt x="2784" y="864"/>
                  </a:lnTo>
                  <a:lnTo>
                    <a:pt x="2750" y="865"/>
                  </a:lnTo>
                  <a:lnTo>
                    <a:pt x="2728" y="864"/>
                  </a:lnTo>
                  <a:lnTo>
                    <a:pt x="2707" y="862"/>
                  </a:lnTo>
                  <a:lnTo>
                    <a:pt x="2686" y="860"/>
                  </a:lnTo>
                  <a:lnTo>
                    <a:pt x="2667" y="857"/>
                  </a:lnTo>
                  <a:lnTo>
                    <a:pt x="2648" y="852"/>
                  </a:lnTo>
                  <a:lnTo>
                    <a:pt x="2630" y="847"/>
                  </a:lnTo>
                  <a:lnTo>
                    <a:pt x="2612" y="840"/>
                  </a:lnTo>
                  <a:lnTo>
                    <a:pt x="2596" y="834"/>
                  </a:lnTo>
                  <a:lnTo>
                    <a:pt x="2588" y="829"/>
                  </a:lnTo>
                  <a:lnTo>
                    <a:pt x="2581" y="824"/>
                  </a:lnTo>
                  <a:lnTo>
                    <a:pt x="2573" y="819"/>
                  </a:lnTo>
                  <a:lnTo>
                    <a:pt x="2565" y="813"/>
                  </a:lnTo>
                  <a:lnTo>
                    <a:pt x="2551" y="799"/>
                  </a:lnTo>
                  <a:lnTo>
                    <a:pt x="2536" y="781"/>
                  </a:lnTo>
                  <a:lnTo>
                    <a:pt x="2522" y="763"/>
                  </a:lnTo>
                  <a:lnTo>
                    <a:pt x="2509" y="741"/>
                  </a:lnTo>
                  <a:lnTo>
                    <a:pt x="2496" y="717"/>
                  </a:lnTo>
                  <a:lnTo>
                    <a:pt x="2485" y="690"/>
                  </a:lnTo>
                  <a:lnTo>
                    <a:pt x="2645" y="665"/>
                  </a:lnTo>
                  <a:lnTo>
                    <a:pt x="2653" y="685"/>
                  </a:lnTo>
                  <a:lnTo>
                    <a:pt x="2662" y="704"/>
                  </a:lnTo>
                  <a:lnTo>
                    <a:pt x="2667" y="712"/>
                  </a:lnTo>
                  <a:lnTo>
                    <a:pt x="2672" y="719"/>
                  </a:lnTo>
                  <a:lnTo>
                    <a:pt x="2678" y="726"/>
                  </a:lnTo>
                  <a:lnTo>
                    <a:pt x="2684" y="732"/>
                  </a:lnTo>
                  <a:lnTo>
                    <a:pt x="2690" y="736"/>
                  </a:lnTo>
                  <a:lnTo>
                    <a:pt x="2697" y="741"/>
                  </a:lnTo>
                  <a:lnTo>
                    <a:pt x="2704" y="746"/>
                  </a:lnTo>
                  <a:lnTo>
                    <a:pt x="2711" y="748"/>
                  </a:lnTo>
                  <a:lnTo>
                    <a:pt x="2718" y="750"/>
                  </a:lnTo>
                  <a:lnTo>
                    <a:pt x="2726" y="753"/>
                  </a:lnTo>
                  <a:lnTo>
                    <a:pt x="2734" y="754"/>
                  </a:lnTo>
                  <a:lnTo>
                    <a:pt x="2742" y="754"/>
                  </a:lnTo>
                  <a:lnTo>
                    <a:pt x="2750" y="754"/>
                  </a:lnTo>
                  <a:lnTo>
                    <a:pt x="2757" y="753"/>
                  </a:lnTo>
                  <a:lnTo>
                    <a:pt x="2764" y="751"/>
                  </a:lnTo>
                  <a:lnTo>
                    <a:pt x="2771" y="749"/>
                  </a:lnTo>
                  <a:lnTo>
                    <a:pt x="2777" y="746"/>
                  </a:lnTo>
                  <a:lnTo>
                    <a:pt x="2782" y="742"/>
                  </a:lnTo>
                  <a:lnTo>
                    <a:pt x="2788" y="738"/>
                  </a:lnTo>
                  <a:lnTo>
                    <a:pt x="2794" y="733"/>
                  </a:lnTo>
                  <a:lnTo>
                    <a:pt x="2799" y="727"/>
                  </a:lnTo>
                  <a:lnTo>
                    <a:pt x="2803" y="721"/>
                  </a:lnTo>
                  <a:lnTo>
                    <a:pt x="2807" y="714"/>
                  </a:lnTo>
                  <a:lnTo>
                    <a:pt x="2809" y="707"/>
                  </a:lnTo>
                  <a:lnTo>
                    <a:pt x="2811" y="699"/>
                  </a:lnTo>
                  <a:lnTo>
                    <a:pt x="2814" y="691"/>
                  </a:lnTo>
                  <a:lnTo>
                    <a:pt x="2815" y="682"/>
                  </a:lnTo>
                  <a:lnTo>
                    <a:pt x="2815" y="673"/>
                  </a:lnTo>
                  <a:lnTo>
                    <a:pt x="2814" y="658"/>
                  </a:lnTo>
                  <a:lnTo>
                    <a:pt x="2811" y="646"/>
                  </a:lnTo>
                  <a:lnTo>
                    <a:pt x="2809" y="640"/>
                  </a:lnTo>
                  <a:lnTo>
                    <a:pt x="2806" y="636"/>
                  </a:lnTo>
                  <a:lnTo>
                    <a:pt x="2802" y="631"/>
                  </a:lnTo>
                  <a:lnTo>
                    <a:pt x="2799" y="626"/>
                  </a:lnTo>
                  <a:lnTo>
                    <a:pt x="2790" y="619"/>
                  </a:lnTo>
                  <a:lnTo>
                    <a:pt x="2781" y="615"/>
                  </a:lnTo>
                  <a:lnTo>
                    <a:pt x="2771" y="611"/>
                  </a:lnTo>
                  <a:lnTo>
                    <a:pt x="2760" y="609"/>
                  </a:lnTo>
                  <a:lnTo>
                    <a:pt x="2745" y="608"/>
                  </a:lnTo>
                  <a:lnTo>
                    <a:pt x="2726" y="607"/>
                  </a:lnTo>
                  <a:lnTo>
                    <a:pt x="2699" y="607"/>
                  </a:lnTo>
                  <a:lnTo>
                    <a:pt x="2667" y="607"/>
                  </a:lnTo>
                  <a:lnTo>
                    <a:pt x="2667" y="491"/>
                  </a:lnTo>
                  <a:close/>
                  <a:moveTo>
                    <a:pt x="2081" y="445"/>
                  </a:moveTo>
                  <a:lnTo>
                    <a:pt x="1903" y="430"/>
                  </a:lnTo>
                  <a:lnTo>
                    <a:pt x="1907" y="408"/>
                  </a:lnTo>
                  <a:lnTo>
                    <a:pt x="1914" y="388"/>
                  </a:lnTo>
                  <a:lnTo>
                    <a:pt x="1921" y="368"/>
                  </a:lnTo>
                  <a:lnTo>
                    <a:pt x="1931" y="351"/>
                  </a:lnTo>
                  <a:lnTo>
                    <a:pt x="1943" y="335"/>
                  </a:lnTo>
                  <a:lnTo>
                    <a:pt x="1957" y="320"/>
                  </a:lnTo>
                  <a:lnTo>
                    <a:pt x="1972" y="306"/>
                  </a:lnTo>
                  <a:lnTo>
                    <a:pt x="1989" y="293"/>
                  </a:lnTo>
                  <a:lnTo>
                    <a:pt x="2009" y="282"/>
                  </a:lnTo>
                  <a:lnTo>
                    <a:pt x="2028" y="272"/>
                  </a:lnTo>
                  <a:lnTo>
                    <a:pt x="2050" y="263"/>
                  </a:lnTo>
                  <a:lnTo>
                    <a:pt x="2072" y="257"/>
                  </a:lnTo>
                  <a:lnTo>
                    <a:pt x="2097" y="251"/>
                  </a:lnTo>
                  <a:lnTo>
                    <a:pt x="2121" y="248"/>
                  </a:lnTo>
                  <a:lnTo>
                    <a:pt x="2148" y="246"/>
                  </a:lnTo>
                  <a:lnTo>
                    <a:pt x="2174" y="245"/>
                  </a:lnTo>
                  <a:lnTo>
                    <a:pt x="2198" y="246"/>
                  </a:lnTo>
                  <a:lnTo>
                    <a:pt x="2220" y="247"/>
                  </a:lnTo>
                  <a:lnTo>
                    <a:pt x="2240" y="249"/>
                  </a:lnTo>
                  <a:lnTo>
                    <a:pt x="2260" y="253"/>
                  </a:lnTo>
                  <a:lnTo>
                    <a:pt x="2277" y="257"/>
                  </a:lnTo>
                  <a:lnTo>
                    <a:pt x="2295" y="263"/>
                  </a:lnTo>
                  <a:lnTo>
                    <a:pt x="2311" y="269"/>
                  </a:lnTo>
                  <a:lnTo>
                    <a:pt x="2326" y="277"/>
                  </a:lnTo>
                  <a:lnTo>
                    <a:pt x="2340" y="285"/>
                  </a:lnTo>
                  <a:lnTo>
                    <a:pt x="2352" y="293"/>
                  </a:lnTo>
                  <a:lnTo>
                    <a:pt x="2363" y="302"/>
                  </a:lnTo>
                  <a:lnTo>
                    <a:pt x="2372" y="312"/>
                  </a:lnTo>
                  <a:lnTo>
                    <a:pt x="2382" y="321"/>
                  </a:lnTo>
                  <a:lnTo>
                    <a:pt x="2389" y="330"/>
                  </a:lnTo>
                  <a:lnTo>
                    <a:pt x="2394" y="341"/>
                  </a:lnTo>
                  <a:lnTo>
                    <a:pt x="2398" y="351"/>
                  </a:lnTo>
                  <a:lnTo>
                    <a:pt x="2401" y="363"/>
                  </a:lnTo>
                  <a:lnTo>
                    <a:pt x="2405" y="375"/>
                  </a:lnTo>
                  <a:lnTo>
                    <a:pt x="2407" y="389"/>
                  </a:lnTo>
                  <a:lnTo>
                    <a:pt x="2409" y="405"/>
                  </a:lnTo>
                  <a:lnTo>
                    <a:pt x="2413" y="440"/>
                  </a:lnTo>
                  <a:lnTo>
                    <a:pt x="2413" y="482"/>
                  </a:lnTo>
                  <a:lnTo>
                    <a:pt x="2413" y="719"/>
                  </a:lnTo>
                  <a:lnTo>
                    <a:pt x="2414" y="769"/>
                  </a:lnTo>
                  <a:lnTo>
                    <a:pt x="2415" y="807"/>
                  </a:lnTo>
                  <a:lnTo>
                    <a:pt x="2418" y="822"/>
                  </a:lnTo>
                  <a:lnTo>
                    <a:pt x="2419" y="834"/>
                  </a:lnTo>
                  <a:lnTo>
                    <a:pt x="2421" y="844"/>
                  </a:lnTo>
                  <a:lnTo>
                    <a:pt x="2423" y="850"/>
                  </a:lnTo>
                  <a:lnTo>
                    <a:pt x="2251" y="850"/>
                  </a:lnTo>
                  <a:lnTo>
                    <a:pt x="2247" y="836"/>
                  </a:lnTo>
                  <a:lnTo>
                    <a:pt x="2244" y="816"/>
                  </a:lnTo>
                  <a:lnTo>
                    <a:pt x="2243" y="791"/>
                  </a:lnTo>
                  <a:lnTo>
                    <a:pt x="2242" y="759"/>
                  </a:lnTo>
                  <a:lnTo>
                    <a:pt x="2233" y="772"/>
                  </a:lnTo>
                  <a:lnTo>
                    <a:pt x="2225" y="784"/>
                  </a:lnTo>
                  <a:lnTo>
                    <a:pt x="2216" y="795"/>
                  </a:lnTo>
                  <a:lnTo>
                    <a:pt x="2207" y="806"/>
                  </a:lnTo>
                  <a:lnTo>
                    <a:pt x="2198" y="815"/>
                  </a:lnTo>
                  <a:lnTo>
                    <a:pt x="2187" y="823"/>
                  </a:lnTo>
                  <a:lnTo>
                    <a:pt x="2177" y="831"/>
                  </a:lnTo>
                  <a:lnTo>
                    <a:pt x="2165" y="838"/>
                  </a:lnTo>
                  <a:lnTo>
                    <a:pt x="2154" y="845"/>
                  </a:lnTo>
                  <a:lnTo>
                    <a:pt x="2141" y="850"/>
                  </a:lnTo>
                  <a:lnTo>
                    <a:pt x="2128" y="854"/>
                  </a:lnTo>
                  <a:lnTo>
                    <a:pt x="2115" y="858"/>
                  </a:lnTo>
                  <a:lnTo>
                    <a:pt x="2101" y="861"/>
                  </a:lnTo>
                  <a:lnTo>
                    <a:pt x="2088" y="864"/>
                  </a:lnTo>
                  <a:lnTo>
                    <a:pt x="2074" y="865"/>
                  </a:lnTo>
                  <a:lnTo>
                    <a:pt x="2059" y="865"/>
                  </a:lnTo>
                  <a:lnTo>
                    <a:pt x="2039" y="864"/>
                  </a:lnTo>
                  <a:lnTo>
                    <a:pt x="2020" y="862"/>
                  </a:lnTo>
                  <a:lnTo>
                    <a:pt x="2003" y="859"/>
                  </a:lnTo>
                  <a:lnTo>
                    <a:pt x="1987" y="854"/>
                  </a:lnTo>
                  <a:lnTo>
                    <a:pt x="1972" y="849"/>
                  </a:lnTo>
                  <a:lnTo>
                    <a:pt x="1957" y="842"/>
                  </a:lnTo>
                  <a:lnTo>
                    <a:pt x="1944" y="832"/>
                  </a:lnTo>
                  <a:lnTo>
                    <a:pt x="1931" y="823"/>
                  </a:lnTo>
                  <a:lnTo>
                    <a:pt x="1920" y="813"/>
                  </a:lnTo>
                  <a:lnTo>
                    <a:pt x="1909" y="800"/>
                  </a:lnTo>
                  <a:lnTo>
                    <a:pt x="1901" y="787"/>
                  </a:lnTo>
                  <a:lnTo>
                    <a:pt x="1894" y="772"/>
                  </a:lnTo>
                  <a:lnTo>
                    <a:pt x="1888" y="757"/>
                  </a:lnTo>
                  <a:lnTo>
                    <a:pt x="1885" y="740"/>
                  </a:lnTo>
                  <a:lnTo>
                    <a:pt x="1883" y="721"/>
                  </a:lnTo>
                  <a:lnTo>
                    <a:pt x="1881" y="703"/>
                  </a:lnTo>
                  <a:lnTo>
                    <a:pt x="1881" y="690"/>
                  </a:lnTo>
                  <a:lnTo>
                    <a:pt x="1883" y="678"/>
                  </a:lnTo>
                  <a:lnTo>
                    <a:pt x="1884" y="667"/>
                  </a:lnTo>
                  <a:lnTo>
                    <a:pt x="1886" y="655"/>
                  </a:lnTo>
                  <a:lnTo>
                    <a:pt x="1888" y="645"/>
                  </a:lnTo>
                  <a:lnTo>
                    <a:pt x="1892" y="635"/>
                  </a:lnTo>
                  <a:lnTo>
                    <a:pt x="1895" y="624"/>
                  </a:lnTo>
                  <a:lnTo>
                    <a:pt x="1900" y="615"/>
                  </a:lnTo>
                  <a:lnTo>
                    <a:pt x="1906" y="604"/>
                  </a:lnTo>
                  <a:lnTo>
                    <a:pt x="1910" y="596"/>
                  </a:lnTo>
                  <a:lnTo>
                    <a:pt x="1917" y="587"/>
                  </a:lnTo>
                  <a:lnTo>
                    <a:pt x="1923" y="579"/>
                  </a:lnTo>
                  <a:lnTo>
                    <a:pt x="1931" y="571"/>
                  </a:lnTo>
                  <a:lnTo>
                    <a:pt x="1938" y="563"/>
                  </a:lnTo>
                  <a:lnTo>
                    <a:pt x="1947" y="556"/>
                  </a:lnTo>
                  <a:lnTo>
                    <a:pt x="1956" y="549"/>
                  </a:lnTo>
                  <a:lnTo>
                    <a:pt x="1966" y="542"/>
                  </a:lnTo>
                  <a:lnTo>
                    <a:pt x="1976" y="536"/>
                  </a:lnTo>
                  <a:lnTo>
                    <a:pt x="1988" y="530"/>
                  </a:lnTo>
                  <a:lnTo>
                    <a:pt x="2001" y="525"/>
                  </a:lnTo>
                  <a:lnTo>
                    <a:pt x="2015" y="519"/>
                  </a:lnTo>
                  <a:lnTo>
                    <a:pt x="2028" y="514"/>
                  </a:lnTo>
                  <a:lnTo>
                    <a:pt x="2045" y="510"/>
                  </a:lnTo>
                  <a:lnTo>
                    <a:pt x="2061" y="505"/>
                  </a:lnTo>
                  <a:lnTo>
                    <a:pt x="2097" y="498"/>
                  </a:lnTo>
                  <a:lnTo>
                    <a:pt x="2136" y="492"/>
                  </a:lnTo>
                  <a:lnTo>
                    <a:pt x="2179" y="486"/>
                  </a:lnTo>
                  <a:lnTo>
                    <a:pt x="2227" y="484"/>
                  </a:lnTo>
                  <a:lnTo>
                    <a:pt x="2227" y="461"/>
                  </a:lnTo>
                  <a:lnTo>
                    <a:pt x="2225" y="433"/>
                  </a:lnTo>
                  <a:lnTo>
                    <a:pt x="2223" y="410"/>
                  </a:lnTo>
                  <a:lnTo>
                    <a:pt x="2221" y="400"/>
                  </a:lnTo>
                  <a:lnTo>
                    <a:pt x="2218" y="390"/>
                  </a:lnTo>
                  <a:lnTo>
                    <a:pt x="2216" y="383"/>
                  </a:lnTo>
                  <a:lnTo>
                    <a:pt x="2213" y="376"/>
                  </a:lnTo>
                  <a:lnTo>
                    <a:pt x="2209" y="372"/>
                  </a:lnTo>
                  <a:lnTo>
                    <a:pt x="2205" y="366"/>
                  </a:lnTo>
                  <a:lnTo>
                    <a:pt x="2199" y="363"/>
                  </a:lnTo>
                  <a:lnTo>
                    <a:pt x="2193" y="359"/>
                  </a:lnTo>
                  <a:lnTo>
                    <a:pt x="2186" y="357"/>
                  </a:lnTo>
                  <a:lnTo>
                    <a:pt x="2178" y="354"/>
                  </a:lnTo>
                  <a:lnTo>
                    <a:pt x="2170" y="353"/>
                  </a:lnTo>
                  <a:lnTo>
                    <a:pt x="2159" y="353"/>
                  </a:lnTo>
                  <a:lnTo>
                    <a:pt x="2151" y="353"/>
                  </a:lnTo>
                  <a:lnTo>
                    <a:pt x="2143" y="354"/>
                  </a:lnTo>
                  <a:lnTo>
                    <a:pt x="2135" y="357"/>
                  </a:lnTo>
                  <a:lnTo>
                    <a:pt x="2128" y="359"/>
                  </a:lnTo>
                  <a:lnTo>
                    <a:pt x="2121" y="363"/>
                  </a:lnTo>
                  <a:lnTo>
                    <a:pt x="2115" y="366"/>
                  </a:lnTo>
                  <a:lnTo>
                    <a:pt x="2110" y="371"/>
                  </a:lnTo>
                  <a:lnTo>
                    <a:pt x="2104" y="376"/>
                  </a:lnTo>
                  <a:lnTo>
                    <a:pt x="2099" y="382"/>
                  </a:lnTo>
                  <a:lnTo>
                    <a:pt x="2094" y="389"/>
                  </a:lnTo>
                  <a:lnTo>
                    <a:pt x="2091" y="396"/>
                  </a:lnTo>
                  <a:lnTo>
                    <a:pt x="2089" y="405"/>
                  </a:lnTo>
                  <a:lnTo>
                    <a:pt x="2085" y="413"/>
                  </a:lnTo>
                  <a:lnTo>
                    <a:pt x="2083" y="424"/>
                  </a:lnTo>
                  <a:lnTo>
                    <a:pt x="2082" y="434"/>
                  </a:lnTo>
                  <a:lnTo>
                    <a:pt x="2081" y="445"/>
                  </a:lnTo>
                  <a:close/>
                  <a:moveTo>
                    <a:pt x="2227" y="569"/>
                  </a:moveTo>
                  <a:lnTo>
                    <a:pt x="2207" y="571"/>
                  </a:lnTo>
                  <a:lnTo>
                    <a:pt x="2188" y="573"/>
                  </a:lnTo>
                  <a:lnTo>
                    <a:pt x="2171" y="577"/>
                  </a:lnTo>
                  <a:lnTo>
                    <a:pt x="2156" y="580"/>
                  </a:lnTo>
                  <a:lnTo>
                    <a:pt x="2142" y="585"/>
                  </a:lnTo>
                  <a:lnTo>
                    <a:pt x="2129" y="589"/>
                  </a:lnTo>
                  <a:lnTo>
                    <a:pt x="2118" y="594"/>
                  </a:lnTo>
                  <a:lnTo>
                    <a:pt x="2108" y="600"/>
                  </a:lnTo>
                  <a:lnTo>
                    <a:pt x="2100" y="607"/>
                  </a:lnTo>
                  <a:lnTo>
                    <a:pt x="2093" y="614"/>
                  </a:lnTo>
                  <a:lnTo>
                    <a:pt x="2088" y="623"/>
                  </a:lnTo>
                  <a:lnTo>
                    <a:pt x="2082" y="632"/>
                  </a:lnTo>
                  <a:lnTo>
                    <a:pt x="2078" y="643"/>
                  </a:lnTo>
                  <a:lnTo>
                    <a:pt x="2076" y="654"/>
                  </a:lnTo>
                  <a:lnTo>
                    <a:pt x="2074" y="667"/>
                  </a:lnTo>
                  <a:lnTo>
                    <a:pt x="2074" y="681"/>
                  </a:lnTo>
                  <a:lnTo>
                    <a:pt x="2075" y="698"/>
                  </a:lnTo>
                  <a:lnTo>
                    <a:pt x="2077" y="713"/>
                  </a:lnTo>
                  <a:lnTo>
                    <a:pt x="2079" y="720"/>
                  </a:lnTo>
                  <a:lnTo>
                    <a:pt x="2082" y="727"/>
                  </a:lnTo>
                  <a:lnTo>
                    <a:pt x="2085" y="732"/>
                  </a:lnTo>
                  <a:lnTo>
                    <a:pt x="2089" y="738"/>
                  </a:lnTo>
                  <a:lnTo>
                    <a:pt x="2093" y="742"/>
                  </a:lnTo>
                  <a:lnTo>
                    <a:pt x="2098" y="746"/>
                  </a:lnTo>
                  <a:lnTo>
                    <a:pt x="2103" y="749"/>
                  </a:lnTo>
                  <a:lnTo>
                    <a:pt x="2108" y="751"/>
                  </a:lnTo>
                  <a:lnTo>
                    <a:pt x="2115" y="754"/>
                  </a:lnTo>
                  <a:lnTo>
                    <a:pt x="2122" y="755"/>
                  </a:lnTo>
                  <a:lnTo>
                    <a:pt x="2129" y="756"/>
                  </a:lnTo>
                  <a:lnTo>
                    <a:pt x="2136" y="756"/>
                  </a:lnTo>
                  <a:lnTo>
                    <a:pt x="2145" y="756"/>
                  </a:lnTo>
                  <a:lnTo>
                    <a:pt x="2154" y="754"/>
                  </a:lnTo>
                  <a:lnTo>
                    <a:pt x="2162" y="751"/>
                  </a:lnTo>
                  <a:lnTo>
                    <a:pt x="2169" y="748"/>
                  </a:lnTo>
                  <a:lnTo>
                    <a:pt x="2177" y="743"/>
                  </a:lnTo>
                  <a:lnTo>
                    <a:pt x="2185" y="738"/>
                  </a:lnTo>
                  <a:lnTo>
                    <a:pt x="2192" y="731"/>
                  </a:lnTo>
                  <a:lnTo>
                    <a:pt x="2199" y="722"/>
                  </a:lnTo>
                  <a:lnTo>
                    <a:pt x="2206" y="713"/>
                  </a:lnTo>
                  <a:lnTo>
                    <a:pt x="2210" y="702"/>
                  </a:lnTo>
                  <a:lnTo>
                    <a:pt x="2216" y="689"/>
                  </a:lnTo>
                  <a:lnTo>
                    <a:pt x="2220" y="674"/>
                  </a:lnTo>
                  <a:lnTo>
                    <a:pt x="2223" y="658"/>
                  </a:lnTo>
                  <a:lnTo>
                    <a:pt x="2225" y="639"/>
                  </a:lnTo>
                  <a:lnTo>
                    <a:pt x="2227" y="619"/>
                  </a:lnTo>
                  <a:lnTo>
                    <a:pt x="2227" y="597"/>
                  </a:lnTo>
                  <a:lnTo>
                    <a:pt x="2227" y="569"/>
                  </a:lnTo>
                  <a:close/>
                  <a:moveTo>
                    <a:pt x="1268" y="260"/>
                  </a:moveTo>
                  <a:lnTo>
                    <a:pt x="1443" y="260"/>
                  </a:lnTo>
                  <a:lnTo>
                    <a:pt x="1443" y="348"/>
                  </a:lnTo>
                  <a:lnTo>
                    <a:pt x="1449" y="336"/>
                  </a:lnTo>
                  <a:lnTo>
                    <a:pt x="1456" y="326"/>
                  </a:lnTo>
                  <a:lnTo>
                    <a:pt x="1463" y="315"/>
                  </a:lnTo>
                  <a:lnTo>
                    <a:pt x="1471" y="306"/>
                  </a:lnTo>
                  <a:lnTo>
                    <a:pt x="1480" y="298"/>
                  </a:lnTo>
                  <a:lnTo>
                    <a:pt x="1489" y="290"/>
                  </a:lnTo>
                  <a:lnTo>
                    <a:pt x="1498" y="283"/>
                  </a:lnTo>
                  <a:lnTo>
                    <a:pt x="1506" y="276"/>
                  </a:lnTo>
                  <a:lnTo>
                    <a:pt x="1517" y="270"/>
                  </a:lnTo>
                  <a:lnTo>
                    <a:pt x="1526" y="265"/>
                  </a:lnTo>
                  <a:lnTo>
                    <a:pt x="1536" y="262"/>
                  </a:lnTo>
                  <a:lnTo>
                    <a:pt x="1547" y="258"/>
                  </a:lnTo>
                  <a:lnTo>
                    <a:pt x="1558" y="255"/>
                  </a:lnTo>
                  <a:lnTo>
                    <a:pt x="1569" y="254"/>
                  </a:lnTo>
                  <a:lnTo>
                    <a:pt x="1580" y="253"/>
                  </a:lnTo>
                  <a:lnTo>
                    <a:pt x="1592" y="251"/>
                  </a:lnTo>
                  <a:lnTo>
                    <a:pt x="1603" y="253"/>
                  </a:lnTo>
                  <a:lnTo>
                    <a:pt x="1615" y="253"/>
                  </a:lnTo>
                  <a:lnTo>
                    <a:pt x="1625" y="255"/>
                  </a:lnTo>
                  <a:lnTo>
                    <a:pt x="1636" y="256"/>
                  </a:lnTo>
                  <a:lnTo>
                    <a:pt x="1646" y="260"/>
                  </a:lnTo>
                  <a:lnTo>
                    <a:pt x="1657" y="262"/>
                  </a:lnTo>
                  <a:lnTo>
                    <a:pt x="1666" y="265"/>
                  </a:lnTo>
                  <a:lnTo>
                    <a:pt x="1675" y="270"/>
                  </a:lnTo>
                  <a:lnTo>
                    <a:pt x="1685" y="275"/>
                  </a:lnTo>
                  <a:lnTo>
                    <a:pt x="1694" y="280"/>
                  </a:lnTo>
                  <a:lnTo>
                    <a:pt x="1703" y="286"/>
                  </a:lnTo>
                  <a:lnTo>
                    <a:pt x="1711" y="292"/>
                  </a:lnTo>
                  <a:lnTo>
                    <a:pt x="1729" y="307"/>
                  </a:lnTo>
                  <a:lnTo>
                    <a:pt x="1744" y="324"/>
                  </a:lnTo>
                  <a:lnTo>
                    <a:pt x="1751" y="334"/>
                  </a:lnTo>
                  <a:lnTo>
                    <a:pt x="1757" y="343"/>
                  </a:lnTo>
                  <a:lnTo>
                    <a:pt x="1764" y="353"/>
                  </a:lnTo>
                  <a:lnTo>
                    <a:pt x="1770" y="365"/>
                  </a:lnTo>
                  <a:lnTo>
                    <a:pt x="1775" y="376"/>
                  </a:lnTo>
                  <a:lnTo>
                    <a:pt x="1781" y="389"/>
                  </a:lnTo>
                  <a:lnTo>
                    <a:pt x="1784" y="402"/>
                  </a:lnTo>
                  <a:lnTo>
                    <a:pt x="1789" y="416"/>
                  </a:lnTo>
                  <a:lnTo>
                    <a:pt x="1796" y="444"/>
                  </a:lnTo>
                  <a:lnTo>
                    <a:pt x="1800" y="475"/>
                  </a:lnTo>
                  <a:lnTo>
                    <a:pt x="1803" y="508"/>
                  </a:lnTo>
                  <a:lnTo>
                    <a:pt x="1804" y="544"/>
                  </a:lnTo>
                  <a:lnTo>
                    <a:pt x="1803" y="582"/>
                  </a:lnTo>
                  <a:lnTo>
                    <a:pt x="1800" y="617"/>
                  </a:lnTo>
                  <a:lnTo>
                    <a:pt x="1796" y="651"/>
                  </a:lnTo>
                  <a:lnTo>
                    <a:pt x="1789" y="681"/>
                  </a:lnTo>
                  <a:lnTo>
                    <a:pt x="1785" y="695"/>
                  </a:lnTo>
                  <a:lnTo>
                    <a:pt x="1781" y="709"/>
                  </a:lnTo>
                  <a:lnTo>
                    <a:pt x="1776" y="722"/>
                  </a:lnTo>
                  <a:lnTo>
                    <a:pt x="1770" y="734"/>
                  </a:lnTo>
                  <a:lnTo>
                    <a:pt x="1764" y="747"/>
                  </a:lnTo>
                  <a:lnTo>
                    <a:pt x="1759" y="758"/>
                  </a:lnTo>
                  <a:lnTo>
                    <a:pt x="1752" y="769"/>
                  </a:lnTo>
                  <a:lnTo>
                    <a:pt x="1745" y="779"/>
                  </a:lnTo>
                  <a:lnTo>
                    <a:pt x="1737" y="788"/>
                  </a:lnTo>
                  <a:lnTo>
                    <a:pt x="1729" y="798"/>
                  </a:lnTo>
                  <a:lnTo>
                    <a:pt x="1720" y="806"/>
                  </a:lnTo>
                  <a:lnTo>
                    <a:pt x="1712" y="813"/>
                  </a:lnTo>
                  <a:lnTo>
                    <a:pt x="1703" y="821"/>
                  </a:lnTo>
                  <a:lnTo>
                    <a:pt x="1694" y="827"/>
                  </a:lnTo>
                  <a:lnTo>
                    <a:pt x="1683" y="832"/>
                  </a:lnTo>
                  <a:lnTo>
                    <a:pt x="1673" y="838"/>
                  </a:lnTo>
                  <a:lnTo>
                    <a:pt x="1663" y="843"/>
                  </a:lnTo>
                  <a:lnTo>
                    <a:pt x="1652" y="846"/>
                  </a:lnTo>
                  <a:lnTo>
                    <a:pt x="1641" y="850"/>
                  </a:lnTo>
                  <a:lnTo>
                    <a:pt x="1629" y="852"/>
                  </a:lnTo>
                  <a:lnTo>
                    <a:pt x="1617" y="854"/>
                  </a:lnTo>
                  <a:lnTo>
                    <a:pt x="1605" y="857"/>
                  </a:lnTo>
                  <a:lnTo>
                    <a:pt x="1592" y="857"/>
                  </a:lnTo>
                  <a:lnTo>
                    <a:pt x="1578" y="858"/>
                  </a:lnTo>
                  <a:lnTo>
                    <a:pt x="1559" y="857"/>
                  </a:lnTo>
                  <a:lnTo>
                    <a:pt x="1542" y="854"/>
                  </a:lnTo>
                  <a:lnTo>
                    <a:pt x="1525" y="850"/>
                  </a:lnTo>
                  <a:lnTo>
                    <a:pt x="1509" y="844"/>
                  </a:lnTo>
                  <a:lnTo>
                    <a:pt x="1492" y="837"/>
                  </a:lnTo>
                  <a:lnTo>
                    <a:pt x="1478" y="828"/>
                  </a:lnTo>
                  <a:lnTo>
                    <a:pt x="1465" y="817"/>
                  </a:lnTo>
                  <a:lnTo>
                    <a:pt x="1452" y="806"/>
                  </a:lnTo>
                  <a:lnTo>
                    <a:pt x="1452" y="1050"/>
                  </a:lnTo>
                  <a:lnTo>
                    <a:pt x="1268" y="1050"/>
                  </a:lnTo>
                  <a:lnTo>
                    <a:pt x="1268" y="260"/>
                  </a:lnTo>
                  <a:close/>
                  <a:moveTo>
                    <a:pt x="1452" y="607"/>
                  </a:moveTo>
                  <a:lnTo>
                    <a:pt x="1452" y="628"/>
                  </a:lnTo>
                  <a:lnTo>
                    <a:pt x="1453" y="646"/>
                  </a:lnTo>
                  <a:lnTo>
                    <a:pt x="1454" y="662"/>
                  </a:lnTo>
                  <a:lnTo>
                    <a:pt x="1455" y="676"/>
                  </a:lnTo>
                  <a:lnTo>
                    <a:pt x="1458" y="689"/>
                  </a:lnTo>
                  <a:lnTo>
                    <a:pt x="1460" y="700"/>
                  </a:lnTo>
                  <a:lnTo>
                    <a:pt x="1463" y="710"/>
                  </a:lnTo>
                  <a:lnTo>
                    <a:pt x="1467" y="717"/>
                  </a:lnTo>
                  <a:lnTo>
                    <a:pt x="1471" y="722"/>
                  </a:lnTo>
                  <a:lnTo>
                    <a:pt x="1477" y="727"/>
                  </a:lnTo>
                  <a:lnTo>
                    <a:pt x="1483" y="732"/>
                  </a:lnTo>
                  <a:lnTo>
                    <a:pt x="1490" y="735"/>
                  </a:lnTo>
                  <a:lnTo>
                    <a:pt x="1499" y="739"/>
                  </a:lnTo>
                  <a:lnTo>
                    <a:pt x="1509" y="740"/>
                  </a:lnTo>
                  <a:lnTo>
                    <a:pt x="1518" y="741"/>
                  </a:lnTo>
                  <a:lnTo>
                    <a:pt x="1529" y="742"/>
                  </a:lnTo>
                  <a:lnTo>
                    <a:pt x="1540" y="741"/>
                  </a:lnTo>
                  <a:lnTo>
                    <a:pt x="1549" y="740"/>
                  </a:lnTo>
                  <a:lnTo>
                    <a:pt x="1558" y="738"/>
                  </a:lnTo>
                  <a:lnTo>
                    <a:pt x="1566" y="733"/>
                  </a:lnTo>
                  <a:lnTo>
                    <a:pt x="1573" y="728"/>
                  </a:lnTo>
                  <a:lnTo>
                    <a:pt x="1580" y="722"/>
                  </a:lnTo>
                  <a:lnTo>
                    <a:pt x="1586" y="716"/>
                  </a:lnTo>
                  <a:lnTo>
                    <a:pt x="1592" y="709"/>
                  </a:lnTo>
                  <a:lnTo>
                    <a:pt x="1597" y="698"/>
                  </a:lnTo>
                  <a:lnTo>
                    <a:pt x="1601" y="685"/>
                  </a:lnTo>
                  <a:lnTo>
                    <a:pt x="1605" y="669"/>
                  </a:lnTo>
                  <a:lnTo>
                    <a:pt x="1607" y="651"/>
                  </a:lnTo>
                  <a:lnTo>
                    <a:pt x="1609" y="629"/>
                  </a:lnTo>
                  <a:lnTo>
                    <a:pt x="1610" y="603"/>
                  </a:lnTo>
                  <a:lnTo>
                    <a:pt x="1612" y="576"/>
                  </a:lnTo>
                  <a:lnTo>
                    <a:pt x="1612" y="545"/>
                  </a:lnTo>
                  <a:lnTo>
                    <a:pt x="1612" y="519"/>
                  </a:lnTo>
                  <a:lnTo>
                    <a:pt x="1612" y="496"/>
                  </a:lnTo>
                  <a:lnTo>
                    <a:pt x="1609" y="474"/>
                  </a:lnTo>
                  <a:lnTo>
                    <a:pt x="1608" y="454"/>
                  </a:lnTo>
                  <a:lnTo>
                    <a:pt x="1605" y="438"/>
                  </a:lnTo>
                  <a:lnTo>
                    <a:pt x="1602" y="423"/>
                  </a:lnTo>
                  <a:lnTo>
                    <a:pt x="1599" y="410"/>
                  </a:lnTo>
                  <a:lnTo>
                    <a:pt x="1594" y="398"/>
                  </a:lnTo>
                  <a:lnTo>
                    <a:pt x="1590" y="390"/>
                  </a:lnTo>
                  <a:lnTo>
                    <a:pt x="1584" y="382"/>
                  </a:lnTo>
                  <a:lnTo>
                    <a:pt x="1578" y="375"/>
                  </a:lnTo>
                  <a:lnTo>
                    <a:pt x="1571" y="370"/>
                  </a:lnTo>
                  <a:lnTo>
                    <a:pt x="1563" y="366"/>
                  </a:lnTo>
                  <a:lnTo>
                    <a:pt x="1554" y="363"/>
                  </a:lnTo>
                  <a:lnTo>
                    <a:pt x="1544" y="361"/>
                  </a:lnTo>
                  <a:lnTo>
                    <a:pt x="1535" y="360"/>
                  </a:lnTo>
                  <a:lnTo>
                    <a:pt x="1526" y="361"/>
                  </a:lnTo>
                  <a:lnTo>
                    <a:pt x="1518" y="363"/>
                  </a:lnTo>
                  <a:lnTo>
                    <a:pt x="1510" y="364"/>
                  </a:lnTo>
                  <a:lnTo>
                    <a:pt x="1503" y="366"/>
                  </a:lnTo>
                  <a:lnTo>
                    <a:pt x="1496" y="370"/>
                  </a:lnTo>
                  <a:lnTo>
                    <a:pt x="1489" y="374"/>
                  </a:lnTo>
                  <a:lnTo>
                    <a:pt x="1482" y="379"/>
                  </a:lnTo>
                  <a:lnTo>
                    <a:pt x="1476" y="385"/>
                  </a:lnTo>
                  <a:lnTo>
                    <a:pt x="1470" y="392"/>
                  </a:lnTo>
                  <a:lnTo>
                    <a:pt x="1466" y="401"/>
                  </a:lnTo>
                  <a:lnTo>
                    <a:pt x="1461" y="411"/>
                  </a:lnTo>
                  <a:lnTo>
                    <a:pt x="1458" y="425"/>
                  </a:lnTo>
                  <a:lnTo>
                    <a:pt x="1455" y="439"/>
                  </a:lnTo>
                  <a:lnTo>
                    <a:pt x="1453" y="456"/>
                  </a:lnTo>
                  <a:lnTo>
                    <a:pt x="1452" y="475"/>
                  </a:lnTo>
                  <a:lnTo>
                    <a:pt x="1452" y="496"/>
                  </a:lnTo>
                  <a:lnTo>
                    <a:pt x="1452" y="607"/>
                  </a:lnTo>
                  <a:close/>
                  <a:moveTo>
                    <a:pt x="619" y="850"/>
                  </a:moveTo>
                  <a:lnTo>
                    <a:pt x="619" y="260"/>
                  </a:lnTo>
                  <a:lnTo>
                    <a:pt x="958" y="260"/>
                  </a:lnTo>
                  <a:lnTo>
                    <a:pt x="989" y="260"/>
                  </a:lnTo>
                  <a:lnTo>
                    <a:pt x="1015" y="262"/>
                  </a:lnTo>
                  <a:lnTo>
                    <a:pt x="1038" y="267"/>
                  </a:lnTo>
                  <a:lnTo>
                    <a:pt x="1059" y="271"/>
                  </a:lnTo>
                  <a:lnTo>
                    <a:pt x="1068" y="275"/>
                  </a:lnTo>
                  <a:lnTo>
                    <a:pt x="1078" y="279"/>
                  </a:lnTo>
                  <a:lnTo>
                    <a:pt x="1086" y="284"/>
                  </a:lnTo>
                  <a:lnTo>
                    <a:pt x="1095" y="290"/>
                  </a:lnTo>
                  <a:lnTo>
                    <a:pt x="1103" y="297"/>
                  </a:lnTo>
                  <a:lnTo>
                    <a:pt x="1111" y="304"/>
                  </a:lnTo>
                  <a:lnTo>
                    <a:pt x="1118" y="312"/>
                  </a:lnTo>
                  <a:lnTo>
                    <a:pt x="1126" y="321"/>
                  </a:lnTo>
                  <a:lnTo>
                    <a:pt x="1133" y="330"/>
                  </a:lnTo>
                  <a:lnTo>
                    <a:pt x="1139" y="341"/>
                  </a:lnTo>
                  <a:lnTo>
                    <a:pt x="1144" y="351"/>
                  </a:lnTo>
                  <a:lnTo>
                    <a:pt x="1148" y="361"/>
                  </a:lnTo>
                  <a:lnTo>
                    <a:pt x="1152" y="373"/>
                  </a:lnTo>
                  <a:lnTo>
                    <a:pt x="1154" y="385"/>
                  </a:lnTo>
                  <a:lnTo>
                    <a:pt x="1155" y="397"/>
                  </a:lnTo>
                  <a:lnTo>
                    <a:pt x="1155" y="410"/>
                  </a:lnTo>
                  <a:lnTo>
                    <a:pt x="1155" y="419"/>
                  </a:lnTo>
                  <a:lnTo>
                    <a:pt x="1154" y="430"/>
                  </a:lnTo>
                  <a:lnTo>
                    <a:pt x="1153" y="439"/>
                  </a:lnTo>
                  <a:lnTo>
                    <a:pt x="1151" y="448"/>
                  </a:lnTo>
                  <a:lnTo>
                    <a:pt x="1147" y="456"/>
                  </a:lnTo>
                  <a:lnTo>
                    <a:pt x="1144" y="466"/>
                  </a:lnTo>
                  <a:lnTo>
                    <a:pt x="1140" y="474"/>
                  </a:lnTo>
                  <a:lnTo>
                    <a:pt x="1134" y="482"/>
                  </a:lnTo>
                  <a:lnTo>
                    <a:pt x="1129" y="489"/>
                  </a:lnTo>
                  <a:lnTo>
                    <a:pt x="1123" y="497"/>
                  </a:lnTo>
                  <a:lnTo>
                    <a:pt x="1116" y="504"/>
                  </a:lnTo>
                  <a:lnTo>
                    <a:pt x="1109" y="511"/>
                  </a:lnTo>
                  <a:lnTo>
                    <a:pt x="1101" y="516"/>
                  </a:lnTo>
                  <a:lnTo>
                    <a:pt x="1092" y="523"/>
                  </a:lnTo>
                  <a:lnTo>
                    <a:pt x="1082" y="529"/>
                  </a:lnTo>
                  <a:lnTo>
                    <a:pt x="1072" y="535"/>
                  </a:lnTo>
                  <a:lnTo>
                    <a:pt x="1085" y="541"/>
                  </a:lnTo>
                  <a:lnTo>
                    <a:pt x="1096" y="547"/>
                  </a:lnTo>
                  <a:lnTo>
                    <a:pt x="1107" y="554"/>
                  </a:lnTo>
                  <a:lnTo>
                    <a:pt x="1117" y="560"/>
                  </a:lnTo>
                  <a:lnTo>
                    <a:pt x="1126" y="567"/>
                  </a:lnTo>
                  <a:lnTo>
                    <a:pt x="1134" y="576"/>
                  </a:lnTo>
                  <a:lnTo>
                    <a:pt x="1143" y="584"/>
                  </a:lnTo>
                  <a:lnTo>
                    <a:pt x="1150" y="592"/>
                  </a:lnTo>
                  <a:lnTo>
                    <a:pt x="1155" y="601"/>
                  </a:lnTo>
                  <a:lnTo>
                    <a:pt x="1160" y="610"/>
                  </a:lnTo>
                  <a:lnTo>
                    <a:pt x="1165" y="621"/>
                  </a:lnTo>
                  <a:lnTo>
                    <a:pt x="1168" y="631"/>
                  </a:lnTo>
                  <a:lnTo>
                    <a:pt x="1172" y="641"/>
                  </a:lnTo>
                  <a:lnTo>
                    <a:pt x="1174" y="653"/>
                  </a:lnTo>
                  <a:lnTo>
                    <a:pt x="1175" y="665"/>
                  </a:lnTo>
                  <a:lnTo>
                    <a:pt x="1175" y="677"/>
                  </a:lnTo>
                  <a:lnTo>
                    <a:pt x="1174" y="696"/>
                  </a:lnTo>
                  <a:lnTo>
                    <a:pt x="1172" y="713"/>
                  </a:lnTo>
                  <a:lnTo>
                    <a:pt x="1168" y="731"/>
                  </a:lnTo>
                  <a:lnTo>
                    <a:pt x="1162" y="746"/>
                  </a:lnTo>
                  <a:lnTo>
                    <a:pt x="1155" y="762"/>
                  </a:lnTo>
                  <a:lnTo>
                    <a:pt x="1146" y="776"/>
                  </a:lnTo>
                  <a:lnTo>
                    <a:pt x="1137" y="790"/>
                  </a:lnTo>
                  <a:lnTo>
                    <a:pt x="1124" y="801"/>
                  </a:lnTo>
                  <a:lnTo>
                    <a:pt x="1111" y="813"/>
                  </a:lnTo>
                  <a:lnTo>
                    <a:pt x="1097" y="823"/>
                  </a:lnTo>
                  <a:lnTo>
                    <a:pt x="1081" y="831"/>
                  </a:lnTo>
                  <a:lnTo>
                    <a:pt x="1065" y="838"/>
                  </a:lnTo>
                  <a:lnTo>
                    <a:pt x="1046" y="843"/>
                  </a:lnTo>
                  <a:lnTo>
                    <a:pt x="1027" y="847"/>
                  </a:lnTo>
                  <a:lnTo>
                    <a:pt x="1007" y="850"/>
                  </a:lnTo>
                  <a:lnTo>
                    <a:pt x="985" y="850"/>
                  </a:lnTo>
                  <a:lnTo>
                    <a:pt x="619" y="850"/>
                  </a:lnTo>
                  <a:close/>
                  <a:moveTo>
                    <a:pt x="818" y="489"/>
                  </a:moveTo>
                  <a:lnTo>
                    <a:pt x="921" y="489"/>
                  </a:lnTo>
                  <a:lnTo>
                    <a:pt x="936" y="488"/>
                  </a:lnTo>
                  <a:lnTo>
                    <a:pt x="949" y="485"/>
                  </a:lnTo>
                  <a:lnTo>
                    <a:pt x="955" y="483"/>
                  </a:lnTo>
                  <a:lnTo>
                    <a:pt x="960" y="482"/>
                  </a:lnTo>
                  <a:lnTo>
                    <a:pt x="964" y="478"/>
                  </a:lnTo>
                  <a:lnTo>
                    <a:pt x="969" y="476"/>
                  </a:lnTo>
                  <a:lnTo>
                    <a:pt x="972" y="473"/>
                  </a:lnTo>
                  <a:lnTo>
                    <a:pt x="975" y="468"/>
                  </a:lnTo>
                  <a:lnTo>
                    <a:pt x="977" y="463"/>
                  </a:lnTo>
                  <a:lnTo>
                    <a:pt x="979" y="459"/>
                  </a:lnTo>
                  <a:lnTo>
                    <a:pt x="983" y="446"/>
                  </a:lnTo>
                  <a:lnTo>
                    <a:pt x="983" y="431"/>
                  </a:lnTo>
                  <a:lnTo>
                    <a:pt x="983" y="418"/>
                  </a:lnTo>
                  <a:lnTo>
                    <a:pt x="980" y="408"/>
                  </a:lnTo>
                  <a:lnTo>
                    <a:pt x="978" y="397"/>
                  </a:lnTo>
                  <a:lnTo>
                    <a:pt x="973" y="387"/>
                  </a:lnTo>
                  <a:lnTo>
                    <a:pt x="971" y="382"/>
                  </a:lnTo>
                  <a:lnTo>
                    <a:pt x="967" y="379"/>
                  </a:lnTo>
                  <a:lnTo>
                    <a:pt x="962" y="375"/>
                  </a:lnTo>
                  <a:lnTo>
                    <a:pt x="956" y="373"/>
                  </a:lnTo>
                  <a:lnTo>
                    <a:pt x="949" y="371"/>
                  </a:lnTo>
                  <a:lnTo>
                    <a:pt x="941" y="368"/>
                  </a:lnTo>
                  <a:lnTo>
                    <a:pt x="932" y="368"/>
                  </a:lnTo>
                  <a:lnTo>
                    <a:pt x="921" y="367"/>
                  </a:lnTo>
                  <a:lnTo>
                    <a:pt x="818" y="367"/>
                  </a:lnTo>
                  <a:lnTo>
                    <a:pt x="818" y="489"/>
                  </a:lnTo>
                  <a:close/>
                  <a:moveTo>
                    <a:pt x="818" y="722"/>
                  </a:moveTo>
                  <a:lnTo>
                    <a:pt x="929" y="722"/>
                  </a:lnTo>
                  <a:lnTo>
                    <a:pt x="939" y="722"/>
                  </a:lnTo>
                  <a:lnTo>
                    <a:pt x="948" y="721"/>
                  </a:lnTo>
                  <a:lnTo>
                    <a:pt x="955" y="720"/>
                  </a:lnTo>
                  <a:lnTo>
                    <a:pt x="962" y="718"/>
                  </a:lnTo>
                  <a:lnTo>
                    <a:pt x="969" y="716"/>
                  </a:lnTo>
                  <a:lnTo>
                    <a:pt x="973" y="713"/>
                  </a:lnTo>
                  <a:lnTo>
                    <a:pt x="978" y="710"/>
                  </a:lnTo>
                  <a:lnTo>
                    <a:pt x="982" y="706"/>
                  </a:lnTo>
                  <a:lnTo>
                    <a:pt x="985" y="702"/>
                  </a:lnTo>
                  <a:lnTo>
                    <a:pt x="987" y="697"/>
                  </a:lnTo>
                  <a:lnTo>
                    <a:pt x="990" y="691"/>
                  </a:lnTo>
                  <a:lnTo>
                    <a:pt x="992" y="685"/>
                  </a:lnTo>
                  <a:lnTo>
                    <a:pt x="994" y="672"/>
                  </a:lnTo>
                  <a:lnTo>
                    <a:pt x="995" y="657"/>
                  </a:lnTo>
                  <a:lnTo>
                    <a:pt x="994" y="641"/>
                  </a:lnTo>
                  <a:lnTo>
                    <a:pt x="992" y="628"/>
                  </a:lnTo>
                  <a:lnTo>
                    <a:pt x="990" y="622"/>
                  </a:lnTo>
                  <a:lnTo>
                    <a:pt x="987" y="616"/>
                  </a:lnTo>
                  <a:lnTo>
                    <a:pt x="985" y="611"/>
                  </a:lnTo>
                  <a:lnTo>
                    <a:pt x="982" y="607"/>
                  </a:lnTo>
                  <a:lnTo>
                    <a:pt x="977" y="603"/>
                  </a:lnTo>
                  <a:lnTo>
                    <a:pt x="972" y="600"/>
                  </a:lnTo>
                  <a:lnTo>
                    <a:pt x="968" y="596"/>
                  </a:lnTo>
                  <a:lnTo>
                    <a:pt x="962" y="594"/>
                  </a:lnTo>
                  <a:lnTo>
                    <a:pt x="955" y="592"/>
                  </a:lnTo>
                  <a:lnTo>
                    <a:pt x="947" y="591"/>
                  </a:lnTo>
                  <a:lnTo>
                    <a:pt x="939" y="589"/>
                  </a:lnTo>
                  <a:lnTo>
                    <a:pt x="929" y="589"/>
                  </a:lnTo>
                  <a:lnTo>
                    <a:pt x="818" y="589"/>
                  </a:lnTo>
                  <a:lnTo>
                    <a:pt x="818" y="722"/>
                  </a:lnTo>
                  <a:close/>
                </a:path>
              </a:pathLst>
            </a:custGeom>
            <a:solidFill>
              <a:srgbClr val="005C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23925"/>
            <a:ext cx="3792598" cy="5934075"/>
          </a:xfrm>
          <a:prstGeom prst="rect">
            <a:avLst/>
          </a:prstGeom>
        </p:spPr>
      </p:pic>
      <p:sp>
        <p:nvSpPr>
          <p:cNvPr id="17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4074083" y="5546613"/>
            <a:ext cx="4819092" cy="928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ФИО выступающего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Название мероприятия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Город, ХХ месяц 20ХХ</a:t>
            </a:r>
          </a:p>
        </p:txBody>
      </p:sp>
      <p:sp>
        <p:nvSpPr>
          <p:cNvPr id="18" name="Title 1"/>
          <p:cNvSpPr>
            <a:spLocks noGrp="1"/>
          </p:cNvSpPr>
          <p:nvPr>
            <p:ph type="ctrTitle" hasCustomPrompt="1"/>
          </p:nvPr>
        </p:nvSpPr>
        <p:spPr>
          <a:xfrm>
            <a:off x="4074080" y="1311275"/>
            <a:ext cx="4824413" cy="1368000"/>
          </a:xfrm>
        </p:spPr>
        <p:txBody>
          <a:bodyPr lIns="0" tIns="0" rIns="0" bIns="0" anchor="b">
            <a:noAutofit/>
          </a:bodyPr>
          <a:lstStyle>
            <a:lvl1pPr algn="l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ок презентации,</a:t>
            </a:r>
            <a:br>
              <a:rPr lang="ru-RU" dirty="0" smtClean="0"/>
            </a:br>
            <a:r>
              <a:rPr lang="ru-RU" dirty="0" smtClean="0"/>
              <a:t>в одну, две или три</a:t>
            </a:r>
            <a:br>
              <a:rPr lang="ru-RU" dirty="0" smtClean="0"/>
            </a:br>
            <a:r>
              <a:rPr lang="ru-RU" dirty="0" smtClean="0"/>
              <a:t>строки</a:t>
            </a:r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-1996475" y="53469"/>
            <a:ext cx="1447313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Clr>
                <a:schemeClr val="accent1"/>
              </a:buClr>
            </a:pPr>
            <a:r>
              <a:rPr lang="ru-RU" sz="1100" b="1" dirty="0" smtClean="0"/>
              <a:t>Вариант №1 титульного слайда</a:t>
            </a:r>
          </a:p>
          <a:p>
            <a:pPr>
              <a:spcBef>
                <a:spcPts val="1200"/>
              </a:spcBef>
              <a:buClr>
                <a:schemeClr val="accent1"/>
              </a:buClr>
            </a:pPr>
            <a:r>
              <a:rPr lang="ru-RU" sz="1100" b="1" dirty="0" smtClean="0"/>
              <a:t>Пример наполнения слайда</a:t>
            </a:r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74114" y="919635"/>
            <a:ext cx="1992629" cy="1493593"/>
          </a:xfrm>
          <a:prstGeom prst="rect">
            <a:avLst/>
          </a:prstGeom>
          <a:ln>
            <a:solidFill>
              <a:schemeClr val="accent3"/>
            </a:solidFill>
          </a:ln>
        </p:spPr>
      </p:pic>
      <p:sp>
        <p:nvSpPr>
          <p:cNvPr id="21" name="TextBox 20"/>
          <p:cNvSpPr txBox="1"/>
          <p:nvPr userDrawn="1"/>
        </p:nvSpPr>
        <p:spPr>
          <a:xfrm>
            <a:off x="-1886708" y="2750977"/>
            <a:ext cx="1337546" cy="14157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Clr>
                <a:schemeClr val="accent1"/>
              </a:buClr>
            </a:pPr>
            <a:r>
              <a:rPr lang="ru-RU" sz="1100" b="1" dirty="0" smtClean="0"/>
              <a:t>Введите</a:t>
            </a:r>
            <a:r>
              <a:rPr lang="ru-RU" sz="1100" b="1" baseline="0" dirty="0" smtClean="0"/>
              <a:t> </a:t>
            </a:r>
            <a:br>
              <a:rPr lang="ru-RU" sz="1100" b="1" baseline="0" dirty="0" smtClean="0"/>
            </a:br>
            <a:r>
              <a:rPr lang="ru-RU" sz="1100" b="1" baseline="0" dirty="0" smtClean="0"/>
              <a:t>в заполнитель текст:</a:t>
            </a:r>
          </a:p>
          <a:p>
            <a:pPr marL="171450" indent="-1714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b="0" baseline="0" dirty="0" smtClean="0"/>
              <a:t>Заголовок</a:t>
            </a:r>
          </a:p>
          <a:p>
            <a:pPr marL="171450" indent="-1714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b="0" baseline="0" dirty="0" smtClean="0"/>
              <a:t>Подзаголовок (если требуется)</a:t>
            </a:r>
          </a:p>
          <a:p>
            <a:pPr marL="171450" indent="-1714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b="0" baseline="0" dirty="0" smtClean="0"/>
              <a:t>Данные</a:t>
            </a:r>
            <a:endParaRPr lang="ru-RU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30152564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5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объекта и три изобра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1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Шесть объектов</a:t>
            </a:r>
            <a:endParaRPr lang="ru-RU" dirty="0"/>
          </a:p>
        </p:txBody>
      </p:sp>
      <p:sp>
        <p:nvSpPr>
          <p:cNvPr id="20" name="Рисунок 19"/>
          <p:cNvSpPr>
            <a:spLocks noGrp="1"/>
          </p:cNvSpPr>
          <p:nvPr>
            <p:ph type="pic" sz="quarter" idx="25"/>
          </p:nvPr>
        </p:nvSpPr>
        <p:spPr>
          <a:xfrm>
            <a:off x="-4446" y="3174899"/>
            <a:ext cx="4422459" cy="1504800"/>
          </a:xfrm>
          <a:custGeom>
            <a:avLst/>
            <a:gdLst>
              <a:gd name="connsiteX0" fmla="*/ 0 w 4422459"/>
              <a:gd name="connsiteY0" fmla="*/ 0 h 1504800"/>
              <a:gd name="connsiteX1" fmla="*/ 4422459 w 4422459"/>
              <a:gd name="connsiteY1" fmla="*/ 0 h 1504800"/>
              <a:gd name="connsiteX2" fmla="*/ 4422459 w 4422459"/>
              <a:gd name="connsiteY2" fmla="*/ 1504800 h 1504800"/>
              <a:gd name="connsiteX3" fmla="*/ 0 w 4422459"/>
              <a:gd name="connsiteY3" fmla="*/ 1504800 h 15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22459" h="1504800">
                <a:moveTo>
                  <a:pt x="0" y="0"/>
                </a:moveTo>
                <a:lnTo>
                  <a:pt x="4422459" y="0"/>
                </a:lnTo>
                <a:lnTo>
                  <a:pt x="4422459" y="1504800"/>
                </a:lnTo>
                <a:lnTo>
                  <a:pt x="0" y="15048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9" name="Рисунок 18"/>
          <p:cNvSpPr>
            <a:spLocks noGrp="1"/>
          </p:cNvSpPr>
          <p:nvPr>
            <p:ph type="pic" sz="quarter" idx="26"/>
          </p:nvPr>
        </p:nvSpPr>
        <p:spPr>
          <a:xfrm>
            <a:off x="0" y="1385259"/>
            <a:ext cx="4422458" cy="1508400"/>
          </a:xfrm>
          <a:custGeom>
            <a:avLst/>
            <a:gdLst>
              <a:gd name="connsiteX0" fmla="*/ 0 w 4422458"/>
              <a:gd name="connsiteY0" fmla="*/ 0 h 1508400"/>
              <a:gd name="connsiteX1" fmla="*/ 220345 w 4422458"/>
              <a:gd name="connsiteY1" fmla="*/ 0 h 1508400"/>
              <a:gd name="connsiteX2" fmla="*/ 1309370 w 4422458"/>
              <a:gd name="connsiteY2" fmla="*/ 0 h 1508400"/>
              <a:gd name="connsiteX3" fmla="*/ 1546231 w 4422458"/>
              <a:gd name="connsiteY3" fmla="*/ 0 h 1508400"/>
              <a:gd name="connsiteX4" fmla="*/ 2198370 w 4422458"/>
              <a:gd name="connsiteY4" fmla="*/ 0 h 1508400"/>
              <a:gd name="connsiteX5" fmla="*/ 2827541 w 4422458"/>
              <a:gd name="connsiteY5" fmla="*/ 0 h 1508400"/>
              <a:gd name="connsiteX6" fmla="*/ 4422458 w 4422458"/>
              <a:gd name="connsiteY6" fmla="*/ 1506501 h 1508400"/>
              <a:gd name="connsiteX7" fmla="*/ 4422361 w 4422458"/>
              <a:gd name="connsiteY7" fmla="*/ 1508327 h 1508400"/>
              <a:gd name="connsiteX8" fmla="*/ 2198370 w 4422458"/>
              <a:gd name="connsiteY8" fmla="*/ 1508327 h 1508400"/>
              <a:gd name="connsiteX9" fmla="*/ 2198370 w 4422458"/>
              <a:gd name="connsiteY9" fmla="*/ 1508400 h 1508400"/>
              <a:gd name="connsiteX10" fmla="*/ 1309370 w 4422458"/>
              <a:gd name="connsiteY10" fmla="*/ 1508400 h 1508400"/>
              <a:gd name="connsiteX11" fmla="*/ 220345 w 4422458"/>
              <a:gd name="connsiteY11" fmla="*/ 1508400 h 1508400"/>
              <a:gd name="connsiteX12" fmla="*/ 0 w 4422458"/>
              <a:gd name="connsiteY12" fmla="*/ 1508400 h 150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22458" h="1508400">
                <a:moveTo>
                  <a:pt x="0" y="0"/>
                </a:moveTo>
                <a:lnTo>
                  <a:pt x="220345" y="0"/>
                </a:lnTo>
                <a:lnTo>
                  <a:pt x="1309370" y="0"/>
                </a:lnTo>
                <a:lnTo>
                  <a:pt x="1546231" y="0"/>
                </a:lnTo>
                <a:lnTo>
                  <a:pt x="2198370" y="0"/>
                </a:lnTo>
                <a:lnTo>
                  <a:pt x="2827541" y="0"/>
                </a:lnTo>
                <a:cubicBezTo>
                  <a:pt x="3708390" y="0"/>
                  <a:pt x="4422458" y="674484"/>
                  <a:pt x="4422458" y="1506501"/>
                </a:cubicBezTo>
                <a:lnTo>
                  <a:pt x="4422361" y="1508327"/>
                </a:lnTo>
                <a:lnTo>
                  <a:pt x="2198370" y="1508327"/>
                </a:lnTo>
                <a:lnTo>
                  <a:pt x="2198370" y="1508400"/>
                </a:lnTo>
                <a:lnTo>
                  <a:pt x="1309370" y="1508400"/>
                </a:lnTo>
                <a:lnTo>
                  <a:pt x="220345" y="1508400"/>
                </a:lnTo>
                <a:lnTo>
                  <a:pt x="0" y="15084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8"/>
          </p:nvPr>
        </p:nvSpPr>
        <p:spPr>
          <a:xfrm>
            <a:off x="4724400" y="1385259"/>
            <a:ext cx="4168775" cy="15084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29"/>
          </p:nvPr>
        </p:nvSpPr>
        <p:spPr>
          <a:xfrm>
            <a:off x="4724400" y="4960938"/>
            <a:ext cx="4168775" cy="15084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30"/>
          </p:nvPr>
        </p:nvSpPr>
        <p:spPr>
          <a:xfrm>
            <a:off x="4724400" y="3174899"/>
            <a:ext cx="4168775" cy="15048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22" name="Рисунок 21"/>
          <p:cNvSpPr>
            <a:spLocks noGrp="1"/>
          </p:cNvSpPr>
          <p:nvPr>
            <p:ph type="pic" sz="quarter" idx="31"/>
          </p:nvPr>
        </p:nvSpPr>
        <p:spPr>
          <a:xfrm>
            <a:off x="0" y="4967013"/>
            <a:ext cx="4422458" cy="1508400"/>
          </a:xfrm>
          <a:custGeom>
            <a:avLst/>
            <a:gdLst>
              <a:gd name="connsiteX0" fmla="*/ 0 w 4422458"/>
              <a:gd name="connsiteY0" fmla="*/ 0 h 1508400"/>
              <a:gd name="connsiteX1" fmla="*/ 220345 w 4422458"/>
              <a:gd name="connsiteY1" fmla="*/ 0 h 1508400"/>
              <a:gd name="connsiteX2" fmla="*/ 956637 w 4422458"/>
              <a:gd name="connsiteY2" fmla="*/ 0 h 1508400"/>
              <a:gd name="connsiteX3" fmla="*/ 1074420 w 4422458"/>
              <a:gd name="connsiteY3" fmla="*/ 0 h 1508400"/>
              <a:gd name="connsiteX4" fmla="*/ 2198370 w 4422458"/>
              <a:gd name="connsiteY4" fmla="*/ 0 h 1508400"/>
              <a:gd name="connsiteX5" fmla="*/ 4422458 w 4422458"/>
              <a:gd name="connsiteY5" fmla="*/ 0 h 1508400"/>
              <a:gd name="connsiteX6" fmla="*/ 4390170 w 4422458"/>
              <a:gd name="connsiteY6" fmla="*/ 302535 h 1508400"/>
              <a:gd name="connsiteX7" fmla="*/ 2827656 w 4422458"/>
              <a:gd name="connsiteY7" fmla="*/ 1505423 h 1508400"/>
              <a:gd name="connsiteX8" fmla="*/ 2198370 w 4422458"/>
              <a:gd name="connsiteY8" fmla="*/ 1505423 h 1508400"/>
              <a:gd name="connsiteX9" fmla="*/ 2198370 w 4422458"/>
              <a:gd name="connsiteY9" fmla="*/ 1508400 h 1508400"/>
              <a:gd name="connsiteX10" fmla="*/ 0 w 4422458"/>
              <a:gd name="connsiteY10" fmla="*/ 1508400 h 1508400"/>
              <a:gd name="connsiteX0" fmla="*/ 0 w 4612044"/>
              <a:gd name="connsiteY0" fmla="*/ 89630 h 1598030"/>
              <a:gd name="connsiteX1" fmla="*/ 220345 w 4612044"/>
              <a:gd name="connsiteY1" fmla="*/ 89630 h 1598030"/>
              <a:gd name="connsiteX2" fmla="*/ 956637 w 4612044"/>
              <a:gd name="connsiteY2" fmla="*/ 89630 h 1598030"/>
              <a:gd name="connsiteX3" fmla="*/ 1074420 w 4612044"/>
              <a:gd name="connsiteY3" fmla="*/ 89630 h 1598030"/>
              <a:gd name="connsiteX4" fmla="*/ 2198370 w 4612044"/>
              <a:gd name="connsiteY4" fmla="*/ 89630 h 1598030"/>
              <a:gd name="connsiteX5" fmla="*/ 4422458 w 4612044"/>
              <a:gd name="connsiteY5" fmla="*/ 89630 h 1598030"/>
              <a:gd name="connsiteX6" fmla="*/ 4390170 w 4612044"/>
              <a:gd name="connsiteY6" fmla="*/ 392165 h 1598030"/>
              <a:gd name="connsiteX7" fmla="*/ 2827656 w 4612044"/>
              <a:gd name="connsiteY7" fmla="*/ 1595053 h 1598030"/>
              <a:gd name="connsiteX8" fmla="*/ 2198370 w 4612044"/>
              <a:gd name="connsiteY8" fmla="*/ 1595053 h 1598030"/>
              <a:gd name="connsiteX9" fmla="*/ 2198370 w 4612044"/>
              <a:gd name="connsiteY9" fmla="*/ 1598030 h 1598030"/>
              <a:gd name="connsiteX10" fmla="*/ 0 w 4612044"/>
              <a:gd name="connsiteY10" fmla="*/ 1598030 h 1598030"/>
              <a:gd name="connsiteX11" fmla="*/ 0 w 4612044"/>
              <a:gd name="connsiteY11" fmla="*/ 89630 h 1598030"/>
              <a:gd name="connsiteX0" fmla="*/ 0 w 4466088"/>
              <a:gd name="connsiteY0" fmla="*/ 42115 h 1550515"/>
              <a:gd name="connsiteX1" fmla="*/ 220345 w 4466088"/>
              <a:gd name="connsiteY1" fmla="*/ 42115 h 1550515"/>
              <a:gd name="connsiteX2" fmla="*/ 956637 w 4466088"/>
              <a:gd name="connsiteY2" fmla="*/ 42115 h 1550515"/>
              <a:gd name="connsiteX3" fmla="*/ 1074420 w 4466088"/>
              <a:gd name="connsiteY3" fmla="*/ 42115 h 1550515"/>
              <a:gd name="connsiteX4" fmla="*/ 2198370 w 4466088"/>
              <a:gd name="connsiteY4" fmla="*/ 42115 h 1550515"/>
              <a:gd name="connsiteX5" fmla="*/ 4422458 w 4466088"/>
              <a:gd name="connsiteY5" fmla="*/ 42115 h 1550515"/>
              <a:gd name="connsiteX6" fmla="*/ 4390170 w 4466088"/>
              <a:gd name="connsiteY6" fmla="*/ 344650 h 1550515"/>
              <a:gd name="connsiteX7" fmla="*/ 2827656 w 4466088"/>
              <a:gd name="connsiteY7" fmla="*/ 1547538 h 1550515"/>
              <a:gd name="connsiteX8" fmla="*/ 2198370 w 4466088"/>
              <a:gd name="connsiteY8" fmla="*/ 1547538 h 1550515"/>
              <a:gd name="connsiteX9" fmla="*/ 2198370 w 4466088"/>
              <a:gd name="connsiteY9" fmla="*/ 1550515 h 1550515"/>
              <a:gd name="connsiteX10" fmla="*/ 0 w 4466088"/>
              <a:gd name="connsiteY10" fmla="*/ 1550515 h 1550515"/>
              <a:gd name="connsiteX11" fmla="*/ 0 w 4466088"/>
              <a:gd name="connsiteY11" fmla="*/ 42115 h 1550515"/>
              <a:gd name="connsiteX0" fmla="*/ 0 w 4433932"/>
              <a:gd name="connsiteY0" fmla="*/ 0 h 1508400"/>
              <a:gd name="connsiteX1" fmla="*/ 220345 w 4433932"/>
              <a:gd name="connsiteY1" fmla="*/ 0 h 1508400"/>
              <a:gd name="connsiteX2" fmla="*/ 956637 w 4433932"/>
              <a:gd name="connsiteY2" fmla="*/ 0 h 1508400"/>
              <a:gd name="connsiteX3" fmla="*/ 1074420 w 4433932"/>
              <a:gd name="connsiteY3" fmla="*/ 0 h 1508400"/>
              <a:gd name="connsiteX4" fmla="*/ 2198370 w 4433932"/>
              <a:gd name="connsiteY4" fmla="*/ 0 h 1508400"/>
              <a:gd name="connsiteX5" fmla="*/ 4422458 w 4433932"/>
              <a:gd name="connsiteY5" fmla="*/ 0 h 1508400"/>
              <a:gd name="connsiteX6" fmla="*/ 4390170 w 4433932"/>
              <a:gd name="connsiteY6" fmla="*/ 302535 h 1508400"/>
              <a:gd name="connsiteX7" fmla="*/ 2827656 w 4433932"/>
              <a:gd name="connsiteY7" fmla="*/ 1505423 h 1508400"/>
              <a:gd name="connsiteX8" fmla="*/ 2198370 w 4433932"/>
              <a:gd name="connsiteY8" fmla="*/ 1505423 h 1508400"/>
              <a:gd name="connsiteX9" fmla="*/ 2198370 w 4433932"/>
              <a:gd name="connsiteY9" fmla="*/ 1508400 h 1508400"/>
              <a:gd name="connsiteX10" fmla="*/ 0 w 4433932"/>
              <a:gd name="connsiteY10" fmla="*/ 1508400 h 1508400"/>
              <a:gd name="connsiteX11" fmla="*/ 0 w 4433932"/>
              <a:gd name="connsiteY11" fmla="*/ 0 h 1508400"/>
              <a:gd name="connsiteX0" fmla="*/ 0 w 4468161"/>
              <a:gd name="connsiteY0" fmla="*/ 60703 h 1569103"/>
              <a:gd name="connsiteX1" fmla="*/ 220345 w 4468161"/>
              <a:gd name="connsiteY1" fmla="*/ 60703 h 1569103"/>
              <a:gd name="connsiteX2" fmla="*/ 956637 w 4468161"/>
              <a:gd name="connsiteY2" fmla="*/ 60703 h 1569103"/>
              <a:gd name="connsiteX3" fmla="*/ 1074420 w 4468161"/>
              <a:gd name="connsiteY3" fmla="*/ 60703 h 1569103"/>
              <a:gd name="connsiteX4" fmla="*/ 2198370 w 4468161"/>
              <a:gd name="connsiteY4" fmla="*/ 60703 h 1569103"/>
              <a:gd name="connsiteX5" fmla="*/ 4422458 w 4468161"/>
              <a:gd name="connsiteY5" fmla="*/ 60703 h 1569103"/>
              <a:gd name="connsiteX6" fmla="*/ 4390170 w 4468161"/>
              <a:gd name="connsiteY6" fmla="*/ 363238 h 1569103"/>
              <a:gd name="connsiteX7" fmla="*/ 2827656 w 4468161"/>
              <a:gd name="connsiteY7" fmla="*/ 1566126 h 1569103"/>
              <a:gd name="connsiteX8" fmla="*/ 2198370 w 4468161"/>
              <a:gd name="connsiteY8" fmla="*/ 1566126 h 1569103"/>
              <a:gd name="connsiteX9" fmla="*/ 2198370 w 4468161"/>
              <a:gd name="connsiteY9" fmla="*/ 1569103 h 1569103"/>
              <a:gd name="connsiteX10" fmla="*/ 0 w 4468161"/>
              <a:gd name="connsiteY10" fmla="*/ 1569103 h 1569103"/>
              <a:gd name="connsiteX11" fmla="*/ 0 w 4468161"/>
              <a:gd name="connsiteY11" fmla="*/ 60703 h 1569103"/>
              <a:gd name="connsiteX0" fmla="*/ 0 w 4522643"/>
              <a:gd name="connsiteY0" fmla="*/ 69550 h 1577950"/>
              <a:gd name="connsiteX1" fmla="*/ 220345 w 4522643"/>
              <a:gd name="connsiteY1" fmla="*/ 69550 h 1577950"/>
              <a:gd name="connsiteX2" fmla="*/ 956637 w 4522643"/>
              <a:gd name="connsiteY2" fmla="*/ 69550 h 1577950"/>
              <a:gd name="connsiteX3" fmla="*/ 1074420 w 4522643"/>
              <a:gd name="connsiteY3" fmla="*/ 69550 h 1577950"/>
              <a:gd name="connsiteX4" fmla="*/ 2198370 w 4522643"/>
              <a:gd name="connsiteY4" fmla="*/ 69550 h 1577950"/>
              <a:gd name="connsiteX5" fmla="*/ 4422458 w 4522643"/>
              <a:gd name="connsiteY5" fmla="*/ 69550 h 1577950"/>
              <a:gd name="connsiteX6" fmla="*/ 4390170 w 4522643"/>
              <a:gd name="connsiteY6" fmla="*/ 372085 h 1577950"/>
              <a:gd name="connsiteX7" fmla="*/ 2827656 w 4522643"/>
              <a:gd name="connsiteY7" fmla="*/ 1574973 h 1577950"/>
              <a:gd name="connsiteX8" fmla="*/ 2198370 w 4522643"/>
              <a:gd name="connsiteY8" fmla="*/ 1574973 h 1577950"/>
              <a:gd name="connsiteX9" fmla="*/ 2198370 w 4522643"/>
              <a:gd name="connsiteY9" fmla="*/ 1577950 h 1577950"/>
              <a:gd name="connsiteX10" fmla="*/ 0 w 4522643"/>
              <a:gd name="connsiteY10" fmla="*/ 1577950 h 1577950"/>
              <a:gd name="connsiteX11" fmla="*/ 0 w 4522643"/>
              <a:gd name="connsiteY11" fmla="*/ 69550 h 1577950"/>
              <a:gd name="connsiteX0" fmla="*/ 0 w 4428334"/>
              <a:gd name="connsiteY0" fmla="*/ 0 h 1508400"/>
              <a:gd name="connsiteX1" fmla="*/ 220345 w 4428334"/>
              <a:gd name="connsiteY1" fmla="*/ 0 h 1508400"/>
              <a:gd name="connsiteX2" fmla="*/ 956637 w 4428334"/>
              <a:gd name="connsiteY2" fmla="*/ 0 h 1508400"/>
              <a:gd name="connsiteX3" fmla="*/ 1074420 w 4428334"/>
              <a:gd name="connsiteY3" fmla="*/ 0 h 1508400"/>
              <a:gd name="connsiteX4" fmla="*/ 2198370 w 4428334"/>
              <a:gd name="connsiteY4" fmla="*/ 0 h 1508400"/>
              <a:gd name="connsiteX5" fmla="*/ 4422458 w 4428334"/>
              <a:gd name="connsiteY5" fmla="*/ 0 h 1508400"/>
              <a:gd name="connsiteX6" fmla="*/ 2827656 w 4428334"/>
              <a:gd name="connsiteY6" fmla="*/ 1505423 h 1508400"/>
              <a:gd name="connsiteX7" fmla="*/ 2198370 w 4428334"/>
              <a:gd name="connsiteY7" fmla="*/ 1505423 h 1508400"/>
              <a:gd name="connsiteX8" fmla="*/ 2198370 w 4428334"/>
              <a:gd name="connsiteY8" fmla="*/ 1508400 h 1508400"/>
              <a:gd name="connsiteX9" fmla="*/ 0 w 4428334"/>
              <a:gd name="connsiteY9" fmla="*/ 1508400 h 1508400"/>
              <a:gd name="connsiteX10" fmla="*/ 0 w 4428334"/>
              <a:gd name="connsiteY10" fmla="*/ 0 h 1508400"/>
              <a:gd name="connsiteX0" fmla="*/ 0 w 4422514"/>
              <a:gd name="connsiteY0" fmla="*/ 0 h 1508400"/>
              <a:gd name="connsiteX1" fmla="*/ 220345 w 4422514"/>
              <a:gd name="connsiteY1" fmla="*/ 0 h 1508400"/>
              <a:gd name="connsiteX2" fmla="*/ 956637 w 4422514"/>
              <a:gd name="connsiteY2" fmla="*/ 0 h 1508400"/>
              <a:gd name="connsiteX3" fmla="*/ 1074420 w 4422514"/>
              <a:gd name="connsiteY3" fmla="*/ 0 h 1508400"/>
              <a:gd name="connsiteX4" fmla="*/ 2198370 w 4422514"/>
              <a:gd name="connsiteY4" fmla="*/ 0 h 1508400"/>
              <a:gd name="connsiteX5" fmla="*/ 4422458 w 4422514"/>
              <a:gd name="connsiteY5" fmla="*/ 0 h 1508400"/>
              <a:gd name="connsiteX6" fmla="*/ 2827656 w 4422514"/>
              <a:gd name="connsiteY6" fmla="*/ 1505423 h 1508400"/>
              <a:gd name="connsiteX7" fmla="*/ 2198370 w 4422514"/>
              <a:gd name="connsiteY7" fmla="*/ 1505423 h 1508400"/>
              <a:gd name="connsiteX8" fmla="*/ 2198370 w 4422514"/>
              <a:gd name="connsiteY8" fmla="*/ 1508400 h 1508400"/>
              <a:gd name="connsiteX9" fmla="*/ 0 w 4422514"/>
              <a:gd name="connsiteY9" fmla="*/ 1508400 h 1508400"/>
              <a:gd name="connsiteX10" fmla="*/ 0 w 4422514"/>
              <a:gd name="connsiteY10" fmla="*/ 0 h 1508400"/>
              <a:gd name="connsiteX0" fmla="*/ 0 w 4422519"/>
              <a:gd name="connsiteY0" fmla="*/ 0 h 1508400"/>
              <a:gd name="connsiteX1" fmla="*/ 220345 w 4422519"/>
              <a:gd name="connsiteY1" fmla="*/ 0 h 1508400"/>
              <a:gd name="connsiteX2" fmla="*/ 956637 w 4422519"/>
              <a:gd name="connsiteY2" fmla="*/ 0 h 1508400"/>
              <a:gd name="connsiteX3" fmla="*/ 1074420 w 4422519"/>
              <a:gd name="connsiteY3" fmla="*/ 0 h 1508400"/>
              <a:gd name="connsiteX4" fmla="*/ 2198370 w 4422519"/>
              <a:gd name="connsiteY4" fmla="*/ 0 h 1508400"/>
              <a:gd name="connsiteX5" fmla="*/ 4422458 w 4422519"/>
              <a:gd name="connsiteY5" fmla="*/ 0 h 1508400"/>
              <a:gd name="connsiteX6" fmla="*/ 2827656 w 4422519"/>
              <a:gd name="connsiteY6" fmla="*/ 1505423 h 1508400"/>
              <a:gd name="connsiteX7" fmla="*/ 2198370 w 4422519"/>
              <a:gd name="connsiteY7" fmla="*/ 1505423 h 1508400"/>
              <a:gd name="connsiteX8" fmla="*/ 2198370 w 4422519"/>
              <a:gd name="connsiteY8" fmla="*/ 1508400 h 1508400"/>
              <a:gd name="connsiteX9" fmla="*/ 0 w 4422519"/>
              <a:gd name="connsiteY9" fmla="*/ 1508400 h 1508400"/>
              <a:gd name="connsiteX10" fmla="*/ 0 w 4422519"/>
              <a:gd name="connsiteY10" fmla="*/ 0 h 1508400"/>
              <a:gd name="connsiteX0" fmla="*/ 0 w 4422458"/>
              <a:gd name="connsiteY0" fmla="*/ 0 h 1508400"/>
              <a:gd name="connsiteX1" fmla="*/ 220345 w 4422458"/>
              <a:gd name="connsiteY1" fmla="*/ 0 h 1508400"/>
              <a:gd name="connsiteX2" fmla="*/ 956637 w 4422458"/>
              <a:gd name="connsiteY2" fmla="*/ 0 h 1508400"/>
              <a:gd name="connsiteX3" fmla="*/ 1074420 w 4422458"/>
              <a:gd name="connsiteY3" fmla="*/ 0 h 1508400"/>
              <a:gd name="connsiteX4" fmla="*/ 2198370 w 4422458"/>
              <a:gd name="connsiteY4" fmla="*/ 0 h 1508400"/>
              <a:gd name="connsiteX5" fmla="*/ 4422458 w 4422458"/>
              <a:gd name="connsiteY5" fmla="*/ 0 h 1508400"/>
              <a:gd name="connsiteX6" fmla="*/ 2827656 w 4422458"/>
              <a:gd name="connsiteY6" fmla="*/ 1505423 h 1508400"/>
              <a:gd name="connsiteX7" fmla="*/ 2198370 w 4422458"/>
              <a:gd name="connsiteY7" fmla="*/ 1505423 h 1508400"/>
              <a:gd name="connsiteX8" fmla="*/ 2198370 w 4422458"/>
              <a:gd name="connsiteY8" fmla="*/ 1508400 h 1508400"/>
              <a:gd name="connsiteX9" fmla="*/ 0 w 4422458"/>
              <a:gd name="connsiteY9" fmla="*/ 1508400 h 1508400"/>
              <a:gd name="connsiteX10" fmla="*/ 0 w 4422458"/>
              <a:gd name="connsiteY10" fmla="*/ 0 h 1508400"/>
              <a:gd name="connsiteX0" fmla="*/ 0 w 4422458"/>
              <a:gd name="connsiteY0" fmla="*/ 0 h 1508400"/>
              <a:gd name="connsiteX1" fmla="*/ 220345 w 4422458"/>
              <a:gd name="connsiteY1" fmla="*/ 0 h 1508400"/>
              <a:gd name="connsiteX2" fmla="*/ 956637 w 4422458"/>
              <a:gd name="connsiteY2" fmla="*/ 0 h 1508400"/>
              <a:gd name="connsiteX3" fmla="*/ 1074420 w 4422458"/>
              <a:gd name="connsiteY3" fmla="*/ 0 h 1508400"/>
              <a:gd name="connsiteX4" fmla="*/ 2198370 w 4422458"/>
              <a:gd name="connsiteY4" fmla="*/ 0 h 1508400"/>
              <a:gd name="connsiteX5" fmla="*/ 4422458 w 4422458"/>
              <a:gd name="connsiteY5" fmla="*/ 0 h 1508400"/>
              <a:gd name="connsiteX6" fmla="*/ 2827656 w 4422458"/>
              <a:gd name="connsiteY6" fmla="*/ 1505423 h 1508400"/>
              <a:gd name="connsiteX7" fmla="*/ 2198370 w 4422458"/>
              <a:gd name="connsiteY7" fmla="*/ 1505423 h 1508400"/>
              <a:gd name="connsiteX8" fmla="*/ 2198370 w 4422458"/>
              <a:gd name="connsiteY8" fmla="*/ 1508400 h 1508400"/>
              <a:gd name="connsiteX9" fmla="*/ 0 w 4422458"/>
              <a:gd name="connsiteY9" fmla="*/ 1508400 h 1508400"/>
              <a:gd name="connsiteX10" fmla="*/ 0 w 4422458"/>
              <a:gd name="connsiteY10" fmla="*/ 0 h 1508400"/>
              <a:gd name="connsiteX0" fmla="*/ 0 w 4422458"/>
              <a:gd name="connsiteY0" fmla="*/ 0 h 1508400"/>
              <a:gd name="connsiteX1" fmla="*/ 220345 w 4422458"/>
              <a:gd name="connsiteY1" fmla="*/ 0 h 1508400"/>
              <a:gd name="connsiteX2" fmla="*/ 956637 w 4422458"/>
              <a:gd name="connsiteY2" fmla="*/ 0 h 1508400"/>
              <a:gd name="connsiteX3" fmla="*/ 1074420 w 4422458"/>
              <a:gd name="connsiteY3" fmla="*/ 0 h 1508400"/>
              <a:gd name="connsiteX4" fmla="*/ 2198370 w 4422458"/>
              <a:gd name="connsiteY4" fmla="*/ 0 h 1508400"/>
              <a:gd name="connsiteX5" fmla="*/ 4422458 w 4422458"/>
              <a:gd name="connsiteY5" fmla="*/ 0 h 1508400"/>
              <a:gd name="connsiteX6" fmla="*/ 2827656 w 4422458"/>
              <a:gd name="connsiteY6" fmla="*/ 1505423 h 1508400"/>
              <a:gd name="connsiteX7" fmla="*/ 2198370 w 4422458"/>
              <a:gd name="connsiteY7" fmla="*/ 1505423 h 1508400"/>
              <a:gd name="connsiteX8" fmla="*/ 2198370 w 4422458"/>
              <a:gd name="connsiteY8" fmla="*/ 1508400 h 1508400"/>
              <a:gd name="connsiteX9" fmla="*/ 0 w 4422458"/>
              <a:gd name="connsiteY9" fmla="*/ 1508400 h 1508400"/>
              <a:gd name="connsiteX10" fmla="*/ 0 w 4422458"/>
              <a:gd name="connsiteY10" fmla="*/ 0 h 1508400"/>
              <a:gd name="connsiteX0" fmla="*/ 0 w 4422458"/>
              <a:gd name="connsiteY0" fmla="*/ 0 h 1508400"/>
              <a:gd name="connsiteX1" fmla="*/ 220345 w 4422458"/>
              <a:gd name="connsiteY1" fmla="*/ 0 h 1508400"/>
              <a:gd name="connsiteX2" fmla="*/ 956637 w 4422458"/>
              <a:gd name="connsiteY2" fmla="*/ 0 h 1508400"/>
              <a:gd name="connsiteX3" fmla="*/ 1074420 w 4422458"/>
              <a:gd name="connsiteY3" fmla="*/ 0 h 1508400"/>
              <a:gd name="connsiteX4" fmla="*/ 2198370 w 4422458"/>
              <a:gd name="connsiteY4" fmla="*/ 0 h 1508400"/>
              <a:gd name="connsiteX5" fmla="*/ 4422458 w 4422458"/>
              <a:gd name="connsiteY5" fmla="*/ 0 h 1508400"/>
              <a:gd name="connsiteX6" fmla="*/ 2827656 w 4422458"/>
              <a:gd name="connsiteY6" fmla="*/ 1505423 h 1508400"/>
              <a:gd name="connsiteX7" fmla="*/ 2198370 w 4422458"/>
              <a:gd name="connsiteY7" fmla="*/ 1505423 h 1508400"/>
              <a:gd name="connsiteX8" fmla="*/ 2198370 w 4422458"/>
              <a:gd name="connsiteY8" fmla="*/ 1508400 h 1508400"/>
              <a:gd name="connsiteX9" fmla="*/ 0 w 4422458"/>
              <a:gd name="connsiteY9" fmla="*/ 1508400 h 1508400"/>
              <a:gd name="connsiteX10" fmla="*/ 0 w 4422458"/>
              <a:gd name="connsiteY10" fmla="*/ 0 h 1508400"/>
              <a:gd name="connsiteX0" fmla="*/ 0 w 4422458"/>
              <a:gd name="connsiteY0" fmla="*/ 0 h 1508400"/>
              <a:gd name="connsiteX1" fmla="*/ 220345 w 4422458"/>
              <a:gd name="connsiteY1" fmla="*/ 0 h 1508400"/>
              <a:gd name="connsiteX2" fmla="*/ 956637 w 4422458"/>
              <a:gd name="connsiteY2" fmla="*/ 0 h 1508400"/>
              <a:gd name="connsiteX3" fmla="*/ 1074420 w 4422458"/>
              <a:gd name="connsiteY3" fmla="*/ 0 h 1508400"/>
              <a:gd name="connsiteX4" fmla="*/ 2198370 w 4422458"/>
              <a:gd name="connsiteY4" fmla="*/ 0 h 1508400"/>
              <a:gd name="connsiteX5" fmla="*/ 4422458 w 4422458"/>
              <a:gd name="connsiteY5" fmla="*/ 0 h 1508400"/>
              <a:gd name="connsiteX6" fmla="*/ 2827656 w 4422458"/>
              <a:gd name="connsiteY6" fmla="*/ 1505423 h 1508400"/>
              <a:gd name="connsiteX7" fmla="*/ 2198370 w 4422458"/>
              <a:gd name="connsiteY7" fmla="*/ 1505423 h 1508400"/>
              <a:gd name="connsiteX8" fmla="*/ 2198370 w 4422458"/>
              <a:gd name="connsiteY8" fmla="*/ 1508400 h 1508400"/>
              <a:gd name="connsiteX9" fmla="*/ 0 w 4422458"/>
              <a:gd name="connsiteY9" fmla="*/ 1508400 h 1508400"/>
              <a:gd name="connsiteX10" fmla="*/ 0 w 4422458"/>
              <a:gd name="connsiteY10" fmla="*/ 0 h 1508400"/>
              <a:gd name="connsiteX0" fmla="*/ 0 w 4422458"/>
              <a:gd name="connsiteY0" fmla="*/ 0 h 1508400"/>
              <a:gd name="connsiteX1" fmla="*/ 220345 w 4422458"/>
              <a:gd name="connsiteY1" fmla="*/ 0 h 1508400"/>
              <a:gd name="connsiteX2" fmla="*/ 956637 w 4422458"/>
              <a:gd name="connsiteY2" fmla="*/ 0 h 1508400"/>
              <a:gd name="connsiteX3" fmla="*/ 1074420 w 4422458"/>
              <a:gd name="connsiteY3" fmla="*/ 0 h 1508400"/>
              <a:gd name="connsiteX4" fmla="*/ 2198370 w 4422458"/>
              <a:gd name="connsiteY4" fmla="*/ 0 h 1508400"/>
              <a:gd name="connsiteX5" fmla="*/ 4422458 w 4422458"/>
              <a:gd name="connsiteY5" fmla="*/ 0 h 1508400"/>
              <a:gd name="connsiteX6" fmla="*/ 2827656 w 4422458"/>
              <a:gd name="connsiteY6" fmla="*/ 1505423 h 1508400"/>
              <a:gd name="connsiteX7" fmla="*/ 2198370 w 4422458"/>
              <a:gd name="connsiteY7" fmla="*/ 1505423 h 1508400"/>
              <a:gd name="connsiteX8" fmla="*/ 2198370 w 4422458"/>
              <a:gd name="connsiteY8" fmla="*/ 1508400 h 1508400"/>
              <a:gd name="connsiteX9" fmla="*/ 0 w 4422458"/>
              <a:gd name="connsiteY9" fmla="*/ 1508400 h 1508400"/>
              <a:gd name="connsiteX10" fmla="*/ 0 w 4422458"/>
              <a:gd name="connsiteY10" fmla="*/ 0 h 1508400"/>
              <a:gd name="connsiteX0" fmla="*/ 0 w 4422458"/>
              <a:gd name="connsiteY0" fmla="*/ 0 h 1508400"/>
              <a:gd name="connsiteX1" fmla="*/ 220345 w 4422458"/>
              <a:gd name="connsiteY1" fmla="*/ 0 h 1508400"/>
              <a:gd name="connsiteX2" fmla="*/ 956637 w 4422458"/>
              <a:gd name="connsiteY2" fmla="*/ 0 h 1508400"/>
              <a:gd name="connsiteX3" fmla="*/ 1074420 w 4422458"/>
              <a:gd name="connsiteY3" fmla="*/ 0 h 1508400"/>
              <a:gd name="connsiteX4" fmla="*/ 2198370 w 4422458"/>
              <a:gd name="connsiteY4" fmla="*/ 0 h 1508400"/>
              <a:gd name="connsiteX5" fmla="*/ 4422458 w 4422458"/>
              <a:gd name="connsiteY5" fmla="*/ 0 h 1508400"/>
              <a:gd name="connsiteX6" fmla="*/ 2827656 w 4422458"/>
              <a:gd name="connsiteY6" fmla="*/ 1505423 h 1508400"/>
              <a:gd name="connsiteX7" fmla="*/ 2198370 w 4422458"/>
              <a:gd name="connsiteY7" fmla="*/ 1505423 h 1508400"/>
              <a:gd name="connsiteX8" fmla="*/ 2198370 w 4422458"/>
              <a:gd name="connsiteY8" fmla="*/ 1508400 h 1508400"/>
              <a:gd name="connsiteX9" fmla="*/ 0 w 4422458"/>
              <a:gd name="connsiteY9" fmla="*/ 1508400 h 1508400"/>
              <a:gd name="connsiteX10" fmla="*/ 0 w 4422458"/>
              <a:gd name="connsiteY10" fmla="*/ 0 h 1508400"/>
              <a:gd name="connsiteX0" fmla="*/ 0 w 4422458"/>
              <a:gd name="connsiteY0" fmla="*/ 0 h 1508400"/>
              <a:gd name="connsiteX1" fmla="*/ 220345 w 4422458"/>
              <a:gd name="connsiteY1" fmla="*/ 0 h 1508400"/>
              <a:gd name="connsiteX2" fmla="*/ 956637 w 4422458"/>
              <a:gd name="connsiteY2" fmla="*/ 0 h 1508400"/>
              <a:gd name="connsiteX3" fmla="*/ 1074420 w 4422458"/>
              <a:gd name="connsiteY3" fmla="*/ 0 h 1508400"/>
              <a:gd name="connsiteX4" fmla="*/ 2198370 w 4422458"/>
              <a:gd name="connsiteY4" fmla="*/ 0 h 1508400"/>
              <a:gd name="connsiteX5" fmla="*/ 4422458 w 4422458"/>
              <a:gd name="connsiteY5" fmla="*/ 0 h 1508400"/>
              <a:gd name="connsiteX6" fmla="*/ 2827656 w 4422458"/>
              <a:gd name="connsiteY6" fmla="*/ 1505423 h 1508400"/>
              <a:gd name="connsiteX7" fmla="*/ 2198370 w 4422458"/>
              <a:gd name="connsiteY7" fmla="*/ 1505423 h 1508400"/>
              <a:gd name="connsiteX8" fmla="*/ 2198370 w 4422458"/>
              <a:gd name="connsiteY8" fmla="*/ 1508400 h 1508400"/>
              <a:gd name="connsiteX9" fmla="*/ 0 w 4422458"/>
              <a:gd name="connsiteY9" fmla="*/ 1508400 h 1508400"/>
              <a:gd name="connsiteX10" fmla="*/ 0 w 4422458"/>
              <a:gd name="connsiteY10" fmla="*/ 0 h 1508400"/>
              <a:gd name="connsiteX0" fmla="*/ 0 w 4422458"/>
              <a:gd name="connsiteY0" fmla="*/ 0 h 1508400"/>
              <a:gd name="connsiteX1" fmla="*/ 220345 w 4422458"/>
              <a:gd name="connsiteY1" fmla="*/ 0 h 1508400"/>
              <a:gd name="connsiteX2" fmla="*/ 956637 w 4422458"/>
              <a:gd name="connsiteY2" fmla="*/ 0 h 1508400"/>
              <a:gd name="connsiteX3" fmla="*/ 1074420 w 4422458"/>
              <a:gd name="connsiteY3" fmla="*/ 0 h 1508400"/>
              <a:gd name="connsiteX4" fmla="*/ 2198370 w 4422458"/>
              <a:gd name="connsiteY4" fmla="*/ 0 h 1508400"/>
              <a:gd name="connsiteX5" fmla="*/ 4422458 w 4422458"/>
              <a:gd name="connsiteY5" fmla="*/ 0 h 1508400"/>
              <a:gd name="connsiteX6" fmla="*/ 2827656 w 4422458"/>
              <a:gd name="connsiteY6" fmla="*/ 1505423 h 1508400"/>
              <a:gd name="connsiteX7" fmla="*/ 2198370 w 4422458"/>
              <a:gd name="connsiteY7" fmla="*/ 1505423 h 1508400"/>
              <a:gd name="connsiteX8" fmla="*/ 2198370 w 4422458"/>
              <a:gd name="connsiteY8" fmla="*/ 1508400 h 1508400"/>
              <a:gd name="connsiteX9" fmla="*/ 0 w 4422458"/>
              <a:gd name="connsiteY9" fmla="*/ 1508400 h 1508400"/>
              <a:gd name="connsiteX10" fmla="*/ 0 w 4422458"/>
              <a:gd name="connsiteY10" fmla="*/ 0 h 1508400"/>
              <a:gd name="connsiteX0" fmla="*/ 0 w 4422458"/>
              <a:gd name="connsiteY0" fmla="*/ 0 h 1508400"/>
              <a:gd name="connsiteX1" fmla="*/ 220345 w 4422458"/>
              <a:gd name="connsiteY1" fmla="*/ 0 h 1508400"/>
              <a:gd name="connsiteX2" fmla="*/ 956637 w 4422458"/>
              <a:gd name="connsiteY2" fmla="*/ 0 h 1508400"/>
              <a:gd name="connsiteX3" fmla="*/ 1074420 w 4422458"/>
              <a:gd name="connsiteY3" fmla="*/ 0 h 1508400"/>
              <a:gd name="connsiteX4" fmla="*/ 2198370 w 4422458"/>
              <a:gd name="connsiteY4" fmla="*/ 0 h 1508400"/>
              <a:gd name="connsiteX5" fmla="*/ 4422458 w 4422458"/>
              <a:gd name="connsiteY5" fmla="*/ 0 h 1508400"/>
              <a:gd name="connsiteX6" fmla="*/ 2827656 w 4422458"/>
              <a:gd name="connsiteY6" fmla="*/ 1505423 h 1508400"/>
              <a:gd name="connsiteX7" fmla="*/ 2198370 w 4422458"/>
              <a:gd name="connsiteY7" fmla="*/ 1505423 h 1508400"/>
              <a:gd name="connsiteX8" fmla="*/ 2198370 w 4422458"/>
              <a:gd name="connsiteY8" fmla="*/ 1508400 h 1508400"/>
              <a:gd name="connsiteX9" fmla="*/ 0 w 4422458"/>
              <a:gd name="connsiteY9" fmla="*/ 1508400 h 1508400"/>
              <a:gd name="connsiteX10" fmla="*/ 0 w 4422458"/>
              <a:gd name="connsiteY10" fmla="*/ 0 h 1508400"/>
              <a:gd name="connsiteX0" fmla="*/ 0 w 4422458"/>
              <a:gd name="connsiteY0" fmla="*/ 0 h 1508400"/>
              <a:gd name="connsiteX1" fmla="*/ 220345 w 4422458"/>
              <a:gd name="connsiteY1" fmla="*/ 0 h 1508400"/>
              <a:gd name="connsiteX2" fmla="*/ 956637 w 4422458"/>
              <a:gd name="connsiteY2" fmla="*/ 0 h 1508400"/>
              <a:gd name="connsiteX3" fmla="*/ 1074420 w 4422458"/>
              <a:gd name="connsiteY3" fmla="*/ 0 h 1508400"/>
              <a:gd name="connsiteX4" fmla="*/ 2198370 w 4422458"/>
              <a:gd name="connsiteY4" fmla="*/ 0 h 1508400"/>
              <a:gd name="connsiteX5" fmla="*/ 4422458 w 4422458"/>
              <a:gd name="connsiteY5" fmla="*/ 0 h 1508400"/>
              <a:gd name="connsiteX6" fmla="*/ 2827656 w 4422458"/>
              <a:gd name="connsiteY6" fmla="*/ 1505423 h 1508400"/>
              <a:gd name="connsiteX7" fmla="*/ 2198370 w 4422458"/>
              <a:gd name="connsiteY7" fmla="*/ 1505423 h 1508400"/>
              <a:gd name="connsiteX8" fmla="*/ 2198370 w 4422458"/>
              <a:gd name="connsiteY8" fmla="*/ 1508400 h 1508400"/>
              <a:gd name="connsiteX9" fmla="*/ 0 w 4422458"/>
              <a:gd name="connsiteY9" fmla="*/ 1508400 h 1508400"/>
              <a:gd name="connsiteX10" fmla="*/ 0 w 4422458"/>
              <a:gd name="connsiteY10" fmla="*/ 0 h 1508400"/>
              <a:gd name="connsiteX0" fmla="*/ 0 w 4422458"/>
              <a:gd name="connsiteY0" fmla="*/ 0 h 1508400"/>
              <a:gd name="connsiteX1" fmla="*/ 220345 w 4422458"/>
              <a:gd name="connsiteY1" fmla="*/ 0 h 1508400"/>
              <a:gd name="connsiteX2" fmla="*/ 956637 w 4422458"/>
              <a:gd name="connsiteY2" fmla="*/ 0 h 1508400"/>
              <a:gd name="connsiteX3" fmla="*/ 1074420 w 4422458"/>
              <a:gd name="connsiteY3" fmla="*/ 0 h 1508400"/>
              <a:gd name="connsiteX4" fmla="*/ 2198370 w 4422458"/>
              <a:gd name="connsiteY4" fmla="*/ 0 h 1508400"/>
              <a:gd name="connsiteX5" fmla="*/ 4422458 w 4422458"/>
              <a:gd name="connsiteY5" fmla="*/ 0 h 1508400"/>
              <a:gd name="connsiteX6" fmla="*/ 2827656 w 4422458"/>
              <a:gd name="connsiteY6" fmla="*/ 1505423 h 1508400"/>
              <a:gd name="connsiteX7" fmla="*/ 2198370 w 4422458"/>
              <a:gd name="connsiteY7" fmla="*/ 1505423 h 1508400"/>
              <a:gd name="connsiteX8" fmla="*/ 2198370 w 4422458"/>
              <a:gd name="connsiteY8" fmla="*/ 1508400 h 1508400"/>
              <a:gd name="connsiteX9" fmla="*/ 0 w 4422458"/>
              <a:gd name="connsiteY9" fmla="*/ 1508400 h 1508400"/>
              <a:gd name="connsiteX10" fmla="*/ 0 w 4422458"/>
              <a:gd name="connsiteY10" fmla="*/ 0 h 1508400"/>
              <a:gd name="connsiteX0" fmla="*/ 0 w 4422458"/>
              <a:gd name="connsiteY0" fmla="*/ 0 h 1508400"/>
              <a:gd name="connsiteX1" fmla="*/ 220345 w 4422458"/>
              <a:gd name="connsiteY1" fmla="*/ 0 h 1508400"/>
              <a:gd name="connsiteX2" fmla="*/ 956637 w 4422458"/>
              <a:gd name="connsiteY2" fmla="*/ 0 h 1508400"/>
              <a:gd name="connsiteX3" fmla="*/ 1074420 w 4422458"/>
              <a:gd name="connsiteY3" fmla="*/ 0 h 1508400"/>
              <a:gd name="connsiteX4" fmla="*/ 2198370 w 4422458"/>
              <a:gd name="connsiteY4" fmla="*/ 0 h 1508400"/>
              <a:gd name="connsiteX5" fmla="*/ 4422458 w 4422458"/>
              <a:gd name="connsiteY5" fmla="*/ 0 h 1508400"/>
              <a:gd name="connsiteX6" fmla="*/ 2827656 w 4422458"/>
              <a:gd name="connsiteY6" fmla="*/ 1505423 h 1508400"/>
              <a:gd name="connsiteX7" fmla="*/ 2198370 w 4422458"/>
              <a:gd name="connsiteY7" fmla="*/ 1505423 h 1508400"/>
              <a:gd name="connsiteX8" fmla="*/ 2198370 w 4422458"/>
              <a:gd name="connsiteY8" fmla="*/ 1508400 h 1508400"/>
              <a:gd name="connsiteX9" fmla="*/ 0 w 4422458"/>
              <a:gd name="connsiteY9" fmla="*/ 1508400 h 1508400"/>
              <a:gd name="connsiteX10" fmla="*/ 0 w 4422458"/>
              <a:gd name="connsiteY10" fmla="*/ 0 h 1508400"/>
              <a:gd name="connsiteX0" fmla="*/ 0 w 4422458"/>
              <a:gd name="connsiteY0" fmla="*/ 0 h 1508400"/>
              <a:gd name="connsiteX1" fmla="*/ 220345 w 4422458"/>
              <a:gd name="connsiteY1" fmla="*/ 0 h 1508400"/>
              <a:gd name="connsiteX2" fmla="*/ 956637 w 4422458"/>
              <a:gd name="connsiteY2" fmla="*/ 0 h 1508400"/>
              <a:gd name="connsiteX3" fmla="*/ 1074420 w 4422458"/>
              <a:gd name="connsiteY3" fmla="*/ 0 h 1508400"/>
              <a:gd name="connsiteX4" fmla="*/ 2198370 w 4422458"/>
              <a:gd name="connsiteY4" fmla="*/ 0 h 1508400"/>
              <a:gd name="connsiteX5" fmla="*/ 4422458 w 4422458"/>
              <a:gd name="connsiteY5" fmla="*/ 0 h 1508400"/>
              <a:gd name="connsiteX6" fmla="*/ 2827656 w 4422458"/>
              <a:gd name="connsiteY6" fmla="*/ 1505423 h 1508400"/>
              <a:gd name="connsiteX7" fmla="*/ 2198370 w 4422458"/>
              <a:gd name="connsiteY7" fmla="*/ 1505423 h 1508400"/>
              <a:gd name="connsiteX8" fmla="*/ 2198370 w 4422458"/>
              <a:gd name="connsiteY8" fmla="*/ 1508400 h 1508400"/>
              <a:gd name="connsiteX9" fmla="*/ 0 w 4422458"/>
              <a:gd name="connsiteY9" fmla="*/ 1508400 h 1508400"/>
              <a:gd name="connsiteX10" fmla="*/ 0 w 4422458"/>
              <a:gd name="connsiteY10" fmla="*/ 0 h 150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422458" h="1508400">
                <a:moveTo>
                  <a:pt x="0" y="0"/>
                </a:moveTo>
                <a:lnTo>
                  <a:pt x="220345" y="0"/>
                </a:lnTo>
                <a:lnTo>
                  <a:pt x="956637" y="0"/>
                </a:lnTo>
                <a:lnTo>
                  <a:pt x="1074420" y="0"/>
                </a:lnTo>
                <a:lnTo>
                  <a:pt x="2198370" y="0"/>
                </a:lnTo>
                <a:lnTo>
                  <a:pt x="4422458" y="0"/>
                </a:lnTo>
                <a:cubicBezTo>
                  <a:pt x="4415420" y="1034336"/>
                  <a:pt x="3455512" y="1537888"/>
                  <a:pt x="2827656" y="1505423"/>
                </a:cubicBezTo>
                <a:lnTo>
                  <a:pt x="2198370" y="1505423"/>
                </a:lnTo>
                <a:lnTo>
                  <a:pt x="2198370" y="1508400"/>
                </a:lnTo>
                <a:lnTo>
                  <a:pt x="0" y="1508400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AF41190B-96E3-4B62-87B2-9FF793F6223E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55"/>
          <a:stretch/>
        </p:blipFill>
        <p:spPr>
          <a:xfrm>
            <a:off x="-1760576" y="2846573"/>
            <a:ext cx="1105941" cy="122007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-1792923" y="2047825"/>
            <a:ext cx="1435784" cy="6232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buClr>
                <a:schemeClr val="accent1"/>
              </a:buClr>
            </a:pPr>
            <a:r>
              <a:rPr lang="ru-RU" sz="1050" b="1" dirty="0" smtClean="0"/>
              <a:t>Восстановить макет</a:t>
            </a:r>
          </a:p>
          <a:p>
            <a:pPr>
              <a:spcBef>
                <a:spcPts val="0"/>
              </a:spcBef>
              <a:buClr>
                <a:schemeClr val="accent1"/>
              </a:buClr>
            </a:pPr>
            <a:r>
              <a:rPr lang="ru-RU" sz="1000" dirty="0" smtClean="0"/>
              <a:t>(например, </a:t>
            </a:r>
            <a:br>
              <a:rPr lang="ru-RU" sz="1000" dirty="0" smtClean="0"/>
            </a:br>
            <a:r>
              <a:rPr lang="ru-RU" sz="1000" dirty="0" smtClean="0"/>
              <a:t>при</a:t>
            </a:r>
            <a:r>
              <a:rPr lang="ru-RU" sz="1000" baseline="0" dirty="0" smtClean="0"/>
              <a:t> удалении элементов</a:t>
            </a:r>
            <a:endParaRPr lang="ru-RU" sz="1000" dirty="0" smtClean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-1333768" y="3331576"/>
            <a:ext cx="826229" cy="19843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>
          <a:xfrm flipV="1">
            <a:off x="-604152" y="2696458"/>
            <a:ext cx="0" cy="6351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 userDrawn="1"/>
        </p:nvCxnSpPr>
        <p:spPr>
          <a:xfrm rot="5400000" flipV="1">
            <a:off x="-921711" y="2369374"/>
            <a:ext cx="0" cy="6351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Рисунок 2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70116" y="601955"/>
            <a:ext cx="1440000" cy="1079365"/>
          </a:xfrm>
          <a:prstGeom prst="rect">
            <a:avLst/>
          </a:prstGeom>
          <a:ln>
            <a:solidFill>
              <a:schemeClr val="accent3"/>
            </a:solidFill>
          </a:ln>
        </p:spPr>
      </p:pic>
      <p:sp>
        <p:nvSpPr>
          <p:cNvPr id="27" name="TextBox 26"/>
          <p:cNvSpPr txBox="1"/>
          <p:nvPr userDrawn="1"/>
        </p:nvSpPr>
        <p:spPr>
          <a:xfrm>
            <a:off x="-1792923" y="27930"/>
            <a:ext cx="1435784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Clr>
                <a:schemeClr val="accent1"/>
              </a:buClr>
            </a:pPr>
            <a:r>
              <a:rPr lang="ru-RU" sz="1050" b="1" dirty="0" smtClean="0"/>
              <a:t>Пример наполнения слайда</a:t>
            </a:r>
          </a:p>
        </p:txBody>
      </p:sp>
      <p:pic>
        <p:nvPicPr>
          <p:cNvPr id="28" name="Рисунок 2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4680" y="1045658"/>
            <a:ext cx="1524442" cy="1256709"/>
          </a:xfrm>
          <a:prstGeom prst="rect">
            <a:avLst/>
          </a:prstGeom>
        </p:spPr>
      </p:pic>
      <p:sp>
        <p:nvSpPr>
          <p:cNvPr id="29" name="TextBox 28"/>
          <p:cNvSpPr txBox="1"/>
          <p:nvPr userDrawn="1"/>
        </p:nvSpPr>
        <p:spPr>
          <a:xfrm>
            <a:off x="9437666" y="0"/>
            <a:ext cx="1362807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buClr>
                <a:schemeClr val="accent1"/>
              </a:buClr>
            </a:pPr>
            <a:r>
              <a:rPr lang="ru-RU" sz="1100" b="1" dirty="0" err="1" smtClean="0"/>
              <a:t>Кадрировать</a:t>
            </a:r>
            <a:r>
              <a:rPr lang="ru-RU" sz="1100" b="1" dirty="0" smtClean="0"/>
              <a:t> изображение </a:t>
            </a:r>
            <a:r>
              <a:rPr lang="ru-RU" sz="1100" dirty="0" smtClean="0"/>
              <a:t>(увеличить, подвинуть</a:t>
            </a:r>
            <a:r>
              <a:rPr lang="ru-RU" sz="1100" baseline="0" dirty="0" smtClean="0"/>
              <a:t> для оптимального вписывания)</a:t>
            </a:r>
            <a:endParaRPr lang="ru-RU" sz="1100" dirty="0" smtClean="0"/>
          </a:p>
        </p:txBody>
      </p:sp>
      <p:cxnSp>
        <p:nvCxnSpPr>
          <p:cNvPr id="30" name="Прямая соединительная линия 29"/>
          <p:cNvCxnSpPr/>
          <p:nvPr userDrawn="1"/>
        </p:nvCxnSpPr>
        <p:spPr>
          <a:xfrm flipV="1">
            <a:off x="10742261" y="700461"/>
            <a:ext cx="0" cy="6351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 userDrawn="1"/>
        </p:nvCxnSpPr>
        <p:spPr>
          <a:xfrm>
            <a:off x="10355545" y="690936"/>
            <a:ext cx="38671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 userDrawn="1"/>
        </p:nvSpPr>
        <p:spPr>
          <a:xfrm>
            <a:off x="10466416" y="1285852"/>
            <a:ext cx="281941" cy="18067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9437666" y="2408500"/>
            <a:ext cx="1742796" cy="3416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1" dirty="0" smtClean="0">
                <a:solidFill>
                  <a:schemeClr val="tx1"/>
                </a:solidFill>
              </a:rPr>
              <a:t>Два варианта замены изображения </a:t>
            </a:r>
            <a:br>
              <a:rPr lang="ru-RU" sz="1100" b="1" dirty="0" smtClean="0">
                <a:solidFill>
                  <a:schemeClr val="tx1"/>
                </a:solidFill>
              </a:rPr>
            </a:br>
            <a:r>
              <a:rPr lang="ru-RU" sz="1100" b="1" dirty="0" smtClean="0">
                <a:solidFill>
                  <a:schemeClr val="tx1"/>
                </a:solidFill>
              </a:rPr>
              <a:t>в заполнителе</a:t>
            </a: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0" dirty="0" smtClean="0">
                <a:solidFill>
                  <a:schemeClr val="tx1"/>
                </a:solidFill>
              </a:rPr>
              <a:t>1.Удаляем </a:t>
            </a:r>
            <a:r>
              <a:rPr lang="ru-RU" sz="1100" b="0" baseline="0" dirty="0" smtClean="0">
                <a:solidFill>
                  <a:schemeClr val="tx1"/>
                </a:solidFill>
              </a:rPr>
              <a:t>ненужное,</a:t>
            </a:r>
            <a:r>
              <a:rPr lang="en-US" sz="1100" b="0" baseline="0" dirty="0" smtClean="0">
                <a:solidFill>
                  <a:schemeClr val="tx1"/>
                </a:solidFill>
              </a:rPr>
              <a:t/>
            </a:r>
            <a:br>
              <a:rPr lang="en-US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нажав на значок, выбираем новое.</a:t>
            </a: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0" baseline="0" dirty="0" smtClean="0">
                <a:solidFill>
                  <a:schemeClr val="tx1"/>
                </a:solidFill>
              </a:rPr>
              <a:t>2. </a:t>
            </a:r>
            <a:r>
              <a:rPr lang="ru-RU" sz="1100" b="0" dirty="0" smtClean="0">
                <a:solidFill>
                  <a:schemeClr val="tx1"/>
                </a:solidFill>
              </a:rPr>
              <a:t>Удаляем </a:t>
            </a:r>
            <a:r>
              <a:rPr lang="ru-RU" sz="1100" b="0" baseline="0" dirty="0" smtClean="0">
                <a:solidFill>
                  <a:schemeClr val="tx1"/>
                </a:solidFill>
              </a:rPr>
              <a:t>ненужное, копируем новое фото </a:t>
            </a:r>
            <a:r>
              <a:rPr lang="en-US" sz="1100" b="0" baseline="0" dirty="0" smtClean="0">
                <a:solidFill>
                  <a:schemeClr val="tx1"/>
                </a:solidFill>
              </a:rPr>
              <a:t> (</a:t>
            </a:r>
            <a:r>
              <a:rPr lang="en-US" sz="1100" b="0" baseline="0" dirty="0" err="1" smtClean="0">
                <a:solidFill>
                  <a:schemeClr val="tx1"/>
                </a:solidFill>
              </a:rPr>
              <a:t>Ctrl+C</a:t>
            </a:r>
            <a:r>
              <a:rPr lang="en-US" sz="1100" b="0" baseline="0" dirty="0" smtClean="0">
                <a:solidFill>
                  <a:schemeClr val="tx1"/>
                </a:solidFill>
              </a:rPr>
              <a:t>)</a:t>
            </a:r>
            <a:r>
              <a:rPr lang="ru-RU" sz="1100" b="0" baseline="0" dirty="0" smtClean="0">
                <a:solidFill>
                  <a:schemeClr val="tx1"/>
                </a:solidFill>
              </a:rPr>
              <a:t>, нажимаем на край области заполнителя </a:t>
            </a:r>
            <a:r>
              <a:rPr lang="en-US" sz="1100" b="0" baseline="0" dirty="0" smtClean="0">
                <a:solidFill>
                  <a:schemeClr val="tx1"/>
                </a:solidFill>
              </a:rPr>
              <a:t/>
            </a:r>
            <a:br>
              <a:rPr lang="en-US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и вставляем изображение </a:t>
            </a:r>
            <a:r>
              <a:rPr lang="en-US" sz="1100" b="0" baseline="0" dirty="0" smtClean="0">
                <a:solidFill>
                  <a:schemeClr val="tx1"/>
                </a:solidFill>
              </a:rPr>
              <a:t>(</a:t>
            </a:r>
            <a:r>
              <a:rPr lang="en-US" sz="1100" b="0" baseline="0" dirty="0" err="1" smtClean="0">
                <a:solidFill>
                  <a:schemeClr val="tx1"/>
                </a:solidFill>
              </a:rPr>
              <a:t>Ctrl+V</a:t>
            </a:r>
            <a:r>
              <a:rPr lang="en-US" sz="1100" b="0" baseline="0" dirty="0" smtClean="0">
                <a:solidFill>
                  <a:schemeClr val="tx1"/>
                </a:solidFill>
              </a:rPr>
              <a:t>)</a:t>
            </a:r>
            <a:r>
              <a:rPr lang="ru-RU" sz="1100" b="0" baseline="0" dirty="0" smtClean="0">
                <a:solidFill>
                  <a:schemeClr val="tx1"/>
                </a:solidFill>
              </a:rPr>
              <a:t>.</a:t>
            </a:r>
            <a:endParaRPr lang="en-US" sz="1100" b="0" baseline="0" dirty="0" smtClean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en-US" sz="2000" b="1" baseline="0" dirty="0" smtClean="0">
                <a:solidFill>
                  <a:schemeClr val="tx1"/>
                </a:solidFill>
              </a:rPr>
              <a:t>! </a:t>
            </a:r>
            <a:r>
              <a:rPr lang="ru-RU" sz="1100" b="0" baseline="0" dirty="0" smtClean="0">
                <a:solidFill>
                  <a:schemeClr val="tx1"/>
                </a:solidFill>
              </a:rPr>
              <a:t>Если фото </a:t>
            </a:r>
            <a:br>
              <a:rPr lang="ru-RU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не обрезается </a:t>
            </a:r>
            <a:br>
              <a:rPr lang="ru-RU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по форме заполнителя, нажмите кнопку «Восстановить/Сбросить» на вкладке «Главная»</a:t>
            </a:r>
            <a:endParaRPr lang="ru-RU" sz="1100" b="1" dirty="0" smtClean="0"/>
          </a:p>
        </p:txBody>
      </p:sp>
      <p:pic>
        <p:nvPicPr>
          <p:cNvPr id="39" name="Рисунок 38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57" t="51784" r="59151" b="23605"/>
          <a:stretch/>
        </p:blipFill>
        <p:spPr>
          <a:xfrm>
            <a:off x="10624904" y="3244047"/>
            <a:ext cx="351137" cy="33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83035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783" userDrawn="1">
          <p15:clr>
            <a:srgbClr val="FBAE40"/>
          </p15:clr>
        </p15:guide>
        <p15:guide id="3" pos="2976" userDrawn="1">
          <p15:clr>
            <a:srgbClr val="FBAE40"/>
          </p15:clr>
        </p15:guide>
        <p15:guide id="4" orient="horz" pos="1992" userDrawn="1">
          <p15:clr>
            <a:srgbClr val="FBAE40"/>
          </p15:clr>
        </p15:guide>
        <p15:guide id="5" orient="horz" pos="3125" userDrawn="1">
          <p15:clr>
            <a:srgbClr val="FBAE40"/>
          </p15:clr>
        </p15:guide>
        <p15:guide id="6" orient="horz" pos="1832" userDrawn="1">
          <p15:clr>
            <a:srgbClr val="FBAE40"/>
          </p15:clr>
        </p15:guide>
        <p15:guide id="7" orient="horz" pos="29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зображение и подпись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Изображение и подпис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2"/>
          </p:nvPr>
        </p:nvSpPr>
        <p:spPr>
          <a:xfrm>
            <a:off x="250826" y="1376363"/>
            <a:ext cx="8642350" cy="145415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F41190B-96E3-4B62-87B2-9FF793F6223E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87137" y="461713"/>
            <a:ext cx="1440847" cy="1080000"/>
          </a:xfrm>
          <a:prstGeom prst="rect">
            <a:avLst/>
          </a:prstGeom>
          <a:ln>
            <a:solidFill>
              <a:schemeClr val="accent3"/>
            </a:solidFill>
          </a:ln>
        </p:spPr>
      </p:pic>
      <p:sp>
        <p:nvSpPr>
          <p:cNvPr id="7" name="TextBox 6"/>
          <p:cNvSpPr txBox="1"/>
          <p:nvPr userDrawn="1"/>
        </p:nvSpPr>
        <p:spPr>
          <a:xfrm>
            <a:off x="-1748116" y="28041"/>
            <a:ext cx="1517653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Clr>
                <a:schemeClr val="accent1"/>
              </a:buClr>
            </a:pPr>
            <a:r>
              <a:rPr lang="ru-RU" sz="1100" b="1" dirty="0" smtClean="0"/>
              <a:t>Пример наполнения слайда</a:t>
            </a:r>
          </a:p>
        </p:txBody>
      </p:sp>
      <p:sp>
        <p:nvSpPr>
          <p:cNvPr id="17" name="Freeform 381"/>
          <p:cNvSpPr>
            <a:spLocks noEditPoints="1"/>
          </p:cNvSpPr>
          <p:nvPr userDrawn="1"/>
        </p:nvSpPr>
        <p:spPr bwMode="auto">
          <a:xfrm>
            <a:off x="247650" y="6552769"/>
            <a:ext cx="2016007" cy="206959"/>
          </a:xfrm>
          <a:custGeom>
            <a:avLst/>
            <a:gdLst>
              <a:gd name="T0" fmla="*/ 986 w 15276"/>
              <a:gd name="T1" fmla="*/ 809 h 1567"/>
              <a:gd name="T2" fmla="*/ 241 w 15276"/>
              <a:gd name="T3" fmla="*/ 786 h 1567"/>
              <a:gd name="T4" fmla="*/ 797 w 15276"/>
              <a:gd name="T5" fmla="*/ 162 h 1567"/>
              <a:gd name="T6" fmla="*/ 1500 w 15276"/>
              <a:gd name="T7" fmla="*/ 920 h 1567"/>
              <a:gd name="T8" fmla="*/ 1017 w 15276"/>
              <a:gd name="T9" fmla="*/ 90 h 1567"/>
              <a:gd name="T10" fmla="*/ 98 w 15276"/>
              <a:gd name="T11" fmla="*/ 729 h 1567"/>
              <a:gd name="T12" fmla="*/ 683 w 15276"/>
              <a:gd name="T13" fmla="*/ 1172 h 1567"/>
              <a:gd name="T14" fmla="*/ 1031 w 15276"/>
              <a:gd name="T15" fmla="*/ 616 h 1567"/>
              <a:gd name="T16" fmla="*/ 860 w 15276"/>
              <a:gd name="T17" fmla="*/ 669 h 1567"/>
              <a:gd name="T18" fmla="*/ 1294 w 15276"/>
              <a:gd name="T19" fmla="*/ 500 h 1567"/>
              <a:gd name="T20" fmla="*/ 317 w 15276"/>
              <a:gd name="T21" fmla="*/ 474 h 1567"/>
              <a:gd name="T22" fmla="*/ 433 w 15276"/>
              <a:gd name="T23" fmla="*/ 723 h 1567"/>
              <a:gd name="T24" fmla="*/ 1073 w 15276"/>
              <a:gd name="T25" fmla="*/ 1278 h 1567"/>
              <a:gd name="T26" fmla="*/ 1155 w 15276"/>
              <a:gd name="T27" fmla="*/ 699 h 1567"/>
              <a:gd name="T28" fmla="*/ 528 w 15276"/>
              <a:gd name="T29" fmla="*/ 1224 h 1567"/>
              <a:gd name="T30" fmla="*/ 996 w 15276"/>
              <a:gd name="T31" fmla="*/ 25 h 1567"/>
              <a:gd name="T32" fmla="*/ 1378 w 15276"/>
              <a:gd name="T33" fmla="*/ 1319 h 1567"/>
              <a:gd name="T34" fmla="*/ 159 w 15276"/>
              <a:gd name="T35" fmla="*/ 1252 h 1567"/>
              <a:gd name="T36" fmla="*/ 214 w 15276"/>
              <a:gd name="T37" fmla="*/ 250 h 1567"/>
              <a:gd name="T38" fmla="*/ 14982 w 15276"/>
              <a:gd name="T39" fmla="*/ 939 h 1567"/>
              <a:gd name="T40" fmla="*/ 14890 w 15276"/>
              <a:gd name="T41" fmla="*/ 751 h 1567"/>
              <a:gd name="T42" fmla="*/ 13511 w 15276"/>
              <a:gd name="T43" fmla="*/ 1012 h 1567"/>
              <a:gd name="T44" fmla="*/ 12946 w 15276"/>
              <a:gd name="T45" fmla="*/ 908 h 1567"/>
              <a:gd name="T46" fmla="*/ 13097 w 15276"/>
              <a:gd name="T47" fmla="*/ 907 h 1567"/>
              <a:gd name="T48" fmla="*/ 12620 w 15276"/>
              <a:gd name="T49" fmla="*/ 1256 h 1567"/>
              <a:gd name="T50" fmla="*/ 12076 w 15276"/>
              <a:gd name="T51" fmla="*/ 865 h 1567"/>
              <a:gd name="T52" fmla="*/ 12474 w 15276"/>
              <a:gd name="T53" fmla="*/ 959 h 1567"/>
              <a:gd name="T54" fmla="*/ 12227 w 15276"/>
              <a:gd name="T55" fmla="*/ 1263 h 1567"/>
              <a:gd name="T56" fmla="*/ 12361 w 15276"/>
              <a:gd name="T57" fmla="*/ 1107 h 1567"/>
              <a:gd name="T58" fmla="*/ 11730 w 15276"/>
              <a:gd name="T59" fmla="*/ 1171 h 1567"/>
              <a:gd name="T60" fmla="*/ 11893 w 15276"/>
              <a:gd name="T61" fmla="*/ 734 h 1567"/>
              <a:gd name="T62" fmla="*/ 11678 w 15276"/>
              <a:gd name="T63" fmla="*/ 1270 h 1567"/>
              <a:gd name="T64" fmla="*/ 11831 w 15276"/>
              <a:gd name="T65" fmla="*/ 931 h 1567"/>
              <a:gd name="T66" fmla="*/ 11280 w 15276"/>
              <a:gd name="T67" fmla="*/ 828 h 1567"/>
              <a:gd name="T68" fmla="*/ 11449 w 15276"/>
              <a:gd name="T69" fmla="*/ 648 h 1567"/>
              <a:gd name="T70" fmla="*/ 10384 w 15276"/>
              <a:gd name="T71" fmla="*/ 1014 h 1567"/>
              <a:gd name="T72" fmla="*/ 9180 w 15276"/>
              <a:gd name="T73" fmla="*/ 1169 h 1567"/>
              <a:gd name="T74" fmla="*/ 9334 w 15276"/>
              <a:gd name="T75" fmla="*/ 730 h 1567"/>
              <a:gd name="T76" fmla="*/ 9148 w 15276"/>
              <a:gd name="T77" fmla="*/ 1269 h 1567"/>
              <a:gd name="T78" fmla="*/ 9244 w 15276"/>
              <a:gd name="T79" fmla="*/ 934 h 1567"/>
              <a:gd name="T80" fmla="*/ 8695 w 15276"/>
              <a:gd name="T81" fmla="*/ 1106 h 1567"/>
              <a:gd name="T82" fmla="*/ 8840 w 15276"/>
              <a:gd name="T83" fmla="*/ 867 h 1567"/>
              <a:gd name="T84" fmla="*/ 7714 w 15276"/>
              <a:gd name="T85" fmla="*/ 1256 h 1567"/>
              <a:gd name="T86" fmla="*/ 6157 w 15276"/>
              <a:gd name="T87" fmla="*/ 879 h 1567"/>
              <a:gd name="T88" fmla="*/ 6104 w 15276"/>
              <a:gd name="T89" fmla="*/ 1151 h 1567"/>
              <a:gd name="T90" fmla="*/ 6030 w 15276"/>
              <a:gd name="T91" fmla="*/ 1265 h 1567"/>
              <a:gd name="T92" fmla="*/ 5927 w 15276"/>
              <a:gd name="T93" fmla="*/ 773 h 1567"/>
              <a:gd name="T94" fmla="*/ 5758 w 15276"/>
              <a:gd name="T95" fmla="*/ 1256 h 1567"/>
              <a:gd name="T96" fmla="*/ 4387 w 15276"/>
              <a:gd name="T97" fmla="*/ 817 h 1567"/>
              <a:gd name="T98" fmla="*/ 4566 w 15276"/>
              <a:gd name="T99" fmla="*/ 785 h 1567"/>
              <a:gd name="T100" fmla="*/ 4581 w 15276"/>
              <a:gd name="T101" fmla="*/ 1194 h 1567"/>
              <a:gd name="T102" fmla="*/ 4351 w 15276"/>
              <a:gd name="T103" fmla="*/ 1168 h 1567"/>
              <a:gd name="T104" fmla="*/ 3794 w 15276"/>
              <a:gd name="T105" fmla="*/ 1040 h 1567"/>
              <a:gd name="T106" fmla="*/ 3641 w 15276"/>
              <a:gd name="T107" fmla="*/ 813 h 1567"/>
              <a:gd name="T108" fmla="*/ 3923 w 15276"/>
              <a:gd name="T109" fmla="*/ 1226 h 1567"/>
              <a:gd name="T110" fmla="*/ 3623 w 15276"/>
              <a:gd name="T111" fmla="*/ 1031 h 1567"/>
              <a:gd name="T112" fmla="*/ 3785 w 15276"/>
              <a:gd name="T113" fmla="*/ 854 h 1567"/>
              <a:gd name="T114" fmla="*/ 3343 w 15276"/>
              <a:gd name="T115" fmla="*/ 877 h 1567"/>
              <a:gd name="T116" fmla="*/ 3314 w 15276"/>
              <a:gd name="T117" fmla="*/ 726 h 1567"/>
              <a:gd name="T118" fmla="*/ 3443 w 15276"/>
              <a:gd name="T119" fmla="*/ 1224 h 1567"/>
              <a:gd name="T120" fmla="*/ 2786 w 15276"/>
              <a:gd name="T121" fmla="*/ 1044 h 1567"/>
              <a:gd name="T122" fmla="*/ 2853 w 15276"/>
              <a:gd name="T123" fmla="*/ 743 h 1567"/>
              <a:gd name="T124" fmla="*/ 2952 w 15276"/>
              <a:gd name="T125" fmla="*/ 1062 h 15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276" h="1567">
                <a:moveTo>
                  <a:pt x="1897" y="547"/>
                </a:moveTo>
                <a:lnTo>
                  <a:pt x="2392" y="547"/>
                </a:lnTo>
                <a:lnTo>
                  <a:pt x="2392" y="670"/>
                </a:lnTo>
                <a:lnTo>
                  <a:pt x="2076" y="670"/>
                </a:lnTo>
                <a:lnTo>
                  <a:pt x="2076" y="834"/>
                </a:lnTo>
                <a:lnTo>
                  <a:pt x="2321" y="834"/>
                </a:lnTo>
                <a:lnTo>
                  <a:pt x="2321" y="957"/>
                </a:lnTo>
                <a:lnTo>
                  <a:pt x="2076" y="957"/>
                </a:lnTo>
                <a:lnTo>
                  <a:pt x="2076" y="1131"/>
                </a:lnTo>
                <a:lnTo>
                  <a:pt x="2392" y="1131"/>
                </a:lnTo>
                <a:lnTo>
                  <a:pt x="2392" y="1256"/>
                </a:lnTo>
                <a:lnTo>
                  <a:pt x="1897" y="1256"/>
                </a:lnTo>
                <a:lnTo>
                  <a:pt x="1897" y="547"/>
                </a:lnTo>
                <a:close/>
                <a:moveTo>
                  <a:pt x="139" y="427"/>
                </a:moveTo>
                <a:lnTo>
                  <a:pt x="146" y="432"/>
                </a:lnTo>
                <a:lnTo>
                  <a:pt x="150" y="430"/>
                </a:lnTo>
                <a:lnTo>
                  <a:pt x="139" y="427"/>
                </a:lnTo>
                <a:close/>
                <a:moveTo>
                  <a:pt x="937" y="603"/>
                </a:moveTo>
                <a:lnTo>
                  <a:pt x="926" y="603"/>
                </a:lnTo>
                <a:lnTo>
                  <a:pt x="911" y="603"/>
                </a:lnTo>
                <a:lnTo>
                  <a:pt x="897" y="605"/>
                </a:lnTo>
                <a:lnTo>
                  <a:pt x="883" y="606"/>
                </a:lnTo>
                <a:lnTo>
                  <a:pt x="860" y="610"/>
                </a:lnTo>
                <a:lnTo>
                  <a:pt x="879" y="618"/>
                </a:lnTo>
                <a:lnTo>
                  <a:pt x="892" y="624"/>
                </a:lnTo>
                <a:lnTo>
                  <a:pt x="896" y="625"/>
                </a:lnTo>
                <a:lnTo>
                  <a:pt x="905" y="632"/>
                </a:lnTo>
                <a:lnTo>
                  <a:pt x="916" y="640"/>
                </a:lnTo>
                <a:lnTo>
                  <a:pt x="925" y="647"/>
                </a:lnTo>
                <a:lnTo>
                  <a:pt x="934" y="655"/>
                </a:lnTo>
                <a:lnTo>
                  <a:pt x="942" y="665"/>
                </a:lnTo>
                <a:lnTo>
                  <a:pt x="949" y="674"/>
                </a:lnTo>
                <a:lnTo>
                  <a:pt x="957" y="683"/>
                </a:lnTo>
                <a:lnTo>
                  <a:pt x="963" y="694"/>
                </a:lnTo>
                <a:lnTo>
                  <a:pt x="969" y="704"/>
                </a:lnTo>
                <a:lnTo>
                  <a:pt x="974" y="715"/>
                </a:lnTo>
                <a:lnTo>
                  <a:pt x="978" y="725"/>
                </a:lnTo>
                <a:lnTo>
                  <a:pt x="982" y="736"/>
                </a:lnTo>
                <a:lnTo>
                  <a:pt x="984" y="748"/>
                </a:lnTo>
                <a:lnTo>
                  <a:pt x="986" y="759"/>
                </a:lnTo>
                <a:lnTo>
                  <a:pt x="987" y="772"/>
                </a:lnTo>
                <a:lnTo>
                  <a:pt x="988" y="784"/>
                </a:lnTo>
                <a:lnTo>
                  <a:pt x="987" y="797"/>
                </a:lnTo>
                <a:lnTo>
                  <a:pt x="986" y="809"/>
                </a:lnTo>
                <a:lnTo>
                  <a:pt x="984" y="821"/>
                </a:lnTo>
                <a:lnTo>
                  <a:pt x="982" y="832"/>
                </a:lnTo>
                <a:lnTo>
                  <a:pt x="979" y="842"/>
                </a:lnTo>
                <a:lnTo>
                  <a:pt x="975" y="854"/>
                </a:lnTo>
                <a:lnTo>
                  <a:pt x="969" y="865"/>
                </a:lnTo>
                <a:lnTo>
                  <a:pt x="962" y="877"/>
                </a:lnTo>
                <a:lnTo>
                  <a:pt x="954" y="890"/>
                </a:lnTo>
                <a:lnTo>
                  <a:pt x="944" y="904"/>
                </a:lnTo>
                <a:lnTo>
                  <a:pt x="936" y="915"/>
                </a:lnTo>
                <a:lnTo>
                  <a:pt x="931" y="920"/>
                </a:lnTo>
                <a:lnTo>
                  <a:pt x="918" y="934"/>
                </a:lnTo>
                <a:lnTo>
                  <a:pt x="904" y="946"/>
                </a:lnTo>
                <a:lnTo>
                  <a:pt x="889" y="959"/>
                </a:lnTo>
                <a:lnTo>
                  <a:pt x="872" y="971"/>
                </a:lnTo>
                <a:lnTo>
                  <a:pt x="854" y="983"/>
                </a:lnTo>
                <a:lnTo>
                  <a:pt x="834" y="993"/>
                </a:lnTo>
                <a:lnTo>
                  <a:pt x="814" y="1004"/>
                </a:lnTo>
                <a:lnTo>
                  <a:pt x="793" y="1013"/>
                </a:lnTo>
                <a:lnTo>
                  <a:pt x="773" y="1021"/>
                </a:lnTo>
                <a:lnTo>
                  <a:pt x="753" y="1029"/>
                </a:lnTo>
                <a:lnTo>
                  <a:pt x="732" y="1035"/>
                </a:lnTo>
                <a:lnTo>
                  <a:pt x="711" y="1040"/>
                </a:lnTo>
                <a:lnTo>
                  <a:pt x="689" y="1044"/>
                </a:lnTo>
                <a:lnTo>
                  <a:pt x="668" y="1047"/>
                </a:lnTo>
                <a:lnTo>
                  <a:pt x="647" y="1049"/>
                </a:lnTo>
                <a:lnTo>
                  <a:pt x="626" y="1049"/>
                </a:lnTo>
                <a:lnTo>
                  <a:pt x="569" y="1045"/>
                </a:lnTo>
                <a:lnTo>
                  <a:pt x="488" y="1027"/>
                </a:lnTo>
                <a:lnTo>
                  <a:pt x="463" y="1017"/>
                </a:lnTo>
                <a:lnTo>
                  <a:pt x="439" y="1006"/>
                </a:lnTo>
                <a:lnTo>
                  <a:pt x="416" y="993"/>
                </a:lnTo>
                <a:lnTo>
                  <a:pt x="394" y="980"/>
                </a:lnTo>
                <a:lnTo>
                  <a:pt x="373" y="964"/>
                </a:lnTo>
                <a:lnTo>
                  <a:pt x="352" y="947"/>
                </a:lnTo>
                <a:lnTo>
                  <a:pt x="333" y="929"/>
                </a:lnTo>
                <a:lnTo>
                  <a:pt x="314" y="910"/>
                </a:lnTo>
                <a:lnTo>
                  <a:pt x="303" y="895"/>
                </a:lnTo>
                <a:lnTo>
                  <a:pt x="292" y="881"/>
                </a:lnTo>
                <a:lnTo>
                  <a:pt x="282" y="866"/>
                </a:lnTo>
                <a:lnTo>
                  <a:pt x="272" y="851"/>
                </a:lnTo>
                <a:lnTo>
                  <a:pt x="263" y="835"/>
                </a:lnTo>
                <a:lnTo>
                  <a:pt x="254" y="820"/>
                </a:lnTo>
                <a:lnTo>
                  <a:pt x="247" y="803"/>
                </a:lnTo>
                <a:lnTo>
                  <a:pt x="241" y="786"/>
                </a:lnTo>
                <a:lnTo>
                  <a:pt x="234" y="770"/>
                </a:lnTo>
                <a:lnTo>
                  <a:pt x="229" y="752"/>
                </a:lnTo>
                <a:lnTo>
                  <a:pt x="225" y="734"/>
                </a:lnTo>
                <a:lnTo>
                  <a:pt x="221" y="717"/>
                </a:lnTo>
                <a:lnTo>
                  <a:pt x="218" y="699"/>
                </a:lnTo>
                <a:lnTo>
                  <a:pt x="215" y="681"/>
                </a:lnTo>
                <a:lnTo>
                  <a:pt x="214" y="664"/>
                </a:lnTo>
                <a:lnTo>
                  <a:pt x="214" y="645"/>
                </a:lnTo>
                <a:lnTo>
                  <a:pt x="214" y="630"/>
                </a:lnTo>
                <a:lnTo>
                  <a:pt x="215" y="615"/>
                </a:lnTo>
                <a:lnTo>
                  <a:pt x="217" y="600"/>
                </a:lnTo>
                <a:lnTo>
                  <a:pt x="219" y="586"/>
                </a:lnTo>
                <a:lnTo>
                  <a:pt x="221" y="571"/>
                </a:lnTo>
                <a:lnTo>
                  <a:pt x="224" y="556"/>
                </a:lnTo>
                <a:lnTo>
                  <a:pt x="227" y="542"/>
                </a:lnTo>
                <a:lnTo>
                  <a:pt x="231" y="528"/>
                </a:lnTo>
                <a:lnTo>
                  <a:pt x="236" y="514"/>
                </a:lnTo>
                <a:lnTo>
                  <a:pt x="241" y="500"/>
                </a:lnTo>
                <a:lnTo>
                  <a:pt x="247" y="487"/>
                </a:lnTo>
                <a:lnTo>
                  <a:pt x="253" y="473"/>
                </a:lnTo>
                <a:lnTo>
                  <a:pt x="260" y="460"/>
                </a:lnTo>
                <a:lnTo>
                  <a:pt x="267" y="447"/>
                </a:lnTo>
                <a:lnTo>
                  <a:pt x="274" y="434"/>
                </a:lnTo>
                <a:lnTo>
                  <a:pt x="283" y="421"/>
                </a:lnTo>
                <a:lnTo>
                  <a:pt x="293" y="407"/>
                </a:lnTo>
                <a:lnTo>
                  <a:pt x="309" y="388"/>
                </a:lnTo>
                <a:lnTo>
                  <a:pt x="325" y="370"/>
                </a:lnTo>
                <a:lnTo>
                  <a:pt x="337" y="356"/>
                </a:lnTo>
                <a:lnTo>
                  <a:pt x="360" y="334"/>
                </a:lnTo>
                <a:lnTo>
                  <a:pt x="385" y="312"/>
                </a:lnTo>
                <a:lnTo>
                  <a:pt x="410" y="292"/>
                </a:lnTo>
                <a:lnTo>
                  <a:pt x="435" y="272"/>
                </a:lnTo>
                <a:lnTo>
                  <a:pt x="462" y="256"/>
                </a:lnTo>
                <a:lnTo>
                  <a:pt x="490" y="239"/>
                </a:lnTo>
                <a:lnTo>
                  <a:pt x="518" y="226"/>
                </a:lnTo>
                <a:lnTo>
                  <a:pt x="546" y="212"/>
                </a:lnTo>
                <a:lnTo>
                  <a:pt x="576" y="201"/>
                </a:lnTo>
                <a:lnTo>
                  <a:pt x="606" y="190"/>
                </a:lnTo>
                <a:lnTo>
                  <a:pt x="637" y="182"/>
                </a:lnTo>
                <a:lnTo>
                  <a:pt x="668" y="175"/>
                </a:lnTo>
                <a:lnTo>
                  <a:pt x="700" y="169"/>
                </a:lnTo>
                <a:lnTo>
                  <a:pt x="731" y="165"/>
                </a:lnTo>
                <a:lnTo>
                  <a:pt x="764" y="163"/>
                </a:lnTo>
                <a:lnTo>
                  <a:pt x="797" y="162"/>
                </a:lnTo>
                <a:lnTo>
                  <a:pt x="827" y="162"/>
                </a:lnTo>
                <a:lnTo>
                  <a:pt x="856" y="164"/>
                </a:lnTo>
                <a:lnTo>
                  <a:pt x="884" y="167"/>
                </a:lnTo>
                <a:lnTo>
                  <a:pt x="914" y="173"/>
                </a:lnTo>
                <a:lnTo>
                  <a:pt x="941" y="178"/>
                </a:lnTo>
                <a:lnTo>
                  <a:pt x="969" y="185"/>
                </a:lnTo>
                <a:lnTo>
                  <a:pt x="998" y="193"/>
                </a:lnTo>
                <a:lnTo>
                  <a:pt x="1025" y="204"/>
                </a:lnTo>
                <a:lnTo>
                  <a:pt x="1057" y="216"/>
                </a:lnTo>
                <a:lnTo>
                  <a:pt x="1087" y="231"/>
                </a:lnTo>
                <a:lnTo>
                  <a:pt x="1116" y="247"/>
                </a:lnTo>
                <a:lnTo>
                  <a:pt x="1146" y="264"/>
                </a:lnTo>
                <a:lnTo>
                  <a:pt x="1173" y="284"/>
                </a:lnTo>
                <a:lnTo>
                  <a:pt x="1199" y="304"/>
                </a:lnTo>
                <a:lnTo>
                  <a:pt x="1225" y="325"/>
                </a:lnTo>
                <a:lnTo>
                  <a:pt x="1249" y="348"/>
                </a:lnTo>
                <a:lnTo>
                  <a:pt x="1272" y="372"/>
                </a:lnTo>
                <a:lnTo>
                  <a:pt x="1293" y="398"/>
                </a:lnTo>
                <a:lnTo>
                  <a:pt x="1313" y="424"/>
                </a:lnTo>
                <a:lnTo>
                  <a:pt x="1332" y="452"/>
                </a:lnTo>
                <a:lnTo>
                  <a:pt x="1348" y="482"/>
                </a:lnTo>
                <a:lnTo>
                  <a:pt x="1364" y="511"/>
                </a:lnTo>
                <a:lnTo>
                  <a:pt x="1379" y="541"/>
                </a:lnTo>
                <a:lnTo>
                  <a:pt x="1391" y="573"/>
                </a:lnTo>
                <a:lnTo>
                  <a:pt x="1391" y="573"/>
                </a:lnTo>
                <a:lnTo>
                  <a:pt x="1398" y="595"/>
                </a:lnTo>
                <a:lnTo>
                  <a:pt x="1403" y="614"/>
                </a:lnTo>
                <a:lnTo>
                  <a:pt x="1407" y="630"/>
                </a:lnTo>
                <a:lnTo>
                  <a:pt x="1411" y="647"/>
                </a:lnTo>
                <a:lnTo>
                  <a:pt x="1417" y="662"/>
                </a:lnTo>
                <a:lnTo>
                  <a:pt x="1426" y="679"/>
                </a:lnTo>
                <a:lnTo>
                  <a:pt x="1436" y="697"/>
                </a:lnTo>
                <a:lnTo>
                  <a:pt x="1444" y="713"/>
                </a:lnTo>
                <a:lnTo>
                  <a:pt x="1452" y="731"/>
                </a:lnTo>
                <a:lnTo>
                  <a:pt x="1460" y="750"/>
                </a:lnTo>
                <a:lnTo>
                  <a:pt x="1467" y="768"/>
                </a:lnTo>
                <a:lnTo>
                  <a:pt x="1473" y="786"/>
                </a:lnTo>
                <a:lnTo>
                  <a:pt x="1480" y="805"/>
                </a:lnTo>
                <a:lnTo>
                  <a:pt x="1485" y="824"/>
                </a:lnTo>
                <a:lnTo>
                  <a:pt x="1489" y="842"/>
                </a:lnTo>
                <a:lnTo>
                  <a:pt x="1492" y="862"/>
                </a:lnTo>
                <a:lnTo>
                  <a:pt x="1495" y="881"/>
                </a:lnTo>
                <a:lnTo>
                  <a:pt x="1499" y="901"/>
                </a:lnTo>
                <a:lnTo>
                  <a:pt x="1500" y="920"/>
                </a:lnTo>
                <a:lnTo>
                  <a:pt x="1501" y="941"/>
                </a:lnTo>
                <a:lnTo>
                  <a:pt x="1502" y="961"/>
                </a:lnTo>
                <a:lnTo>
                  <a:pt x="1502" y="970"/>
                </a:lnTo>
                <a:lnTo>
                  <a:pt x="1501" y="980"/>
                </a:lnTo>
                <a:lnTo>
                  <a:pt x="1501" y="989"/>
                </a:lnTo>
                <a:lnTo>
                  <a:pt x="1500" y="998"/>
                </a:lnTo>
                <a:lnTo>
                  <a:pt x="1504" y="984"/>
                </a:lnTo>
                <a:lnTo>
                  <a:pt x="1508" y="972"/>
                </a:lnTo>
                <a:lnTo>
                  <a:pt x="1510" y="964"/>
                </a:lnTo>
                <a:lnTo>
                  <a:pt x="1511" y="959"/>
                </a:lnTo>
                <a:lnTo>
                  <a:pt x="1516" y="938"/>
                </a:lnTo>
                <a:lnTo>
                  <a:pt x="1521" y="916"/>
                </a:lnTo>
                <a:lnTo>
                  <a:pt x="1525" y="894"/>
                </a:lnTo>
                <a:lnTo>
                  <a:pt x="1529" y="873"/>
                </a:lnTo>
                <a:lnTo>
                  <a:pt x="1531" y="851"/>
                </a:lnTo>
                <a:lnTo>
                  <a:pt x="1533" y="828"/>
                </a:lnTo>
                <a:lnTo>
                  <a:pt x="1535" y="806"/>
                </a:lnTo>
                <a:lnTo>
                  <a:pt x="1535" y="784"/>
                </a:lnTo>
                <a:lnTo>
                  <a:pt x="1534" y="747"/>
                </a:lnTo>
                <a:lnTo>
                  <a:pt x="1531" y="709"/>
                </a:lnTo>
                <a:lnTo>
                  <a:pt x="1527" y="673"/>
                </a:lnTo>
                <a:lnTo>
                  <a:pt x="1521" y="638"/>
                </a:lnTo>
                <a:lnTo>
                  <a:pt x="1512" y="602"/>
                </a:lnTo>
                <a:lnTo>
                  <a:pt x="1502" y="568"/>
                </a:lnTo>
                <a:lnTo>
                  <a:pt x="1490" y="535"/>
                </a:lnTo>
                <a:lnTo>
                  <a:pt x="1478" y="501"/>
                </a:lnTo>
                <a:lnTo>
                  <a:pt x="1463" y="469"/>
                </a:lnTo>
                <a:lnTo>
                  <a:pt x="1446" y="438"/>
                </a:lnTo>
                <a:lnTo>
                  <a:pt x="1428" y="408"/>
                </a:lnTo>
                <a:lnTo>
                  <a:pt x="1409" y="379"/>
                </a:lnTo>
                <a:lnTo>
                  <a:pt x="1388" y="349"/>
                </a:lnTo>
                <a:lnTo>
                  <a:pt x="1366" y="322"/>
                </a:lnTo>
                <a:lnTo>
                  <a:pt x="1343" y="295"/>
                </a:lnTo>
                <a:lnTo>
                  <a:pt x="1319" y="270"/>
                </a:lnTo>
                <a:lnTo>
                  <a:pt x="1293" y="246"/>
                </a:lnTo>
                <a:lnTo>
                  <a:pt x="1267" y="224"/>
                </a:lnTo>
                <a:lnTo>
                  <a:pt x="1238" y="202"/>
                </a:lnTo>
                <a:lnTo>
                  <a:pt x="1210" y="182"/>
                </a:lnTo>
                <a:lnTo>
                  <a:pt x="1179" y="163"/>
                </a:lnTo>
                <a:lnTo>
                  <a:pt x="1149" y="146"/>
                </a:lnTo>
                <a:lnTo>
                  <a:pt x="1116" y="129"/>
                </a:lnTo>
                <a:lnTo>
                  <a:pt x="1084" y="114"/>
                </a:lnTo>
                <a:lnTo>
                  <a:pt x="1050" y="102"/>
                </a:lnTo>
                <a:lnTo>
                  <a:pt x="1017" y="90"/>
                </a:lnTo>
                <a:lnTo>
                  <a:pt x="981" y="81"/>
                </a:lnTo>
                <a:lnTo>
                  <a:pt x="945" y="73"/>
                </a:lnTo>
                <a:lnTo>
                  <a:pt x="910" y="67"/>
                </a:lnTo>
                <a:lnTo>
                  <a:pt x="872" y="61"/>
                </a:lnTo>
                <a:lnTo>
                  <a:pt x="835" y="58"/>
                </a:lnTo>
                <a:lnTo>
                  <a:pt x="797" y="57"/>
                </a:lnTo>
                <a:lnTo>
                  <a:pt x="760" y="58"/>
                </a:lnTo>
                <a:lnTo>
                  <a:pt x="725" y="61"/>
                </a:lnTo>
                <a:lnTo>
                  <a:pt x="689" y="65"/>
                </a:lnTo>
                <a:lnTo>
                  <a:pt x="654" y="71"/>
                </a:lnTo>
                <a:lnTo>
                  <a:pt x="620" y="79"/>
                </a:lnTo>
                <a:lnTo>
                  <a:pt x="586" y="87"/>
                </a:lnTo>
                <a:lnTo>
                  <a:pt x="553" y="99"/>
                </a:lnTo>
                <a:lnTo>
                  <a:pt x="519" y="110"/>
                </a:lnTo>
                <a:lnTo>
                  <a:pt x="486" y="124"/>
                </a:lnTo>
                <a:lnTo>
                  <a:pt x="455" y="139"/>
                </a:lnTo>
                <a:lnTo>
                  <a:pt x="424" y="156"/>
                </a:lnTo>
                <a:lnTo>
                  <a:pt x="394" y="175"/>
                </a:lnTo>
                <a:lnTo>
                  <a:pt x="365" y="194"/>
                </a:lnTo>
                <a:lnTo>
                  <a:pt x="336" y="215"/>
                </a:lnTo>
                <a:lnTo>
                  <a:pt x="309" y="238"/>
                </a:lnTo>
                <a:lnTo>
                  <a:pt x="283" y="262"/>
                </a:lnTo>
                <a:lnTo>
                  <a:pt x="267" y="278"/>
                </a:lnTo>
                <a:lnTo>
                  <a:pt x="262" y="278"/>
                </a:lnTo>
                <a:lnTo>
                  <a:pt x="225" y="323"/>
                </a:lnTo>
                <a:lnTo>
                  <a:pt x="215" y="335"/>
                </a:lnTo>
                <a:lnTo>
                  <a:pt x="176" y="391"/>
                </a:lnTo>
                <a:lnTo>
                  <a:pt x="168" y="402"/>
                </a:lnTo>
                <a:lnTo>
                  <a:pt x="135" y="460"/>
                </a:lnTo>
                <a:lnTo>
                  <a:pt x="135" y="461"/>
                </a:lnTo>
                <a:lnTo>
                  <a:pt x="131" y="469"/>
                </a:lnTo>
                <a:lnTo>
                  <a:pt x="127" y="477"/>
                </a:lnTo>
                <a:lnTo>
                  <a:pt x="119" y="499"/>
                </a:lnTo>
                <a:lnTo>
                  <a:pt x="113" y="521"/>
                </a:lnTo>
                <a:lnTo>
                  <a:pt x="106" y="543"/>
                </a:lnTo>
                <a:lnTo>
                  <a:pt x="102" y="566"/>
                </a:lnTo>
                <a:lnTo>
                  <a:pt x="98" y="589"/>
                </a:lnTo>
                <a:lnTo>
                  <a:pt x="96" y="612"/>
                </a:lnTo>
                <a:lnTo>
                  <a:pt x="94" y="635"/>
                </a:lnTo>
                <a:lnTo>
                  <a:pt x="94" y="659"/>
                </a:lnTo>
                <a:lnTo>
                  <a:pt x="94" y="677"/>
                </a:lnTo>
                <a:lnTo>
                  <a:pt x="95" y="695"/>
                </a:lnTo>
                <a:lnTo>
                  <a:pt x="96" y="712"/>
                </a:lnTo>
                <a:lnTo>
                  <a:pt x="98" y="729"/>
                </a:lnTo>
                <a:lnTo>
                  <a:pt x="101" y="747"/>
                </a:lnTo>
                <a:lnTo>
                  <a:pt x="104" y="763"/>
                </a:lnTo>
                <a:lnTo>
                  <a:pt x="108" y="781"/>
                </a:lnTo>
                <a:lnTo>
                  <a:pt x="113" y="798"/>
                </a:lnTo>
                <a:lnTo>
                  <a:pt x="118" y="814"/>
                </a:lnTo>
                <a:lnTo>
                  <a:pt x="123" y="830"/>
                </a:lnTo>
                <a:lnTo>
                  <a:pt x="129" y="847"/>
                </a:lnTo>
                <a:lnTo>
                  <a:pt x="136" y="862"/>
                </a:lnTo>
                <a:lnTo>
                  <a:pt x="143" y="878"/>
                </a:lnTo>
                <a:lnTo>
                  <a:pt x="150" y="893"/>
                </a:lnTo>
                <a:lnTo>
                  <a:pt x="159" y="908"/>
                </a:lnTo>
                <a:lnTo>
                  <a:pt x="167" y="924"/>
                </a:lnTo>
                <a:lnTo>
                  <a:pt x="177" y="938"/>
                </a:lnTo>
                <a:lnTo>
                  <a:pt x="186" y="952"/>
                </a:lnTo>
                <a:lnTo>
                  <a:pt x="197" y="966"/>
                </a:lnTo>
                <a:lnTo>
                  <a:pt x="207" y="980"/>
                </a:lnTo>
                <a:lnTo>
                  <a:pt x="218" y="993"/>
                </a:lnTo>
                <a:lnTo>
                  <a:pt x="229" y="1006"/>
                </a:lnTo>
                <a:lnTo>
                  <a:pt x="242" y="1018"/>
                </a:lnTo>
                <a:lnTo>
                  <a:pt x="254" y="1031"/>
                </a:lnTo>
                <a:lnTo>
                  <a:pt x="267" y="1042"/>
                </a:lnTo>
                <a:lnTo>
                  <a:pt x="281" y="1054"/>
                </a:lnTo>
                <a:lnTo>
                  <a:pt x="294" y="1065"/>
                </a:lnTo>
                <a:lnTo>
                  <a:pt x="308" y="1075"/>
                </a:lnTo>
                <a:lnTo>
                  <a:pt x="323" y="1086"/>
                </a:lnTo>
                <a:lnTo>
                  <a:pt x="337" y="1095"/>
                </a:lnTo>
                <a:lnTo>
                  <a:pt x="353" y="1105"/>
                </a:lnTo>
                <a:lnTo>
                  <a:pt x="369" y="1113"/>
                </a:lnTo>
                <a:lnTo>
                  <a:pt x="369" y="1114"/>
                </a:lnTo>
                <a:lnTo>
                  <a:pt x="385" y="1122"/>
                </a:lnTo>
                <a:lnTo>
                  <a:pt x="401" y="1130"/>
                </a:lnTo>
                <a:lnTo>
                  <a:pt x="418" y="1137"/>
                </a:lnTo>
                <a:lnTo>
                  <a:pt x="436" y="1143"/>
                </a:lnTo>
                <a:lnTo>
                  <a:pt x="454" y="1148"/>
                </a:lnTo>
                <a:lnTo>
                  <a:pt x="472" y="1153"/>
                </a:lnTo>
                <a:lnTo>
                  <a:pt x="490" y="1158"/>
                </a:lnTo>
                <a:lnTo>
                  <a:pt x="507" y="1161"/>
                </a:lnTo>
                <a:lnTo>
                  <a:pt x="542" y="1167"/>
                </a:lnTo>
                <a:lnTo>
                  <a:pt x="575" y="1170"/>
                </a:lnTo>
                <a:lnTo>
                  <a:pt x="605" y="1172"/>
                </a:lnTo>
                <a:lnTo>
                  <a:pt x="631" y="1173"/>
                </a:lnTo>
                <a:lnTo>
                  <a:pt x="654" y="1173"/>
                </a:lnTo>
                <a:lnTo>
                  <a:pt x="671" y="1172"/>
                </a:lnTo>
                <a:lnTo>
                  <a:pt x="683" y="1172"/>
                </a:lnTo>
                <a:lnTo>
                  <a:pt x="687" y="1172"/>
                </a:lnTo>
                <a:lnTo>
                  <a:pt x="712" y="1168"/>
                </a:lnTo>
                <a:lnTo>
                  <a:pt x="736" y="1164"/>
                </a:lnTo>
                <a:lnTo>
                  <a:pt x="760" y="1159"/>
                </a:lnTo>
                <a:lnTo>
                  <a:pt x="784" y="1151"/>
                </a:lnTo>
                <a:lnTo>
                  <a:pt x="806" y="1145"/>
                </a:lnTo>
                <a:lnTo>
                  <a:pt x="828" y="1137"/>
                </a:lnTo>
                <a:lnTo>
                  <a:pt x="849" y="1128"/>
                </a:lnTo>
                <a:lnTo>
                  <a:pt x="870" y="1119"/>
                </a:lnTo>
                <a:lnTo>
                  <a:pt x="891" y="1108"/>
                </a:lnTo>
                <a:lnTo>
                  <a:pt x="911" y="1096"/>
                </a:lnTo>
                <a:lnTo>
                  <a:pt x="931" y="1084"/>
                </a:lnTo>
                <a:lnTo>
                  <a:pt x="948" y="1071"/>
                </a:lnTo>
                <a:lnTo>
                  <a:pt x="965" y="1059"/>
                </a:lnTo>
                <a:lnTo>
                  <a:pt x="981" y="1045"/>
                </a:lnTo>
                <a:lnTo>
                  <a:pt x="996" y="1032"/>
                </a:lnTo>
                <a:lnTo>
                  <a:pt x="1009" y="1017"/>
                </a:lnTo>
                <a:lnTo>
                  <a:pt x="1023" y="1002"/>
                </a:lnTo>
                <a:lnTo>
                  <a:pt x="1034" y="988"/>
                </a:lnTo>
                <a:lnTo>
                  <a:pt x="1044" y="976"/>
                </a:lnTo>
                <a:lnTo>
                  <a:pt x="1051" y="965"/>
                </a:lnTo>
                <a:lnTo>
                  <a:pt x="1062" y="946"/>
                </a:lnTo>
                <a:lnTo>
                  <a:pt x="1071" y="928"/>
                </a:lnTo>
                <a:lnTo>
                  <a:pt x="1075" y="920"/>
                </a:lnTo>
                <a:lnTo>
                  <a:pt x="1082" y="906"/>
                </a:lnTo>
                <a:lnTo>
                  <a:pt x="1087" y="890"/>
                </a:lnTo>
                <a:lnTo>
                  <a:pt x="1093" y="872"/>
                </a:lnTo>
                <a:lnTo>
                  <a:pt x="1099" y="852"/>
                </a:lnTo>
                <a:lnTo>
                  <a:pt x="1102" y="835"/>
                </a:lnTo>
                <a:lnTo>
                  <a:pt x="1105" y="817"/>
                </a:lnTo>
                <a:lnTo>
                  <a:pt x="1107" y="801"/>
                </a:lnTo>
                <a:lnTo>
                  <a:pt x="1108" y="783"/>
                </a:lnTo>
                <a:lnTo>
                  <a:pt x="1107" y="765"/>
                </a:lnTo>
                <a:lnTo>
                  <a:pt x="1105" y="746"/>
                </a:lnTo>
                <a:lnTo>
                  <a:pt x="1102" y="725"/>
                </a:lnTo>
                <a:lnTo>
                  <a:pt x="1096" y="703"/>
                </a:lnTo>
                <a:lnTo>
                  <a:pt x="1091" y="682"/>
                </a:lnTo>
                <a:lnTo>
                  <a:pt x="1085" y="662"/>
                </a:lnTo>
                <a:lnTo>
                  <a:pt x="1078" y="645"/>
                </a:lnTo>
                <a:lnTo>
                  <a:pt x="1071" y="629"/>
                </a:lnTo>
                <a:lnTo>
                  <a:pt x="1062" y="625"/>
                </a:lnTo>
                <a:lnTo>
                  <a:pt x="1051" y="622"/>
                </a:lnTo>
                <a:lnTo>
                  <a:pt x="1042" y="619"/>
                </a:lnTo>
                <a:lnTo>
                  <a:pt x="1031" y="616"/>
                </a:lnTo>
                <a:lnTo>
                  <a:pt x="1021" y="613"/>
                </a:lnTo>
                <a:lnTo>
                  <a:pt x="1009" y="610"/>
                </a:lnTo>
                <a:lnTo>
                  <a:pt x="998" y="608"/>
                </a:lnTo>
                <a:lnTo>
                  <a:pt x="987" y="606"/>
                </a:lnTo>
                <a:lnTo>
                  <a:pt x="975" y="604"/>
                </a:lnTo>
                <a:lnTo>
                  <a:pt x="962" y="603"/>
                </a:lnTo>
                <a:lnTo>
                  <a:pt x="949" y="603"/>
                </a:lnTo>
                <a:lnTo>
                  <a:pt x="937" y="603"/>
                </a:lnTo>
                <a:close/>
                <a:moveTo>
                  <a:pt x="703" y="876"/>
                </a:moveTo>
                <a:lnTo>
                  <a:pt x="712" y="885"/>
                </a:lnTo>
                <a:lnTo>
                  <a:pt x="723" y="892"/>
                </a:lnTo>
                <a:lnTo>
                  <a:pt x="733" y="899"/>
                </a:lnTo>
                <a:lnTo>
                  <a:pt x="745" y="904"/>
                </a:lnTo>
                <a:lnTo>
                  <a:pt x="757" y="909"/>
                </a:lnTo>
                <a:lnTo>
                  <a:pt x="770" y="912"/>
                </a:lnTo>
                <a:lnTo>
                  <a:pt x="784" y="914"/>
                </a:lnTo>
                <a:lnTo>
                  <a:pt x="797" y="914"/>
                </a:lnTo>
                <a:lnTo>
                  <a:pt x="810" y="914"/>
                </a:lnTo>
                <a:lnTo>
                  <a:pt x="821" y="912"/>
                </a:lnTo>
                <a:lnTo>
                  <a:pt x="833" y="909"/>
                </a:lnTo>
                <a:lnTo>
                  <a:pt x="844" y="906"/>
                </a:lnTo>
                <a:lnTo>
                  <a:pt x="856" y="901"/>
                </a:lnTo>
                <a:lnTo>
                  <a:pt x="866" y="894"/>
                </a:lnTo>
                <a:lnTo>
                  <a:pt x="877" y="888"/>
                </a:lnTo>
                <a:lnTo>
                  <a:pt x="886" y="881"/>
                </a:lnTo>
                <a:lnTo>
                  <a:pt x="893" y="875"/>
                </a:lnTo>
                <a:lnTo>
                  <a:pt x="899" y="867"/>
                </a:lnTo>
                <a:lnTo>
                  <a:pt x="910" y="853"/>
                </a:lnTo>
                <a:lnTo>
                  <a:pt x="917" y="840"/>
                </a:lnTo>
                <a:lnTo>
                  <a:pt x="922" y="827"/>
                </a:lnTo>
                <a:lnTo>
                  <a:pt x="927" y="810"/>
                </a:lnTo>
                <a:lnTo>
                  <a:pt x="928" y="797"/>
                </a:lnTo>
                <a:lnTo>
                  <a:pt x="929" y="784"/>
                </a:lnTo>
                <a:lnTo>
                  <a:pt x="929" y="771"/>
                </a:lnTo>
                <a:lnTo>
                  <a:pt x="927" y="757"/>
                </a:lnTo>
                <a:lnTo>
                  <a:pt x="923" y="745"/>
                </a:lnTo>
                <a:lnTo>
                  <a:pt x="919" y="733"/>
                </a:lnTo>
                <a:lnTo>
                  <a:pt x="914" y="721"/>
                </a:lnTo>
                <a:lnTo>
                  <a:pt x="907" y="710"/>
                </a:lnTo>
                <a:lnTo>
                  <a:pt x="899" y="700"/>
                </a:lnTo>
                <a:lnTo>
                  <a:pt x="891" y="691"/>
                </a:lnTo>
                <a:lnTo>
                  <a:pt x="881" y="682"/>
                </a:lnTo>
                <a:lnTo>
                  <a:pt x="871" y="675"/>
                </a:lnTo>
                <a:lnTo>
                  <a:pt x="860" y="669"/>
                </a:lnTo>
                <a:lnTo>
                  <a:pt x="849" y="664"/>
                </a:lnTo>
                <a:lnTo>
                  <a:pt x="836" y="658"/>
                </a:lnTo>
                <a:lnTo>
                  <a:pt x="823" y="655"/>
                </a:lnTo>
                <a:lnTo>
                  <a:pt x="811" y="653"/>
                </a:lnTo>
                <a:lnTo>
                  <a:pt x="797" y="653"/>
                </a:lnTo>
                <a:lnTo>
                  <a:pt x="785" y="653"/>
                </a:lnTo>
                <a:lnTo>
                  <a:pt x="773" y="655"/>
                </a:lnTo>
                <a:lnTo>
                  <a:pt x="763" y="657"/>
                </a:lnTo>
                <a:lnTo>
                  <a:pt x="752" y="660"/>
                </a:lnTo>
                <a:lnTo>
                  <a:pt x="740" y="665"/>
                </a:lnTo>
                <a:lnTo>
                  <a:pt x="731" y="670"/>
                </a:lnTo>
                <a:lnTo>
                  <a:pt x="721" y="676"/>
                </a:lnTo>
                <a:lnTo>
                  <a:pt x="712" y="682"/>
                </a:lnTo>
                <a:lnTo>
                  <a:pt x="702" y="693"/>
                </a:lnTo>
                <a:lnTo>
                  <a:pt x="691" y="703"/>
                </a:lnTo>
                <a:lnTo>
                  <a:pt x="683" y="716"/>
                </a:lnTo>
                <a:lnTo>
                  <a:pt x="676" y="728"/>
                </a:lnTo>
                <a:lnTo>
                  <a:pt x="671" y="741"/>
                </a:lnTo>
                <a:lnTo>
                  <a:pt x="667" y="755"/>
                </a:lnTo>
                <a:lnTo>
                  <a:pt x="665" y="769"/>
                </a:lnTo>
                <a:lnTo>
                  <a:pt x="664" y="784"/>
                </a:lnTo>
                <a:lnTo>
                  <a:pt x="664" y="797"/>
                </a:lnTo>
                <a:lnTo>
                  <a:pt x="666" y="810"/>
                </a:lnTo>
                <a:lnTo>
                  <a:pt x="669" y="823"/>
                </a:lnTo>
                <a:lnTo>
                  <a:pt x="674" y="835"/>
                </a:lnTo>
                <a:lnTo>
                  <a:pt x="680" y="847"/>
                </a:lnTo>
                <a:lnTo>
                  <a:pt x="686" y="857"/>
                </a:lnTo>
                <a:lnTo>
                  <a:pt x="694" y="867"/>
                </a:lnTo>
                <a:lnTo>
                  <a:pt x="703" y="876"/>
                </a:lnTo>
                <a:close/>
                <a:moveTo>
                  <a:pt x="1039" y="398"/>
                </a:moveTo>
                <a:lnTo>
                  <a:pt x="1069" y="406"/>
                </a:lnTo>
                <a:lnTo>
                  <a:pt x="1099" y="415"/>
                </a:lnTo>
                <a:lnTo>
                  <a:pt x="1127" y="424"/>
                </a:lnTo>
                <a:lnTo>
                  <a:pt x="1155" y="436"/>
                </a:lnTo>
                <a:lnTo>
                  <a:pt x="1185" y="449"/>
                </a:lnTo>
                <a:lnTo>
                  <a:pt x="1212" y="465"/>
                </a:lnTo>
                <a:lnTo>
                  <a:pt x="1239" y="482"/>
                </a:lnTo>
                <a:lnTo>
                  <a:pt x="1264" y="499"/>
                </a:lnTo>
                <a:lnTo>
                  <a:pt x="1278" y="509"/>
                </a:lnTo>
                <a:lnTo>
                  <a:pt x="1291" y="519"/>
                </a:lnTo>
                <a:lnTo>
                  <a:pt x="1303" y="529"/>
                </a:lnTo>
                <a:lnTo>
                  <a:pt x="1315" y="541"/>
                </a:lnTo>
                <a:lnTo>
                  <a:pt x="1304" y="520"/>
                </a:lnTo>
                <a:lnTo>
                  <a:pt x="1294" y="500"/>
                </a:lnTo>
                <a:lnTo>
                  <a:pt x="1281" y="480"/>
                </a:lnTo>
                <a:lnTo>
                  <a:pt x="1269" y="462"/>
                </a:lnTo>
                <a:lnTo>
                  <a:pt x="1255" y="443"/>
                </a:lnTo>
                <a:lnTo>
                  <a:pt x="1240" y="425"/>
                </a:lnTo>
                <a:lnTo>
                  <a:pt x="1226" y="408"/>
                </a:lnTo>
                <a:lnTo>
                  <a:pt x="1210" y="391"/>
                </a:lnTo>
                <a:lnTo>
                  <a:pt x="1188" y="370"/>
                </a:lnTo>
                <a:lnTo>
                  <a:pt x="1165" y="349"/>
                </a:lnTo>
                <a:lnTo>
                  <a:pt x="1139" y="331"/>
                </a:lnTo>
                <a:lnTo>
                  <a:pt x="1114" y="313"/>
                </a:lnTo>
                <a:lnTo>
                  <a:pt x="1088" y="297"/>
                </a:lnTo>
                <a:lnTo>
                  <a:pt x="1061" y="282"/>
                </a:lnTo>
                <a:lnTo>
                  <a:pt x="1032" y="268"/>
                </a:lnTo>
                <a:lnTo>
                  <a:pt x="1004" y="257"/>
                </a:lnTo>
                <a:lnTo>
                  <a:pt x="979" y="249"/>
                </a:lnTo>
                <a:lnTo>
                  <a:pt x="955" y="240"/>
                </a:lnTo>
                <a:lnTo>
                  <a:pt x="928" y="234"/>
                </a:lnTo>
                <a:lnTo>
                  <a:pt x="903" y="229"/>
                </a:lnTo>
                <a:lnTo>
                  <a:pt x="877" y="225"/>
                </a:lnTo>
                <a:lnTo>
                  <a:pt x="851" y="221"/>
                </a:lnTo>
                <a:lnTo>
                  <a:pt x="823" y="219"/>
                </a:lnTo>
                <a:lnTo>
                  <a:pt x="797" y="219"/>
                </a:lnTo>
                <a:lnTo>
                  <a:pt x="767" y="219"/>
                </a:lnTo>
                <a:lnTo>
                  <a:pt x="737" y="223"/>
                </a:lnTo>
                <a:lnTo>
                  <a:pt x="708" y="226"/>
                </a:lnTo>
                <a:lnTo>
                  <a:pt x="679" y="231"/>
                </a:lnTo>
                <a:lnTo>
                  <a:pt x="650" y="237"/>
                </a:lnTo>
                <a:lnTo>
                  <a:pt x="623" y="245"/>
                </a:lnTo>
                <a:lnTo>
                  <a:pt x="596" y="255"/>
                </a:lnTo>
                <a:lnTo>
                  <a:pt x="569" y="265"/>
                </a:lnTo>
                <a:lnTo>
                  <a:pt x="543" y="277"/>
                </a:lnTo>
                <a:lnTo>
                  <a:pt x="517" y="290"/>
                </a:lnTo>
                <a:lnTo>
                  <a:pt x="492" y="305"/>
                </a:lnTo>
                <a:lnTo>
                  <a:pt x="467" y="320"/>
                </a:lnTo>
                <a:lnTo>
                  <a:pt x="444" y="337"/>
                </a:lnTo>
                <a:lnTo>
                  <a:pt x="422" y="356"/>
                </a:lnTo>
                <a:lnTo>
                  <a:pt x="401" y="374"/>
                </a:lnTo>
                <a:lnTo>
                  <a:pt x="380" y="394"/>
                </a:lnTo>
                <a:lnTo>
                  <a:pt x="378" y="397"/>
                </a:lnTo>
                <a:lnTo>
                  <a:pt x="366" y="410"/>
                </a:lnTo>
                <a:lnTo>
                  <a:pt x="353" y="424"/>
                </a:lnTo>
                <a:lnTo>
                  <a:pt x="341" y="439"/>
                </a:lnTo>
                <a:lnTo>
                  <a:pt x="331" y="453"/>
                </a:lnTo>
                <a:lnTo>
                  <a:pt x="317" y="474"/>
                </a:lnTo>
                <a:lnTo>
                  <a:pt x="306" y="497"/>
                </a:lnTo>
                <a:lnTo>
                  <a:pt x="295" y="520"/>
                </a:lnTo>
                <a:lnTo>
                  <a:pt x="287" y="545"/>
                </a:lnTo>
                <a:lnTo>
                  <a:pt x="281" y="569"/>
                </a:lnTo>
                <a:lnTo>
                  <a:pt x="276" y="594"/>
                </a:lnTo>
                <a:lnTo>
                  <a:pt x="273" y="619"/>
                </a:lnTo>
                <a:lnTo>
                  <a:pt x="272" y="645"/>
                </a:lnTo>
                <a:lnTo>
                  <a:pt x="272" y="660"/>
                </a:lnTo>
                <a:lnTo>
                  <a:pt x="274" y="676"/>
                </a:lnTo>
                <a:lnTo>
                  <a:pt x="275" y="692"/>
                </a:lnTo>
                <a:lnTo>
                  <a:pt x="278" y="707"/>
                </a:lnTo>
                <a:lnTo>
                  <a:pt x="282" y="723"/>
                </a:lnTo>
                <a:lnTo>
                  <a:pt x="285" y="737"/>
                </a:lnTo>
                <a:lnTo>
                  <a:pt x="289" y="752"/>
                </a:lnTo>
                <a:lnTo>
                  <a:pt x="294" y="767"/>
                </a:lnTo>
                <a:lnTo>
                  <a:pt x="301" y="781"/>
                </a:lnTo>
                <a:lnTo>
                  <a:pt x="307" y="795"/>
                </a:lnTo>
                <a:lnTo>
                  <a:pt x="314" y="809"/>
                </a:lnTo>
                <a:lnTo>
                  <a:pt x="322" y="823"/>
                </a:lnTo>
                <a:lnTo>
                  <a:pt x="330" y="835"/>
                </a:lnTo>
                <a:lnTo>
                  <a:pt x="339" y="848"/>
                </a:lnTo>
                <a:lnTo>
                  <a:pt x="349" y="860"/>
                </a:lnTo>
                <a:lnTo>
                  <a:pt x="358" y="873"/>
                </a:lnTo>
                <a:lnTo>
                  <a:pt x="374" y="889"/>
                </a:lnTo>
                <a:lnTo>
                  <a:pt x="391" y="904"/>
                </a:lnTo>
                <a:lnTo>
                  <a:pt x="408" y="918"/>
                </a:lnTo>
                <a:lnTo>
                  <a:pt x="427" y="932"/>
                </a:lnTo>
                <a:lnTo>
                  <a:pt x="438" y="939"/>
                </a:lnTo>
                <a:lnTo>
                  <a:pt x="450" y="946"/>
                </a:lnTo>
                <a:lnTo>
                  <a:pt x="461" y="953"/>
                </a:lnTo>
                <a:lnTo>
                  <a:pt x="474" y="959"/>
                </a:lnTo>
                <a:lnTo>
                  <a:pt x="464" y="942"/>
                </a:lnTo>
                <a:lnTo>
                  <a:pt x="457" y="926"/>
                </a:lnTo>
                <a:lnTo>
                  <a:pt x="451" y="909"/>
                </a:lnTo>
                <a:lnTo>
                  <a:pt x="444" y="892"/>
                </a:lnTo>
                <a:lnTo>
                  <a:pt x="437" y="866"/>
                </a:lnTo>
                <a:lnTo>
                  <a:pt x="432" y="839"/>
                </a:lnTo>
                <a:lnTo>
                  <a:pt x="430" y="826"/>
                </a:lnTo>
                <a:lnTo>
                  <a:pt x="429" y="811"/>
                </a:lnTo>
                <a:lnTo>
                  <a:pt x="428" y="798"/>
                </a:lnTo>
                <a:lnTo>
                  <a:pt x="428" y="784"/>
                </a:lnTo>
                <a:lnTo>
                  <a:pt x="429" y="763"/>
                </a:lnTo>
                <a:lnTo>
                  <a:pt x="430" y="743"/>
                </a:lnTo>
                <a:lnTo>
                  <a:pt x="433" y="723"/>
                </a:lnTo>
                <a:lnTo>
                  <a:pt x="437" y="703"/>
                </a:lnTo>
                <a:lnTo>
                  <a:pt x="441" y="684"/>
                </a:lnTo>
                <a:lnTo>
                  <a:pt x="448" y="666"/>
                </a:lnTo>
                <a:lnTo>
                  <a:pt x="455" y="647"/>
                </a:lnTo>
                <a:lnTo>
                  <a:pt x="462" y="629"/>
                </a:lnTo>
                <a:lnTo>
                  <a:pt x="472" y="612"/>
                </a:lnTo>
                <a:lnTo>
                  <a:pt x="482" y="594"/>
                </a:lnTo>
                <a:lnTo>
                  <a:pt x="493" y="577"/>
                </a:lnTo>
                <a:lnTo>
                  <a:pt x="505" y="562"/>
                </a:lnTo>
                <a:lnTo>
                  <a:pt x="518" y="546"/>
                </a:lnTo>
                <a:lnTo>
                  <a:pt x="532" y="531"/>
                </a:lnTo>
                <a:lnTo>
                  <a:pt x="546" y="517"/>
                </a:lnTo>
                <a:lnTo>
                  <a:pt x="561" y="504"/>
                </a:lnTo>
                <a:lnTo>
                  <a:pt x="562" y="503"/>
                </a:lnTo>
                <a:lnTo>
                  <a:pt x="577" y="493"/>
                </a:lnTo>
                <a:lnTo>
                  <a:pt x="592" y="483"/>
                </a:lnTo>
                <a:lnTo>
                  <a:pt x="600" y="477"/>
                </a:lnTo>
                <a:lnTo>
                  <a:pt x="608" y="472"/>
                </a:lnTo>
                <a:lnTo>
                  <a:pt x="617" y="467"/>
                </a:lnTo>
                <a:lnTo>
                  <a:pt x="624" y="463"/>
                </a:lnTo>
                <a:lnTo>
                  <a:pt x="640" y="454"/>
                </a:lnTo>
                <a:lnTo>
                  <a:pt x="654" y="446"/>
                </a:lnTo>
                <a:lnTo>
                  <a:pt x="670" y="439"/>
                </a:lnTo>
                <a:lnTo>
                  <a:pt x="687" y="432"/>
                </a:lnTo>
                <a:lnTo>
                  <a:pt x="703" y="425"/>
                </a:lnTo>
                <a:lnTo>
                  <a:pt x="719" y="419"/>
                </a:lnTo>
                <a:lnTo>
                  <a:pt x="736" y="414"/>
                </a:lnTo>
                <a:lnTo>
                  <a:pt x="753" y="409"/>
                </a:lnTo>
                <a:lnTo>
                  <a:pt x="787" y="400"/>
                </a:lnTo>
                <a:lnTo>
                  <a:pt x="821" y="394"/>
                </a:lnTo>
                <a:lnTo>
                  <a:pt x="838" y="391"/>
                </a:lnTo>
                <a:lnTo>
                  <a:pt x="856" y="389"/>
                </a:lnTo>
                <a:lnTo>
                  <a:pt x="874" y="388"/>
                </a:lnTo>
                <a:lnTo>
                  <a:pt x="892" y="387"/>
                </a:lnTo>
                <a:lnTo>
                  <a:pt x="916" y="386"/>
                </a:lnTo>
                <a:lnTo>
                  <a:pt x="947" y="387"/>
                </a:lnTo>
                <a:lnTo>
                  <a:pt x="979" y="389"/>
                </a:lnTo>
                <a:lnTo>
                  <a:pt x="1009" y="393"/>
                </a:lnTo>
                <a:lnTo>
                  <a:pt x="1039" y="398"/>
                </a:lnTo>
                <a:close/>
                <a:moveTo>
                  <a:pt x="990" y="1316"/>
                </a:moveTo>
                <a:lnTo>
                  <a:pt x="1012" y="1307"/>
                </a:lnTo>
                <a:lnTo>
                  <a:pt x="1032" y="1299"/>
                </a:lnTo>
                <a:lnTo>
                  <a:pt x="1053" y="1289"/>
                </a:lnTo>
                <a:lnTo>
                  <a:pt x="1073" y="1278"/>
                </a:lnTo>
                <a:lnTo>
                  <a:pt x="1093" y="1268"/>
                </a:lnTo>
                <a:lnTo>
                  <a:pt x="1112" y="1255"/>
                </a:lnTo>
                <a:lnTo>
                  <a:pt x="1131" y="1243"/>
                </a:lnTo>
                <a:lnTo>
                  <a:pt x="1149" y="1230"/>
                </a:lnTo>
                <a:lnTo>
                  <a:pt x="1148" y="1229"/>
                </a:lnTo>
                <a:lnTo>
                  <a:pt x="1162" y="1219"/>
                </a:lnTo>
                <a:lnTo>
                  <a:pt x="1176" y="1206"/>
                </a:lnTo>
                <a:lnTo>
                  <a:pt x="1190" y="1193"/>
                </a:lnTo>
                <a:lnTo>
                  <a:pt x="1204" y="1179"/>
                </a:lnTo>
                <a:lnTo>
                  <a:pt x="1216" y="1164"/>
                </a:lnTo>
                <a:lnTo>
                  <a:pt x="1228" y="1149"/>
                </a:lnTo>
                <a:lnTo>
                  <a:pt x="1238" y="1133"/>
                </a:lnTo>
                <a:lnTo>
                  <a:pt x="1249" y="1116"/>
                </a:lnTo>
                <a:lnTo>
                  <a:pt x="1257" y="1098"/>
                </a:lnTo>
                <a:lnTo>
                  <a:pt x="1264" y="1082"/>
                </a:lnTo>
                <a:lnTo>
                  <a:pt x="1272" y="1064"/>
                </a:lnTo>
                <a:lnTo>
                  <a:pt x="1277" y="1046"/>
                </a:lnTo>
                <a:lnTo>
                  <a:pt x="1282" y="1028"/>
                </a:lnTo>
                <a:lnTo>
                  <a:pt x="1285" y="1009"/>
                </a:lnTo>
                <a:lnTo>
                  <a:pt x="1289" y="990"/>
                </a:lnTo>
                <a:lnTo>
                  <a:pt x="1291" y="970"/>
                </a:lnTo>
                <a:lnTo>
                  <a:pt x="1291" y="951"/>
                </a:lnTo>
                <a:lnTo>
                  <a:pt x="1291" y="933"/>
                </a:lnTo>
                <a:lnTo>
                  <a:pt x="1289" y="915"/>
                </a:lnTo>
                <a:lnTo>
                  <a:pt x="1286" y="898"/>
                </a:lnTo>
                <a:lnTo>
                  <a:pt x="1283" y="881"/>
                </a:lnTo>
                <a:lnTo>
                  <a:pt x="1280" y="863"/>
                </a:lnTo>
                <a:lnTo>
                  <a:pt x="1275" y="848"/>
                </a:lnTo>
                <a:lnTo>
                  <a:pt x="1270" y="831"/>
                </a:lnTo>
                <a:lnTo>
                  <a:pt x="1263" y="815"/>
                </a:lnTo>
                <a:lnTo>
                  <a:pt x="1256" y="800"/>
                </a:lnTo>
                <a:lnTo>
                  <a:pt x="1248" y="784"/>
                </a:lnTo>
                <a:lnTo>
                  <a:pt x="1238" y="769"/>
                </a:lnTo>
                <a:lnTo>
                  <a:pt x="1229" y="754"/>
                </a:lnTo>
                <a:lnTo>
                  <a:pt x="1218" y="741"/>
                </a:lnTo>
                <a:lnTo>
                  <a:pt x="1208" y="727"/>
                </a:lnTo>
                <a:lnTo>
                  <a:pt x="1196" y="713"/>
                </a:lnTo>
                <a:lnTo>
                  <a:pt x="1184" y="702"/>
                </a:lnTo>
                <a:lnTo>
                  <a:pt x="1169" y="687"/>
                </a:lnTo>
                <a:lnTo>
                  <a:pt x="1152" y="675"/>
                </a:lnTo>
                <a:lnTo>
                  <a:pt x="1148" y="671"/>
                </a:lnTo>
                <a:lnTo>
                  <a:pt x="1151" y="680"/>
                </a:lnTo>
                <a:lnTo>
                  <a:pt x="1153" y="690"/>
                </a:lnTo>
                <a:lnTo>
                  <a:pt x="1155" y="699"/>
                </a:lnTo>
                <a:lnTo>
                  <a:pt x="1158" y="708"/>
                </a:lnTo>
                <a:lnTo>
                  <a:pt x="1162" y="727"/>
                </a:lnTo>
                <a:lnTo>
                  <a:pt x="1164" y="746"/>
                </a:lnTo>
                <a:lnTo>
                  <a:pt x="1166" y="764"/>
                </a:lnTo>
                <a:lnTo>
                  <a:pt x="1166" y="784"/>
                </a:lnTo>
                <a:lnTo>
                  <a:pt x="1166" y="798"/>
                </a:lnTo>
                <a:lnTo>
                  <a:pt x="1165" y="813"/>
                </a:lnTo>
                <a:lnTo>
                  <a:pt x="1163" y="831"/>
                </a:lnTo>
                <a:lnTo>
                  <a:pt x="1159" y="850"/>
                </a:lnTo>
                <a:lnTo>
                  <a:pt x="1154" y="871"/>
                </a:lnTo>
                <a:lnTo>
                  <a:pt x="1149" y="891"/>
                </a:lnTo>
                <a:lnTo>
                  <a:pt x="1142" y="913"/>
                </a:lnTo>
                <a:lnTo>
                  <a:pt x="1133" y="935"/>
                </a:lnTo>
                <a:lnTo>
                  <a:pt x="1126" y="952"/>
                </a:lnTo>
                <a:lnTo>
                  <a:pt x="1118" y="967"/>
                </a:lnTo>
                <a:lnTo>
                  <a:pt x="1109" y="983"/>
                </a:lnTo>
                <a:lnTo>
                  <a:pt x="1100" y="999"/>
                </a:lnTo>
                <a:lnTo>
                  <a:pt x="1088" y="1015"/>
                </a:lnTo>
                <a:lnTo>
                  <a:pt x="1076" y="1031"/>
                </a:lnTo>
                <a:lnTo>
                  <a:pt x="1063" y="1045"/>
                </a:lnTo>
                <a:lnTo>
                  <a:pt x="1049" y="1061"/>
                </a:lnTo>
                <a:lnTo>
                  <a:pt x="1030" y="1079"/>
                </a:lnTo>
                <a:lnTo>
                  <a:pt x="1011" y="1094"/>
                </a:lnTo>
                <a:lnTo>
                  <a:pt x="992" y="1110"/>
                </a:lnTo>
                <a:lnTo>
                  <a:pt x="973" y="1125"/>
                </a:lnTo>
                <a:lnTo>
                  <a:pt x="953" y="1139"/>
                </a:lnTo>
                <a:lnTo>
                  <a:pt x="932" y="1151"/>
                </a:lnTo>
                <a:lnTo>
                  <a:pt x="911" y="1163"/>
                </a:lnTo>
                <a:lnTo>
                  <a:pt x="889" y="1174"/>
                </a:lnTo>
                <a:lnTo>
                  <a:pt x="866" y="1185"/>
                </a:lnTo>
                <a:lnTo>
                  <a:pt x="843" y="1193"/>
                </a:lnTo>
                <a:lnTo>
                  <a:pt x="819" y="1201"/>
                </a:lnTo>
                <a:lnTo>
                  <a:pt x="795" y="1209"/>
                </a:lnTo>
                <a:lnTo>
                  <a:pt x="771" y="1215"/>
                </a:lnTo>
                <a:lnTo>
                  <a:pt x="746" y="1221"/>
                </a:lnTo>
                <a:lnTo>
                  <a:pt x="719" y="1225"/>
                </a:lnTo>
                <a:lnTo>
                  <a:pt x="693" y="1229"/>
                </a:lnTo>
                <a:lnTo>
                  <a:pt x="686" y="1229"/>
                </a:lnTo>
                <a:lnTo>
                  <a:pt x="666" y="1230"/>
                </a:lnTo>
                <a:lnTo>
                  <a:pt x="635" y="1231"/>
                </a:lnTo>
                <a:lnTo>
                  <a:pt x="598" y="1230"/>
                </a:lnTo>
                <a:lnTo>
                  <a:pt x="576" y="1229"/>
                </a:lnTo>
                <a:lnTo>
                  <a:pt x="553" y="1227"/>
                </a:lnTo>
                <a:lnTo>
                  <a:pt x="528" y="1224"/>
                </a:lnTo>
                <a:lnTo>
                  <a:pt x="503" y="1220"/>
                </a:lnTo>
                <a:lnTo>
                  <a:pt x="477" y="1215"/>
                </a:lnTo>
                <a:lnTo>
                  <a:pt x="451" y="1208"/>
                </a:lnTo>
                <a:lnTo>
                  <a:pt x="424" y="1200"/>
                </a:lnTo>
                <a:lnTo>
                  <a:pt x="398" y="1191"/>
                </a:lnTo>
                <a:lnTo>
                  <a:pt x="411" y="1202"/>
                </a:lnTo>
                <a:lnTo>
                  <a:pt x="431" y="1219"/>
                </a:lnTo>
                <a:lnTo>
                  <a:pt x="452" y="1236"/>
                </a:lnTo>
                <a:lnTo>
                  <a:pt x="473" y="1250"/>
                </a:lnTo>
                <a:lnTo>
                  <a:pt x="495" y="1265"/>
                </a:lnTo>
                <a:lnTo>
                  <a:pt x="518" y="1277"/>
                </a:lnTo>
                <a:lnTo>
                  <a:pt x="542" y="1290"/>
                </a:lnTo>
                <a:lnTo>
                  <a:pt x="566" y="1301"/>
                </a:lnTo>
                <a:lnTo>
                  <a:pt x="590" y="1310"/>
                </a:lnTo>
                <a:lnTo>
                  <a:pt x="614" y="1320"/>
                </a:lnTo>
                <a:lnTo>
                  <a:pt x="640" y="1327"/>
                </a:lnTo>
                <a:lnTo>
                  <a:pt x="665" y="1333"/>
                </a:lnTo>
                <a:lnTo>
                  <a:pt x="690" y="1339"/>
                </a:lnTo>
                <a:lnTo>
                  <a:pt x="716" y="1343"/>
                </a:lnTo>
                <a:lnTo>
                  <a:pt x="743" y="1346"/>
                </a:lnTo>
                <a:lnTo>
                  <a:pt x="770" y="1348"/>
                </a:lnTo>
                <a:lnTo>
                  <a:pt x="797" y="1348"/>
                </a:lnTo>
                <a:lnTo>
                  <a:pt x="822" y="1348"/>
                </a:lnTo>
                <a:lnTo>
                  <a:pt x="848" y="1346"/>
                </a:lnTo>
                <a:lnTo>
                  <a:pt x="872" y="1344"/>
                </a:lnTo>
                <a:lnTo>
                  <a:pt x="897" y="1340"/>
                </a:lnTo>
                <a:lnTo>
                  <a:pt x="921" y="1335"/>
                </a:lnTo>
                <a:lnTo>
                  <a:pt x="944" y="1329"/>
                </a:lnTo>
                <a:lnTo>
                  <a:pt x="967" y="1323"/>
                </a:lnTo>
                <a:lnTo>
                  <a:pt x="990" y="1316"/>
                </a:lnTo>
                <a:close/>
                <a:moveTo>
                  <a:pt x="498" y="57"/>
                </a:moveTo>
                <a:lnTo>
                  <a:pt x="533" y="45"/>
                </a:lnTo>
                <a:lnTo>
                  <a:pt x="568" y="33"/>
                </a:lnTo>
                <a:lnTo>
                  <a:pt x="605" y="23"/>
                </a:lnTo>
                <a:lnTo>
                  <a:pt x="642" y="16"/>
                </a:lnTo>
                <a:lnTo>
                  <a:pt x="680" y="8"/>
                </a:lnTo>
                <a:lnTo>
                  <a:pt x="718" y="4"/>
                </a:lnTo>
                <a:lnTo>
                  <a:pt x="757" y="1"/>
                </a:lnTo>
                <a:lnTo>
                  <a:pt x="797" y="0"/>
                </a:lnTo>
                <a:lnTo>
                  <a:pt x="838" y="1"/>
                </a:lnTo>
                <a:lnTo>
                  <a:pt x="878" y="4"/>
                </a:lnTo>
                <a:lnTo>
                  <a:pt x="918" y="9"/>
                </a:lnTo>
                <a:lnTo>
                  <a:pt x="958" y="17"/>
                </a:lnTo>
                <a:lnTo>
                  <a:pt x="996" y="25"/>
                </a:lnTo>
                <a:lnTo>
                  <a:pt x="1033" y="35"/>
                </a:lnTo>
                <a:lnTo>
                  <a:pt x="1070" y="48"/>
                </a:lnTo>
                <a:lnTo>
                  <a:pt x="1107" y="62"/>
                </a:lnTo>
                <a:lnTo>
                  <a:pt x="1143" y="78"/>
                </a:lnTo>
                <a:lnTo>
                  <a:pt x="1176" y="95"/>
                </a:lnTo>
                <a:lnTo>
                  <a:pt x="1210" y="113"/>
                </a:lnTo>
                <a:lnTo>
                  <a:pt x="1242" y="134"/>
                </a:lnTo>
                <a:lnTo>
                  <a:pt x="1274" y="156"/>
                </a:lnTo>
                <a:lnTo>
                  <a:pt x="1303" y="179"/>
                </a:lnTo>
                <a:lnTo>
                  <a:pt x="1333" y="204"/>
                </a:lnTo>
                <a:lnTo>
                  <a:pt x="1360" y="230"/>
                </a:lnTo>
                <a:lnTo>
                  <a:pt x="1386" y="257"/>
                </a:lnTo>
                <a:lnTo>
                  <a:pt x="1411" y="285"/>
                </a:lnTo>
                <a:lnTo>
                  <a:pt x="1436" y="315"/>
                </a:lnTo>
                <a:lnTo>
                  <a:pt x="1458" y="345"/>
                </a:lnTo>
                <a:lnTo>
                  <a:pt x="1479" y="378"/>
                </a:lnTo>
                <a:lnTo>
                  <a:pt x="1498" y="411"/>
                </a:lnTo>
                <a:lnTo>
                  <a:pt x="1515" y="444"/>
                </a:lnTo>
                <a:lnTo>
                  <a:pt x="1531" y="478"/>
                </a:lnTo>
                <a:lnTo>
                  <a:pt x="1545" y="515"/>
                </a:lnTo>
                <a:lnTo>
                  <a:pt x="1557" y="551"/>
                </a:lnTo>
                <a:lnTo>
                  <a:pt x="1569" y="588"/>
                </a:lnTo>
                <a:lnTo>
                  <a:pt x="1577" y="626"/>
                </a:lnTo>
                <a:lnTo>
                  <a:pt x="1585" y="665"/>
                </a:lnTo>
                <a:lnTo>
                  <a:pt x="1590" y="704"/>
                </a:lnTo>
                <a:lnTo>
                  <a:pt x="1592" y="744"/>
                </a:lnTo>
                <a:lnTo>
                  <a:pt x="1593" y="784"/>
                </a:lnTo>
                <a:lnTo>
                  <a:pt x="1593" y="804"/>
                </a:lnTo>
                <a:lnTo>
                  <a:pt x="1592" y="825"/>
                </a:lnTo>
                <a:lnTo>
                  <a:pt x="1591" y="845"/>
                </a:lnTo>
                <a:lnTo>
                  <a:pt x="1589" y="864"/>
                </a:lnTo>
                <a:lnTo>
                  <a:pt x="1585" y="904"/>
                </a:lnTo>
                <a:lnTo>
                  <a:pt x="1577" y="943"/>
                </a:lnTo>
                <a:lnTo>
                  <a:pt x="1568" y="981"/>
                </a:lnTo>
                <a:lnTo>
                  <a:pt x="1557" y="1018"/>
                </a:lnTo>
                <a:lnTo>
                  <a:pt x="1545" y="1056"/>
                </a:lnTo>
                <a:lnTo>
                  <a:pt x="1530" y="1091"/>
                </a:lnTo>
                <a:lnTo>
                  <a:pt x="1513" y="1127"/>
                </a:lnTo>
                <a:lnTo>
                  <a:pt x="1494" y="1162"/>
                </a:lnTo>
                <a:lnTo>
                  <a:pt x="1474" y="1196"/>
                </a:lnTo>
                <a:lnTo>
                  <a:pt x="1452" y="1228"/>
                </a:lnTo>
                <a:lnTo>
                  <a:pt x="1429" y="1260"/>
                </a:lnTo>
                <a:lnTo>
                  <a:pt x="1404" y="1290"/>
                </a:lnTo>
                <a:lnTo>
                  <a:pt x="1378" y="1319"/>
                </a:lnTo>
                <a:lnTo>
                  <a:pt x="1351" y="1347"/>
                </a:lnTo>
                <a:lnTo>
                  <a:pt x="1347" y="1350"/>
                </a:lnTo>
                <a:lnTo>
                  <a:pt x="1321" y="1373"/>
                </a:lnTo>
                <a:lnTo>
                  <a:pt x="1294" y="1396"/>
                </a:lnTo>
                <a:lnTo>
                  <a:pt x="1267" y="1417"/>
                </a:lnTo>
                <a:lnTo>
                  <a:pt x="1237" y="1436"/>
                </a:lnTo>
                <a:lnTo>
                  <a:pt x="1208" y="1455"/>
                </a:lnTo>
                <a:lnTo>
                  <a:pt x="1177" y="1472"/>
                </a:lnTo>
                <a:lnTo>
                  <a:pt x="1147" y="1487"/>
                </a:lnTo>
                <a:lnTo>
                  <a:pt x="1115" y="1502"/>
                </a:lnTo>
                <a:lnTo>
                  <a:pt x="1113" y="1503"/>
                </a:lnTo>
                <a:lnTo>
                  <a:pt x="1075" y="1517"/>
                </a:lnTo>
                <a:lnTo>
                  <a:pt x="1038" y="1531"/>
                </a:lnTo>
                <a:lnTo>
                  <a:pt x="1018" y="1536"/>
                </a:lnTo>
                <a:lnTo>
                  <a:pt x="998" y="1541"/>
                </a:lnTo>
                <a:lnTo>
                  <a:pt x="978" y="1547"/>
                </a:lnTo>
                <a:lnTo>
                  <a:pt x="958" y="1551"/>
                </a:lnTo>
                <a:lnTo>
                  <a:pt x="939" y="1555"/>
                </a:lnTo>
                <a:lnTo>
                  <a:pt x="919" y="1558"/>
                </a:lnTo>
                <a:lnTo>
                  <a:pt x="899" y="1561"/>
                </a:lnTo>
                <a:lnTo>
                  <a:pt x="878" y="1563"/>
                </a:lnTo>
                <a:lnTo>
                  <a:pt x="858" y="1564"/>
                </a:lnTo>
                <a:lnTo>
                  <a:pt x="838" y="1566"/>
                </a:lnTo>
                <a:lnTo>
                  <a:pt x="817" y="1566"/>
                </a:lnTo>
                <a:lnTo>
                  <a:pt x="797" y="1567"/>
                </a:lnTo>
                <a:lnTo>
                  <a:pt x="756" y="1566"/>
                </a:lnTo>
                <a:lnTo>
                  <a:pt x="715" y="1563"/>
                </a:lnTo>
                <a:lnTo>
                  <a:pt x="675" y="1558"/>
                </a:lnTo>
                <a:lnTo>
                  <a:pt x="637" y="1551"/>
                </a:lnTo>
                <a:lnTo>
                  <a:pt x="598" y="1542"/>
                </a:lnTo>
                <a:lnTo>
                  <a:pt x="560" y="1532"/>
                </a:lnTo>
                <a:lnTo>
                  <a:pt x="523" y="1520"/>
                </a:lnTo>
                <a:lnTo>
                  <a:pt x="486" y="1505"/>
                </a:lnTo>
                <a:lnTo>
                  <a:pt x="452" y="1489"/>
                </a:lnTo>
                <a:lnTo>
                  <a:pt x="417" y="1473"/>
                </a:lnTo>
                <a:lnTo>
                  <a:pt x="383" y="1454"/>
                </a:lnTo>
                <a:lnTo>
                  <a:pt x="351" y="1433"/>
                </a:lnTo>
                <a:lnTo>
                  <a:pt x="320" y="1411"/>
                </a:lnTo>
                <a:lnTo>
                  <a:pt x="290" y="1388"/>
                </a:lnTo>
                <a:lnTo>
                  <a:pt x="261" y="1364"/>
                </a:lnTo>
                <a:lnTo>
                  <a:pt x="233" y="1338"/>
                </a:lnTo>
                <a:lnTo>
                  <a:pt x="207" y="1310"/>
                </a:lnTo>
                <a:lnTo>
                  <a:pt x="182" y="1282"/>
                </a:lnTo>
                <a:lnTo>
                  <a:pt x="159" y="1252"/>
                </a:lnTo>
                <a:lnTo>
                  <a:pt x="136" y="1222"/>
                </a:lnTo>
                <a:lnTo>
                  <a:pt x="116" y="1190"/>
                </a:lnTo>
                <a:lnTo>
                  <a:pt x="96" y="1157"/>
                </a:lnTo>
                <a:lnTo>
                  <a:pt x="79" y="1123"/>
                </a:lnTo>
                <a:lnTo>
                  <a:pt x="62" y="1089"/>
                </a:lnTo>
                <a:lnTo>
                  <a:pt x="49" y="1053"/>
                </a:lnTo>
                <a:lnTo>
                  <a:pt x="36" y="1016"/>
                </a:lnTo>
                <a:lnTo>
                  <a:pt x="25" y="980"/>
                </a:lnTo>
                <a:lnTo>
                  <a:pt x="16" y="941"/>
                </a:lnTo>
                <a:lnTo>
                  <a:pt x="9" y="903"/>
                </a:lnTo>
                <a:lnTo>
                  <a:pt x="4" y="864"/>
                </a:lnTo>
                <a:lnTo>
                  <a:pt x="1" y="824"/>
                </a:lnTo>
                <a:lnTo>
                  <a:pt x="0" y="784"/>
                </a:lnTo>
                <a:lnTo>
                  <a:pt x="0" y="762"/>
                </a:lnTo>
                <a:lnTo>
                  <a:pt x="1" y="741"/>
                </a:lnTo>
                <a:lnTo>
                  <a:pt x="2" y="719"/>
                </a:lnTo>
                <a:lnTo>
                  <a:pt x="4" y="698"/>
                </a:lnTo>
                <a:lnTo>
                  <a:pt x="8" y="677"/>
                </a:lnTo>
                <a:lnTo>
                  <a:pt x="11" y="656"/>
                </a:lnTo>
                <a:lnTo>
                  <a:pt x="14" y="635"/>
                </a:lnTo>
                <a:lnTo>
                  <a:pt x="18" y="615"/>
                </a:lnTo>
                <a:lnTo>
                  <a:pt x="23" y="594"/>
                </a:lnTo>
                <a:lnTo>
                  <a:pt x="30" y="573"/>
                </a:lnTo>
                <a:lnTo>
                  <a:pt x="35" y="552"/>
                </a:lnTo>
                <a:lnTo>
                  <a:pt x="42" y="532"/>
                </a:lnTo>
                <a:lnTo>
                  <a:pt x="50" y="512"/>
                </a:lnTo>
                <a:lnTo>
                  <a:pt x="57" y="492"/>
                </a:lnTo>
                <a:lnTo>
                  <a:pt x="65" y="473"/>
                </a:lnTo>
                <a:lnTo>
                  <a:pt x="74" y="453"/>
                </a:lnTo>
                <a:lnTo>
                  <a:pt x="80" y="442"/>
                </a:lnTo>
                <a:lnTo>
                  <a:pt x="86" y="430"/>
                </a:lnTo>
                <a:lnTo>
                  <a:pt x="93" y="418"/>
                </a:lnTo>
                <a:lnTo>
                  <a:pt x="99" y="406"/>
                </a:lnTo>
                <a:lnTo>
                  <a:pt x="103" y="397"/>
                </a:lnTo>
                <a:lnTo>
                  <a:pt x="108" y="390"/>
                </a:lnTo>
                <a:lnTo>
                  <a:pt x="113" y="382"/>
                </a:lnTo>
                <a:lnTo>
                  <a:pt x="118" y="374"/>
                </a:lnTo>
                <a:lnTo>
                  <a:pt x="127" y="359"/>
                </a:lnTo>
                <a:lnTo>
                  <a:pt x="148" y="329"/>
                </a:lnTo>
                <a:lnTo>
                  <a:pt x="162" y="311"/>
                </a:lnTo>
                <a:lnTo>
                  <a:pt x="176" y="294"/>
                </a:lnTo>
                <a:lnTo>
                  <a:pt x="189" y="278"/>
                </a:lnTo>
                <a:lnTo>
                  <a:pt x="204" y="260"/>
                </a:lnTo>
                <a:lnTo>
                  <a:pt x="214" y="250"/>
                </a:lnTo>
                <a:lnTo>
                  <a:pt x="224" y="239"/>
                </a:lnTo>
                <a:lnTo>
                  <a:pt x="234" y="229"/>
                </a:lnTo>
                <a:lnTo>
                  <a:pt x="245" y="218"/>
                </a:lnTo>
                <a:lnTo>
                  <a:pt x="245" y="218"/>
                </a:lnTo>
                <a:lnTo>
                  <a:pt x="273" y="193"/>
                </a:lnTo>
                <a:lnTo>
                  <a:pt x="302" y="169"/>
                </a:lnTo>
                <a:lnTo>
                  <a:pt x="332" y="148"/>
                </a:lnTo>
                <a:lnTo>
                  <a:pt x="364" y="127"/>
                </a:lnTo>
                <a:lnTo>
                  <a:pt x="395" y="107"/>
                </a:lnTo>
                <a:lnTo>
                  <a:pt x="429" y="88"/>
                </a:lnTo>
                <a:lnTo>
                  <a:pt x="462" y="73"/>
                </a:lnTo>
                <a:lnTo>
                  <a:pt x="498" y="57"/>
                </a:lnTo>
                <a:close/>
                <a:moveTo>
                  <a:pt x="7855" y="643"/>
                </a:moveTo>
                <a:lnTo>
                  <a:pt x="7700" y="643"/>
                </a:lnTo>
                <a:lnTo>
                  <a:pt x="7700" y="501"/>
                </a:lnTo>
                <a:lnTo>
                  <a:pt x="7855" y="501"/>
                </a:lnTo>
                <a:lnTo>
                  <a:pt x="7855" y="643"/>
                </a:lnTo>
                <a:close/>
                <a:moveTo>
                  <a:pt x="5599" y="643"/>
                </a:moveTo>
                <a:lnTo>
                  <a:pt x="5444" y="643"/>
                </a:lnTo>
                <a:lnTo>
                  <a:pt x="5444" y="501"/>
                </a:lnTo>
                <a:lnTo>
                  <a:pt x="5599" y="501"/>
                </a:lnTo>
                <a:lnTo>
                  <a:pt x="5599" y="643"/>
                </a:lnTo>
                <a:close/>
                <a:moveTo>
                  <a:pt x="15107" y="953"/>
                </a:moveTo>
                <a:lnTo>
                  <a:pt x="15107" y="828"/>
                </a:lnTo>
                <a:lnTo>
                  <a:pt x="15033" y="828"/>
                </a:lnTo>
                <a:lnTo>
                  <a:pt x="15024" y="828"/>
                </a:lnTo>
                <a:lnTo>
                  <a:pt x="15014" y="829"/>
                </a:lnTo>
                <a:lnTo>
                  <a:pt x="15007" y="830"/>
                </a:lnTo>
                <a:lnTo>
                  <a:pt x="14999" y="832"/>
                </a:lnTo>
                <a:lnTo>
                  <a:pt x="14993" y="834"/>
                </a:lnTo>
                <a:lnTo>
                  <a:pt x="14988" y="837"/>
                </a:lnTo>
                <a:lnTo>
                  <a:pt x="14983" y="840"/>
                </a:lnTo>
                <a:lnTo>
                  <a:pt x="14980" y="843"/>
                </a:lnTo>
                <a:lnTo>
                  <a:pt x="14976" y="848"/>
                </a:lnTo>
                <a:lnTo>
                  <a:pt x="14973" y="853"/>
                </a:lnTo>
                <a:lnTo>
                  <a:pt x="14971" y="858"/>
                </a:lnTo>
                <a:lnTo>
                  <a:pt x="14969" y="864"/>
                </a:lnTo>
                <a:lnTo>
                  <a:pt x="14967" y="878"/>
                </a:lnTo>
                <a:lnTo>
                  <a:pt x="14966" y="894"/>
                </a:lnTo>
                <a:lnTo>
                  <a:pt x="14967" y="906"/>
                </a:lnTo>
                <a:lnTo>
                  <a:pt x="14969" y="917"/>
                </a:lnTo>
                <a:lnTo>
                  <a:pt x="14972" y="927"/>
                </a:lnTo>
                <a:lnTo>
                  <a:pt x="14978" y="936"/>
                </a:lnTo>
                <a:lnTo>
                  <a:pt x="14982" y="939"/>
                </a:lnTo>
                <a:lnTo>
                  <a:pt x="14987" y="943"/>
                </a:lnTo>
                <a:lnTo>
                  <a:pt x="14992" y="945"/>
                </a:lnTo>
                <a:lnTo>
                  <a:pt x="14999" y="949"/>
                </a:lnTo>
                <a:lnTo>
                  <a:pt x="15008" y="950"/>
                </a:lnTo>
                <a:lnTo>
                  <a:pt x="15017" y="952"/>
                </a:lnTo>
                <a:lnTo>
                  <a:pt x="15029" y="952"/>
                </a:lnTo>
                <a:lnTo>
                  <a:pt x="15040" y="953"/>
                </a:lnTo>
                <a:lnTo>
                  <a:pt x="15107" y="953"/>
                </a:lnTo>
                <a:close/>
                <a:moveTo>
                  <a:pt x="15107" y="1256"/>
                </a:moveTo>
                <a:lnTo>
                  <a:pt x="15107" y="1058"/>
                </a:lnTo>
                <a:lnTo>
                  <a:pt x="15030" y="1058"/>
                </a:lnTo>
                <a:lnTo>
                  <a:pt x="14938" y="1256"/>
                </a:lnTo>
                <a:lnTo>
                  <a:pt x="14766" y="1256"/>
                </a:lnTo>
                <a:lnTo>
                  <a:pt x="14889" y="1027"/>
                </a:lnTo>
                <a:lnTo>
                  <a:pt x="14879" y="1021"/>
                </a:lnTo>
                <a:lnTo>
                  <a:pt x="14869" y="1016"/>
                </a:lnTo>
                <a:lnTo>
                  <a:pt x="14860" y="1010"/>
                </a:lnTo>
                <a:lnTo>
                  <a:pt x="14851" y="1003"/>
                </a:lnTo>
                <a:lnTo>
                  <a:pt x="14844" y="996"/>
                </a:lnTo>
                <a:lnTo>
                  <a:pt x="14837" y="989"/>
                </a:lnTo>
                <a:lnTo>
                  <a:pt x="14830" y="982"/>
                </a:lnTo>
                <a:lnTo>
                  <a:pt x="14825" y="973"/>
                </a:lnTo>
                <a:lnTo>
                  <a:pt x="14820" y="965"/>
                </a:lnTo>
                <a:lnTo>
                  <a:pt x="14816" y="956"/>
                </a:lnTo>
                <a:lnTo>
                  <a:pt x="14812" y="947"/>
                </a:lnTo>
                <a:lnTo>
                  <a:pt x="14809" y="937"/>
                </a:lnTo>
                <a:lnTo>
                  <a:pt x="14806" y="928"/>
                </a:lnTo>
                <a:lnTo>
                  <a:pt x="14805" y="917"/>
                </a:lnTo>
                <a:lnTo>
                  <a:pt x="14804" y="907"/>
                </a:lnTo>
                <a:lnTo>
                  <a:pt x="14803" y="895"/>
                </a:lnTo>
                <a:lnTo>
                  <a:pt x="14804" y="880"/>
                </a:lnTo>
                <a:lnTo>
                  <a:pt x="14806" y="864"/>
                </a:lnTo>
                <a:lnTo>
                  <a:pt x="14809" y="850"/>
                </a:lnTo>
                <a:lnTo>
                  <a:pt x="14815" y="835"/>
                </a:lnTo>
                <a:lnTo>
                  <a:pt x="14820" y="821"/>
                </a:lnTo>
                <a:lnTo>
                  <a:pt x="14827" y="807"/>
                </a:lnTo>
                <a:lnTo>
                  <a:pt x="14837" y="794"/>
                </a:lnTo>
                <a:lnTo>
                  <a:pt x="14846" y="781"/>
                </a:lnTo>
                <a:lnTo>
                  <a:pt x="14852" y="775"/>
                </a:lnTo>
                <a:lnTo>
                  <a:pt x="14859" y="770"/>
                </a:lnTo>
                <a:lnTo>
                  <a:pt x="14865" y="764"/>
                </a:lnTo>
                <a:lnTo>
                  <a:pt x="14872" y="759"/>
                </a:lnTo>
                <a:lnTo>
                  <a:pt x="14881" y="755"/>
                </a:lnTo>
                <a:lnTo>
                  <a:pt x="14890" y="751"/>
                </a:lnTo>
                <a:lnTo>
                  <a:pt x="14900" y="748"/>
                </a:lnTo>
                <a:lnTo>
                  <a:pt x="14909" y="744"/>
                </a:lnTo>
                <a:lnTo>
                  <a:pt x="14931" y="738"/>
                </a:lnTo>
                <a:lnTo>
                  <a:pt x="14955" y="734"/>
                </a:lnTo>
                <a:lnTo>
                  <a:pt x="14983" y="732"/>
                </a:lnTo>
                <a:lnTo>
                  <a:pt x="15012" y="731"/>
                </a:lnTo>
                <a:lnTo>
                  <a:pt x="15276" y="731"/>
                </a:lnTo>
                <a:lnTo>
                  <a:pt x="15276" y="1256"/>
                </a:lnTo>
                <a:lnTo>
                  <a:pt x="15107" y="1256"/>
                </a:lnTo>
                <a:close/>
                <a:moveTo>
                  <a:pt x="14398" y="1194"/>
                </a:moveTo>
                <a:lnTo>
                  <a:pt x="14398" y="1256"/>
                </a:lnTo>
                <a:lnTo>
                  <a:pt x="14230" y="1256"/>
                </a:lnTo>
                <a:lnTo>
                  <a:pt x="14230" y="731"/>
                </a:lnTo>
                <a:lnTo>
                  <a:pt x="14398" y="731"/>
                </a:lnTo>
                <a:lnTo>
                  <a:pt x="14398" y="984"/>
                </a:lnTo>
                <a:lnTo>
                  <a:pt x="14534" y="799"/>
                </a:lnTo>
                <a:lnTo>
                  <a:pt x="14534" y="731"/>
                </a:lnTo>
                <a:lnTo>
                  <a:pt x="14703" y="731"/>
                </a:lnTo>
                <a:lnTo>
                  <a:pt x="14703" y="1256"/>
                </a:lnTo>
                <a:lnTo>
                  <a:pt x="14534" y="1256"/>
                </a:lnTo>
                <a:lnTo>
                  <a:pt x="14534" y="1012"/>
                </a:lnTo>
                <a:lnTo>
                  <a:pt x="14507" y="1051"/>
                </a:lnTo>
                <a:lnTo>
                  <a:pt x="14398" y="1194"/>
                </a:lnTo>
                <a:close/>
                <a:moveTo>
                  <a:pt x="13724" y="731"/>
                </a:moveTo>
                <a:lnTo>
                  <a:pt x="14177" y="731"/>
                </a:lnTo>
                <a:lnTo>
                  <a:pt x="14177" y="850"/>
                </a:lnTo>
                <a:lnTo>
                  <a:pt x="14035" y="850"/>
                </a:lnTo>
                <a:lnTo>
                  <a:pt x="14035" y="1256"/>
                </a:lnTo>
                <a:lnTo>
                  <a:pt x="13867" y="1256"/>
                </a:lnTo>
                <a:lnTo>
                  <a:pt x="13867" y="850"/>
                </a:lnTo>
                <a:lnTo>
                  <a:pt x="13724" y="850"/>
                </a:lnTo>
                <a:lnTo>
                  <a:pt x="13724" y="731"/>
                </a:lnTo>
                <a:close/>
                <a:moveTo>
                  <a:pt x="13374" y="1194"/>
                </a:moveTo>
                <a:lnTo>
                  <a:pt x="13374" y="1256"/>
                </a:lnTo>
                <a:lnTo>
                  <a:pt x="13205" y="1256"/>
                </a:lnTo>
                <a:lnTo>
                  <a:pt x="13205" y="731"/>
                </a:lnTo>
                <a:lnTo>
                  <a:pt x="13374" y="731"/>
                </a:lnTo>
                <a:lnTo>
                  <a:pt x="13373" y="984"/>
                </a:lnTo>
                <a:lnTo>
                  <a:pt x="13511" y="799"/>
                </a:lnTo>
                <a:lnTo>
                  <a:pt x="13511" y="731"/>
                </a:lnTo>
                <a:lnTo>
                  <a:pt x="13680" y="731"/>
                </a:lnTo>
                <a:lnTo>
                  <a:pt x="13680" y="1256"/>
                </a:lnTo>
                <a:lnTo>
                  <a:pt x="13511" y="1256"/>
                </a:lnTo>
                <a:lnTo>
                  <a:pt x="13511" y="1012"/>
                </a:lnTo>
                <a:lnTo>
                  <a:pt x="13483" y="1051"/>
                </a:lnTo>
                <a:lnTo>
                  <a:pt x="13374" y="1194"/>
                </a:lnTo>
                <a:close/>
                <a:moveTo>
                  <a:pt x="12800" y="1143"/>
                </a:moveTo>
                <a:lnTo>
                  <a:pt x="12901" y="1143"/>
                </a:lnTo>
                <a:lnTo>
                  <a:pt x="12909" y="1143"/>
                </a:lnTo>
                <a:lnTo>
                  <a:pt x="12917" y="1142"/>
                </a:lnTo>
                <a:lnTo>
                  <a:pt x="12924" y="1141"/>
                </a:lnTo>
                <a:lnTo>
                  <a:pt x="12930" y="1139"/>
                </a:lnTo>
                <a:lnTo>
                  <a:pt x="12935" y="1138"/>
                </a:lnTo>
                <a:lnTo>
                  <a:pt x="12940" y="1135"/>
                </a:lnTo>
                <a:lnTo>
                  <a:pt x="12945" y="1132"/>
                </a:lnTo>
                <a:lnTo>
                  <a:pt x="12948" y="1128"/>
                </a:lnTo>
                <a:lnTo>
                  <a:pt x="12951" y="1124"/>
                </a:lnTo>
                <a:lnTo>
                  <a:pt x="12953" y="1120"/>
                </a:lnTo>
                <a:lnTo>
                  <a:pt x="12955" y="1116"/>
                </a:lnTo>
                <a:lnTo>
                  <a:pt x="12957" y="1111"/>
                </a:lnTo>
                <a:lnTo>
                  <a:pt x="12959" y="1098"/>
                </a:lnTo>
                <a:lnTo>
                  <a:pt x="12960" y="1085"/>
                </a:lnTo>
                <a:lnTo>
                  <a:pt x="12959" y="1071"/>
                </a:lnTo>
                <a:lnTo>
                  <a:pt x="12957" y="1059"/>
                </a:lnTo>
                <a:lnTo>
                  <a:pt x="12955" y="1054"/>
                </a:lnTo>
                <a:lnTo>
                  <a:pt x="12953" y="1049"/>
                </a:lnTo>
                <a:lnTo>
                  <a:pt x="12950" y="1044"/>
                </a:lnTo>
                <a:lnTo>
                  <a:pt x="12947" y="1041"/>
                </a:lnTo>
                <a:lnTo>
                  <a:pt x="12944" y="1037"/>
                </a:lnTo>
                <a:lnTo>
                  <a:pt x="12939" y="1034"/>
                </a:lnTo>
                <a:lnTo>
                  <a:pt x="12935" y="1031"/>
                </a:lnTo>
                <a:lnTo>
                  <a:pt x="12929" y="1029"/>
                </a:lnTo>
                <a:lnTo>
                  <a:pt x="12924" y="1028"/>
                </a:lnTo>
                <a:lnTo>
                  <a:pt x="12916" y="1027"/>
                </a:lnTo>
                <a:lnTo>
                  <a:pt x="12909" y="1025"/>
                </a:lnTo>
                <a:lnTo>
                  <a:pt x="12901" y="1025"/>
                </a:lnTo>
                <a:lnTo>
                  <a:pt x="12800" y="1025"/>
                </a:lnTo>
                <a:lnTo>
                  <a:pt x="12800" y="1143"/>
                </a:lnTo>
                <a:close/>
                <a:moveTo>
                  <a:pt x="12800" y="935"/>
                </a:moveTo>
                <a:lnTo>
                  <a:pt x="12893" y="935"/>
                </a:lnTo>
                <a:lnTo>
                  <a:pt x="12907" y="935"/>
                </a:lnTo>
                <a:lnTo>
                  <a:pt x="12918" y="933"/>
                </a:lnTo>
                <a:lnTo>
                  <a:pt x="12928" y="929"/>
                </a:lnTo>
                <a:lnTo>
                  <a:pt x="12936" y="925"/>
                </a:lnTo>
                <a:lnTo>
                  <a:pt x="12939" y="921"/>
                </a:lnTo>
                <a:lnTo>
                  <a:pt x="12941" y="917"/>
                </a:lnTo>
                <a:lnTo>
                  <a:pt x="12944" y="913"/>
                </a:lnTo>
                <a:lnTo>
                  <a:pt x="12946" y="908"/>
                </a:lnTo>
                <a:lnTo>
                  <a:pt x="12949" y="898"/>
                </a:lnTo>
                <a:lnTo>
                  <a:pt x="12949" y="884"/>
                </a:lnTo>
                <a:lnTo>
                  <a:pt x="12949" y="873"/>
                </a:lnTo>
                <a:lnTo>
                  <a:pt x="12947" y="863"/>
                </a:lnTo>
                <a:lnTo>
                  <a:pt x="12945" y="854"/>
                </a:lnTo>
                <a:lnTo>
                  <a:pt x="12940" y="846"/>
                </a:lnTo>
                <a:lnTo>
                  <a:pt x="12938" y="841"/>
                </a:lnTo>
                <a:lnTo>
                  <a:pt x="12934" y="837"/>
                </a:lnTo>
                <a:lnTo>
                  <a:pt x="12930" y="835"/>
                </a:lnTo>
                <a:lnTo>
                  <a:pt x="12925" y="832"/>
                </a:lnTo>
                <a:lnTo>
                  <a:pt x="12918" y="830"/>
                </a:lnTo>
                <a:lnTo>
                  <a:pt x="12911" y="829"/>
                </a:lnTo>
                <a:lnTo>
                  <a:pt x="12902" y="828"/>
                </a:lnTo>
                <a:lnTo>
                  <a:pt x="12893" y="828"/>
                </a:lnTo>
                <a:lnTo>
                  <a:pt x="12800" y="828"/>
                </a:lnTo>
                <a:lnTo>
                  <a:pt x="12800" y="935"/>
                </a:lnTo>
                <a:close/>
                <a:moveTo>
                  <a:pt x="12620" y="1256"/>
                </a:moveTo>
                <a:lnTo>
                  <a:pt x="12620" y="731"/>
                </a:lnTo>
                <a:lnTo>
                  <a:pt x="12927" y="731"/>
                </a:lnTo>
                <a:lnTo>
                  <a:pt x="12954" y="732"/>
                </a:lnTo>
                <a:lnTo>
                  <a:pt x="12978" y="734"/>
                </a:lnTo>
                <a:lnTo>
                  <a:pt x="12999" y="737"/>
                </a:lnTo>
                <a:lnTo>
                  <a:pt x="13017" y="743"/>
                </a:lnTo>
                <a:lnTo>
                  <a:pt x="13025" y="746"/>
                </a:lnTo>
                <a:lnTo>
                  <a:pt x="13034" y="749"/>
                </a:lnTo>
                <a:lnTo>
                  <a:pt x="13042" y="753"/>
                </a:lnTo>
                <a:lnTo>
                  <a:pt x="13050" y="758"/>
                </a:lnTo>
                <a:lnTo>
                  <a:pt x="13057" y="764"/>
                </a:lnTo>
                <a:lnTo>
                  <a:pt x="13064" y="771"/>
                </a:lnTo>
                <a:lnTo>
                  <a:pt x="13072" y="778"/>
                </a:lnTo>
                <a:lnTo>
                  <a:pt x="13078" y="786"/>
                </a:lnTo>
                <a:lnTo>
                  <a:pt x="13084" y="795"/>
                </a:lnTo>
                <a:lnTo>
                  <a:pt x="13090" y="804"/>
                </a:lnTo>
                <a:lnTo>
                  <a:pt x="13095" y="813"/>
                </a:lnTo>
                <a:lnTo>
                  <a:pt x="13098" y="823"/>
                </a:lnTo>
                <a:lnTo>
                  <a:pt x="13101" y="833"/>
                </a:lnTo>
                <a:lnTo>
                  <a:pt x="13103" y="843"/>
                </a:lnTo>
                <a:lnTo>
                  <a:pt x="13104" y="854"/>
                </a:lnTo>
                <a:lnTo>
                  <a:pt x="13105" y="865"/>
                </a:lnTo>
                <a:lnTo>
                  <a:pt x="13104" y="874"/>
                </a:lnTo>
                <a:lnTo>
                  <a:pt x="13103" y="883"/>
                </a:lnTo>
                <a:lnTo>
                  <a:pt x="13102" y="891"/>
                </a:lnTo>
                <a:lnTo>
                  <a:pt x="13100" y="900"/>
                </a:lnTo>
                <a:lnTo>
                  <a:pt x="13097" y="907"/>
                </a:lnTo>
                <a:lnTo>
                  <a:pt x="13094" y="914"/>
                </a:lnTo>
                <a:lnTo>
                  <a:pt x="13091" y="921"/>
                </a:lnTo>
                <a:lnTo>
                  <a:pt x="13085" y="929"/>
                </a:lnTo>
                <a:lnTo>
                  <a:pt x="13081" y="936"/>
                </a:lnTo>
                <a:lnTo>
                  <a:pt x="13075" y="942"/>
                </a:lnTo>
                <a:lnTo>
                  <a:pt x="13069" y="949"/>
                </a:lnTo>
                <a:lnTo>
                  <a:pt x="13062" y="955"/>
                </a:lnTo>
                <a:lnTo>
                  <a:pt x="13055" y="961"/>
                </a:lnTo>
                <a:lnTo>
                  <a:pt x="13046" y="966"/>
                </a:lnTo>
                <a:lnTo>
                  <a:pt x="13038" y="971"/>
                </a:lnTo>
                <a:lnTo>
                  <a:pt x="13030" y="977"/>
                </a:lnTo>
                <a:lnTo>
                  <a:pt x="13040" y="982"/>
                </a:lnTo>
                <a:lnTo>
                  <a:pt x="13051" y="987"/>
                </a:lnTo>
                <a:lnTo>
                  <a:pt x="13061" y="992"/>
                </a:lnTo>
                <a:lnTo>
                  <a:pt x="13070" y="998"/>
                </a:lnTo>
                <a:lnTo>
                  <a:pt x="13078" y="1006"/>
                </a:lnTo>
                <a:lnTo>
                  <a:pt x="13085" y="1012"/>
                </a:lnTo>
                <a:lnTo>
                  <a:pt x="13093" y="1019"/>
                </a:lnTo>
                <a:lnTo>
                  <a:pt x="13099" y="1028"/>
                </a:lnTo>
                <a:lnTo>
                  <a:pt x="13104" y="1036"/>
                </a:lnTo>
                <a:lnTo>
                  <a:pt x="13109" y="1044"/>
                </a:lnTo>
                <a:lnTo>
                  <a:pt x="13113" y="1053"/>
                </a:lnTo>
                <a:lnTo>
                  <a:pt x="13116" y="1062"/>
                </a:lnTo>
                <a:lnTo>
                  <a:pt x="13119" y="1071"/>
                </a:lnTo>
                <a:lnTo>
                  <a:pt x="13121" y="1082"/>
                </a:lnTo>
                <a:lnTo>
                  <a:pt x="13122" y="1092"/>
                </a:lnTo>
                <a:lnTo>
                  <a:pt x="13122" y="1102"/>
                </a:lnTo>
                <a:lnTo>
                  <a:pt x="13121" y="1119"/>
                </a:lnTo>
                <a:lnTo>
                  <a:pt x="13119" y="1135"/>
                </a:lnTo>
                <a:lnTo>
                  <a:pt x="13116" y="1150"/>
                </a:lnTo>
                <a:lnTo>
                  <a:pt x="13111" y="1164"/>
                </a:lnTo>
                <a:lnTo>
                  <a:pt x="13104" y="1177"/>
                </a:lnTo>
                <a:lnTo>
                  <a:pt x="13097" y="1191"/>
                </a:lnTo>
                <a:lnTo>
                  <a:pt x="13087" y="1202"/>
                </a:lnTo>
                <a:lnTo>
                  <a:pt x="13077" y="1214"/>
                </a:lnTo>
                <a:lnTo>
                  <a:pt x="13064" y="1223"/>
                </a:lnTo>
                <a:lnTo>
                  <a:pt x="13052" y="1232"/>
                </a:lnTo>
                <a:lnTo>
                  <a:pt x="13037" y="1240"/>
                </a:lnTo>
                <a:lnTo>
                  <a:pt x="13022" y="1246"/>
                </a:lnTo>
                <a:lnTo>
                  <a:pt x="13006" y="1250"/>
                </a:lnTo>
                <a:lnTo>
                  <a:pt x="12989" y="1254"/>
                </a:lnTo>
                <a:lnTo>
                  <a:pt x="12970" y="1256"/>
                </a:lnTo>
                <a:lnTo>
                  <a:pt x="12950" y="1256"/>
                </a:lnTo>
                <a:lnTo>
                  <a:pt x="12620" y="1256"/>
                </a:lnTo>
                <a:close/>
                <a:moveTo>
                  <a:pt x="12227" y="937"/>
                </a:moveTo>
                <a:lnTo>
                  <a:pt x="12255" y="937"/>
                </a:lnTo>
                <a:lnTo>
                  <a:pt x="12277" y="937"/>
                </a:lnTo>
                <a:lnTo>
                  <a:pt x="12294" y="936"/>
                </a:lnTo>
                <a:lnTo>
                  <a:pt x="12305" y="935"/>
                </a:lnTo>
                <a:lnTo>
                  <a:pt x="12314" y="933"/>
                </a:lnTo>
                <a:lnTo>
                  <a:pt x="12321" y="930"/>
                </a:lnTo>
                <a:lnTo>
                  <a:pt x="12328" y="925"/>
                </a:lnTo>
                <a:lnTo>
                  <a:pt x="12335" y="919"/>
                </a:lnTo>
                <a:lnTo>
                  <a:pt x="12337" y="915"/>
                </a:lnTo>
                <a:lnTo>
                  <a:pt x="12340" y="912"/>
                </a:lnTo>
                <a:lnTo>
                  <a:pt x="12342" y="908"/>
                </a:lnTo>
                <a:lnTo>
                  <a:pt x="12343" y="903"/>
                </a:lnTo>
                <a:lnTo>
                  <a:pt x="12345" y="892"/>
                </a:lnTo>
                <a:lnTo>
                  <a:pt x="12346" y="880"/>
                </a:lnTo>
                <a:lnTo>
                  <a:pt x="12345" y="864"/>
                </a:lnTo>
                <a:lnTo>
                  <a:pt x="12343" y="852"/>
                </a:lnTo>
                <a:lnTo>
                  <a:pt x="12341" y="846"/>
                </a:lnTo>
                <a:lnTo>
                  <a:pt x="12339" y="840"/>
                </a:lnTo>
                <a:lnTo>
                  <a:pt x="12336" y="835"/>
                </a:lnTo>
                <a:lnTo>
                  <a:pt x="12332" y="831"/>
                </a:lnTo>
                <a:lnTo>
                  <a:pt x="12328" y="828"/>
                </a:lnTo>
                <a:lnTo>
                  <a:pt x="12324" y="825"/>
                </a:lnTo>
                <a:lnTo>
                  <a:pt x="12320" y="822"/>
                </a:lnTo>
                <a:lnTo>
                  <a:pt x="12315" y="820"/>
                </a:lnTo>
                <a:lnTo>
                  <a:pt x="12309" y="817"/>
                </a:lnTo>
                <a:lnTo>
                  <a:pt x="12304" y="816"/>
                </a:lnTo>
                <a:lnTo>
                  <a:pt x="12297" y="815"/>
                </a:lnTo>
                <a:lnTo>
                  <a:pt x="12290" y="815"/>
                </a:lnTo>
                <a:lnTo>
                  <a:pt x="12284" y="815"/>
                </a:lnTo>
                <a:lnTo>
                  <a:pt x="12279" y="816"/>
                </a:lnTo>
                <a:lnTo>
                  <a:pt x="12273" y="817"/>
                </a:lnTo>
                <a:lnTo>
                  <a:pt x="12267" y="820"/>
                </a:lnTo>
                <a:lnTo>
                  <a:pt x="12262" y="823"/>
                </a:lnTo>
                <a:lnTo>
                  <a:pt x="12258" y="826"/>
                </a:lnTo>
                <a:lnTo>
                  <a:pt x="12253" y="830"/>
                </a:lnTo>
                <a:lnTo>
                  <a:pt x="12248" y="834"/>
                </a:lnTo>
                <a:lnTo>
                  <a:pt x="12245" y="839"/>
                </a:lnTo>
                <a:lnTo>
                  <a:pt x="12241" y="845"/>
                </a:lnTo>
                <a:lnTo>
                  <a:pt x="12238" y="851"/>
                </a:lnTo>
                <a:lnTo>
                  <a:pt x="12235" y="857"/>
                </a:lnTo>
                <a:lnTo>
                  <a:pt x="12230" y="873"/>
                </a:lnTo>
                <a:lnTo>
                  <a:pt x="12225" y="890"/>
                </a:lnTo>
                <a:lnTo>
                  <a:pt x="12076" y="865"/>
                </a:lnTo>
                <a:lnTo>
                  <a:pt x="12080" y="848"/>
                </a:lnTo>
                <a:lnTo>
                  <a:pt x="12086" y="831"/>
                </a:lnTo>
                <a:lnTo>
                  <a:pt x="12093" y="815"/>
                </a:lnTo>
                <a:lnTo>
                  <a:pt x="12101" y="801"/>
                </a:lnTo>
                <a:lnTo>
                  <a:pt x="12111" y="788"/>
                </a:lnTo>
                <a:lnTo>
                  <a:pt x="12121" y="776"/>
                </a:lnTo>
                <a:lnTo>
                  <a:pt x="12134" y="765"/>
                </a:lnTo>
                <a:lnTo>
                  <a:pt x="12148" y="755"/>
                </a:lnTo>
                <a:lnTo>
                  <a:pt x="12162" y="747"/>
                </a:lnTo>
                <a:lnTo>
                  <a:pt x="12178" y="739"/>
                </a:lnTo>
                <a:lnTo>
                  <a:pt x="12195" y="733"/>
                </a:lnTo>
                <a:lnTo>
                  <a:pt x="12214" y="728"/>
                </a:lnTo>
                <a:lnTo>
                  <a:pt x="12234" y="724"/>
                </a:lnTo>
                <a:lnTo>
                  <a:pt x="12255" y="721"/>
                </a:lnTo>
                <a:lnTo>
                  <a:pt x="12278" y="719"/>
                </a:lnTo>
                <a:lnTo>
                  <a:pt x="12301" y="719"/>
                </a:lnTo>
                <a:lnTo>
                  <a:pt x="12327" y="720"/>
                </a:lnTo>
                <a:lnTo>
                  <a:pt x="12352" y="722"/>
                </a:lnTo>
                <a:lnTo>
                  <a:pt x="12374" y="725"/>
                </a:lnTo>
                <a:lnTo>
                  <a:pt x="12397" y="730"/>
                </a:lnTo>
                <a:lnTo>
                  <a:pt x="12415" y="735"/>
                </a:lnTo>
                <a:lnTo>
                  <a:pt x="12433" y="744"/>
                </a:lnTo>
                <a:lnTo>
                  <a:pt x="12450" y="752"/>
                </a:lnTo>
                <a:lnTo>
                  <a:pt x="12464" y="762"/>
                </a:lnTo>
                <a:lnTo>
                  <a:pt x="12477" y="774"/>
                </a:lnTo>
                <a:lnTo>
                  <a:pt x="12488" y="785"/>
                </a:lnTo>
                <a:lnTo>
                  <a:pt x="12497" y="798"/>
                </a:lnTo>
                <a:lnTo>
                  <a:pt x="12506" y="811"/>
                </a:lnTo>
                <a:lnTo>
                  <a:pt x="12512" y="825"/>
                </a:lnTo>
                <a:lnTo>
                  <a:pt x="12516" y="838"/>
                </a:lnTo>
                <a:lnTo>
                  <a:pt x="12518" y="853"/>
                </a:lnTo>
                <a:lnTo>
                  <a:pt x="12519" y="868"/>
                </a:lnTo>
                <a:lnTo>
                  <a:pt x="12519" y="878"/>
                </a:lnTo>
                <a:lnTo>
                  <a:pt x="12518" y="886"/>
                </a:lnTo>
                <a:lnTo>
                  <a:pt x="12516" y="894"/>
                </a:lnTo>
                <a:lnTo>
                  <a:pt x="12514" y="903"/>
                </a:lnTo>
                <a:lnTo>
                  <a:pt x="12512" y="911"/>
                </a:lnTo>
                <a:lnTo>
                  <a:pt x="12508" y="918"/>
                </a:lnTo>
                <a:lnTo>
                  <a:pt x="12504" y="926"/>
                </a:lnTo>
                <a:lnTo>
                  <a:pt x="12499" y="933"/>
                </a:lnTo>
                <a:lnTo>
                  <a:pt x="12494" y="940"/>
                </a:lnTo>
                <a:lnTo>
                  <a:pt x="12488" y="946"/>
                </a:lnTo>
                <a:lnTo>
                  <a:pt x="12482" y="953"/>
                </a:lnTo>
                <a:lnTo>
                  <a:pt x="12474" y="959"/>
                </a:lnTo>
                <a:lnTo>
                  <a:pt x="12466" y="965"/>
                </a:lnTo>
                <a:lnTo>
                  <a:pt x="12457" y="970"/>
                </a:lnTo>
                <a:lnTo>
                  <a:pt x="12449" y="976"/>
                </a:lnTo>
                <a:lnTo>
                  <a:pt x="12439" y="981"/>
                </a:lnTo>
                <a:lnTo>
                  <a:pt x="12450" y="986"/>
                </a:lnTo>
                <a:lnTo>
                  <a:pt x="12462" y="991"/>
                </a:lnTo>
                <a:lnTo>
                  <a:pt x="12471" y="997"/>
                </a:lnTo>
                <a:lnTo>
                  <a:pt x="12481" y="1004"/>
                </a:lnTo>
                <a:lnTo>
                  <a:pt x="12489" y="1010"/>
                </a:lnTo>
                <a:lnTo>
                  <a:pt x="12497" y="1016"/>
                </a:lnTo>
                <a:lnTo>
                  <a:pt x="12505" y="1023"/>
                </a:lnTo>
                <a:lnTo>
                  <a:pt x="12511" y="1031"/>
                </a:lnTo>
                <a:lnTo>
                  <a:pt x="12516" y="1039"/>
                </a:lnTo>
                <a:lnTo>
                  <a:pt x="12521" y="1047"/>
                </a:lnTo>
                <a:lnTo>
                  <a:pt x="12526" y="1056"/>
                </a:lnTo>
                <a:lnTo>
                  <a:pt x="12529" y="1064"/>
                </a:lnTo>
                <a:lnTo>
                  <a:pt x="12531" y="1073"/>
                </a:lnTo>
                <a:lnTo>
                  <a:pt x="12533" y="1083"/>
                </a:lnTo>
                <a:lnTo>
                  <a:pt x="12534" y="1093"/>
                </a:lnTo>
                <a:lnTo>
                  <a:pt x="12534" y="1104"/>
                </a:lnTo>
                <a:lnTo>
                  <a:pt x="12534" y="1119"/>
                </a:lnTo>
                <a:lnTo>
                  <a:pt x="12531" y="1136"/>
                </a:lnTo>
                <a:lnTo>
                  <a:pt x="12527" y="1150"/>
                </a:lnTo>
                <a:lnTo>
                  <a:pt x="12521" y="1166"/>
                </a:lnTo>
                <a:lnTo>
                  <a:pt x="12513" y="1179"/>
                </a:lnTo>
                <a:lnTo>
                  <a:pt x="12505" y="1194"/>
                </a:lnTo>
                <a:lnTo>
                  <a:pt x="12493" y="1206"/>
                </a:lnTo>
                <a:lnTo>
                  <a:pt x="12481" y="1220"/>
                </a:lnTo>
                <a:lnTo>
                  <a:pt x="12474" y="1225"/>
                </a:lnTo>
                <a:lnTo>
                  <a:pt x="12466" y="1231"/>
                </a:lnTo>
                <a:lnTo>
                  <a:pt x="12458" y="1237"/>
                </a:lnTo>
                <a:lnTo>
                  <a:pt x="12450" y="1242"/>
                </a:lnTo>
                <a:lnTo>
                  <a:pt x="12441" y="1246"/>
                </a:lnTo>
                <a:lnTo>
                  <a:pt x="12431" y="1250"/>
                </a:lnTo>
                <a:lnTo>
                  <a:pt x="12421" y="1253"/>
                </a:lnTo>
                <a:lnTo>
                  <a:pt x="12409" y="1256"/>
                </a:lnTo>
                <a:lnTo>
                  <a:pt x="12386" y="1263"/>
                </a:lnTo>
                <a:lnTo>
                  <a:pt x="12361" y="1267"/>
                </a:lnTo>
                <a:lnTo>
                  <a:pt x="12332" y="1269"/>
                </a:lnTo>
                <a:lnTo>
                  <a:pt x="12303" y="1270"/>
                </a:lnTo>
                <a:lnTo>
                  <a:pt x="12283" y="1269"/>
                </a:lnTo>
                <a:lnTo>
                  <a:pt x="12264" y="1268"/>
                </a:lnTo>
                <a:lnTo>
                  <a:pt x="12245" y="1266"/>
                </a:lnTo>
                <a:lnTo>
                  <a:pt x="12227" y="1263"/>
                </a:lnTo>
                <a:lnTo>
                  <a:pt x="12211" y="1258"/>
                </a:lnTo>
                <a:lnTo>
                  <a:pt x="12195" y="1254"/>
                </a:lnTo>
                <a:lnTo>
                  <a:pt x="12179" y="1248"/>
                </a:lnTo>
                <a:lnTo>
                  <a:pt x="12164" y="1242"/>
                </a:lnTo>
                <a:lnTo>
                  <a:pt x="12157" y="1238"/>
                </a:lnTo>
                <a:lnTo>
                  <a:pt x="12150" y="1234"/>
                </a:lnTo>
                <a:lnTo>
                  <a:pt x="12142" y="1228"/>
                </a:lnTo>
                <a:lnTo>
                  <a:pt x="12136" y="1223"/>
                </a:lnTo>
                <a:lnTo>
                  <a:pt x="12122" y="1211"/>
                </a:lnTo>
                <a:lnTo>
                  <a:pt x="12110" y="1196"/>
                </a:lnTo>
                <a:lnTo>
                  <a:pt x="12097" y="1178"/>
                </a:lnTo>
                <a:lnTo>
                  <a:pt x="12086" y="1160"/>
                </a:lnTo>
                <a:lnTo>
                  <a:pt x="12074" y="1138"/>
                </a:lnTo>
                <a:lnTo>
                  <a:pt x="12063" y="1114"/>
                </a:lnTo>
                <a:lnTo>
                  <a:pt x="12208" y="1091"/>
                </a:lnTo>
                <a:lnTo>
                  <a:pt x="12215" y="1110"/>
                </a:lnTo>
                <a:lnTo>
                  <a:pt x="12223" y="1126"/>
                </a:lnTo>
                <a:lnTo>
                  <a:pt x="12227" y="1134"/>
                </a:lnTo>
                <a:lnTo>
                  <a:pt x="12233" y="1140"/>
                </a:lnTo>
                <a:lnTo>
                  <a:pt x="12238" y="1146"/>
                </a:lnTo>
                <a:lnTo>
                  <a:pt x="12243" y="1151"/>
                </a:lnTo>
                <a:lnTo>
                  <a:pt x="12248" y="1156"/>
                </a:lnTo>
                <a:lnTo>
                  <a:pt x="12255" y="1160"/>
                </a:lnTo>
                <a:lnTo>
                  <a:pt x="12261" y="1163"/>
                </a:lnTo>
                <a:lnTo>
                  <a:pt x="12267" y="1166"/>
                </a:lnTo>
                <a:lnTo>
                  <a:pt x="12274" y="1168"/>
                </a:lnTo>
                <a:lnTo>
                  <a:pt x="12281" y="1170"/>
                </a:lnTo>
                <a:lnTo>
                  <a:pt x="12288" y="1170"/>
                </a:lnTo>
                <a:lnTo>
                  <a:pt x="12296" y="1171"/>
                </a:lnTo>
                <a:lnTo>
                  <a:pt x="12303" y="1170"/>
                </a:lnTo>
                <a:lnTo>
                  <a:pt x="12309" y="1170"/>
                </a:lnTo>
                <a:lnTo>
                  <a:pt x="12316" y="1168"/>
                </a:lnTo>
                <a:lnTo>
                  <a:pt x="12322" y="1166"/>
                </a:lnTo>
                <a:lnTo>
                  <a:pt x="12327" y="1164"/>
                </a:lnTo>
                <a:lnTo>
                  <a:pt x="12332" y="1161"/>
                </a:lnTo>
                <a:lnTo>
                  <a:pt x="12338" y="1157"/>
                </a:lnTo>
                <a:lnTo>
                  <a:pt x="12343" y="1152"/>
                </a:lnTo>
                <a:lnTo>
                  <a:pt x="12347" y="1147"/>
                </a:lnTo>
                <a:lnTo>
                  <a:pt x="12350" y="1142"/>
                </a:lnTo>
                <a:lnTo>
                  <a:pt x="12355" y="1136"/>
                </a:lnTo>
                <a:lnTo>
                  <a:pt x="12357" y="1130"/>
                </a:lnTo>
                <a:lnTo>
                  <a:pt x="12359" y="1122"/>
                </a:lnTo>
                <a:lnTo>
                  <a:pt x="12360" y="1115"/>
                </a:lnTo>
                <a:lnTo>
                  <a:pt x="12361" y="1107"/>
                </a:lnTo>
                <a:lnTo>
                  <a:pt x="12362" y="1098"/>
                </a:lnTo>
                <a:lnTo>
                  <a:pt x="12361" y="1086"/>
                </a:lnTo>
                <a:lnTo>
                  <a:pt x="12358" y="1075"/>
                </a:lnTo>
                <a:lnTo>
                  <a:pt x="12356" y="1070"/>
                </a:lnTo>
                <a:lnTo>
                  <a:pt x="12353" y="1066"/>
                </a:lnTo>
                <a:lnTo>
                  <a:pt x="12350" y="1062"/>
                </a:lnTo>
                <a:lnTo>
                  <a:pt x="12347" y="1058"/>
                </a:lnTo>
                <a:lnTo>
                  <a:pt x="12340" y="1051"/>
                </a:lnTo>
                <a:lnTo>
                  <a:pt x="12331" y="1047"/>
                </a:lnTo>
                <a:lnTo>
                  <a:pt x="12322" y="1044"/>
                </a:lnTo>
                <a:lnTo>
                  <a:pt x="12313" y="1042"/>
                </a:lnTo>
                <a:lnTo>
                  <a:pt x="12299" y="1041"/>
                </a:lnTo>
                <a:lnTo>
                  <a:pt x="12280" y="1041"/>
                </a:lnTo>
                <a:lnTo>
                  <a:pt x="12257" y="1040"/>
                </a:lnTo>
                <a:lnTo>
                  <a:pt x="12227" y="1040"/>
                </a:lnTo>
                <a:lnTo>
                  <a:pt x="12227" y="937"/>
                </a:lnTo>
                <a:close/>
                <a:moveTo>
                  <a:pt x="11831" y="1006"/>
                </a:moveTo>
                <a:lnTo>
                  <a:pt x="11813" y="1008"/>
                </a:lnTo>
                <a:lnTo>
                  <a:pt x="11796" y="1010"/>
                </a:lnTo>
                <a:lnTo>
                  <a:pt x="11780" y="1013"/>
                </a:lnTo>
                <a:lnTo>
                  <a:pt x="11767" y="1017"/>
                </a:lnTo>
                <a:lnTo>
                  <a:pt x="11754" y="1020"/>
                </a:lnTo>
                <a:lnTo>
                  <a:pt x="11742" y="1024"/>
                </a:lnTo>
                <a:lnTo>
                  <a:pt x="11732" y="1030"/>
                </a:lnTo>
                <a:lnTo>
                  <a:pt x="11723" y="1035"/>
                </a:lnTo>
                <a:lnTo>
                  <a:pt x="11716" y="1040"/>
                </a:lnTo>
                <a:lnTo>
                  <a:pt x="11710" y="1047"/>
                </a:lnTo>
                <a:lnTo>
                  <a:pt x="11705" y="1055"/>
                </a:lnTo>
                <a:lnTo>
                  <a:pt x="11699" y="1063"/>
                </a:lnTo>
                <a:lnTo>
                  <a:pt x="11696" y="1072"/>
                </a:lnTo>
                <a:lnTo>
                  <a:pt x="11694" y="1083"/>
                </a:lnTo>
                <a:lnTo>
                  <a:pt x="11692" y="1094"/>
                </a:lnTo>
                <a:lnTo>
                  <a:pt x="11692" y="1106"/>
                </a:lnTo>
                <a:lnTo>
                  <a:pt x="11693" y="1121"/>
                </a:lnTo>
                <a:lnTo>
                  <a:pt x="11695" y="1136"/>
                </a:lnTo>
                <a:lnTo>
                  <a:pt x="11697" y="1141"/>
                </a:lnTo>
                <a:lnTo>
                  <a:pt x="11699" y="1147"/>
                </a:lnTo>
                <a:lnTo>
                  <a:pt x="11702" y="1151"/>
                </a:lnTo>
                <a:lnTo>
                  <a:pt x="11706" y="1157"/>
                </a:lnTo>
                <a:lnTo>
                  <a:pt x="11710" y="1161"/>
                </a:lnTo>
                <a:lnTo>
                  <a:pt x="11714" y="1164"/>
                </a:lnTo>
                <a:lnTo>
                  <a:pt x="11719" y="1167"/>
                </a:lnTo>
                <a:lnTo>
                  <a:pt x="11723" y="1169"/>
                </a:lnTo>
                <a:lnTo>
                  <a:pt x="11730" y="1171"/>
                </a:lnTo>
                <a:lnTo>
                  <a:pt x="11735" y="1172"/>
                </a:lnTo>
                <a:lnTo>
                  <a:pt x="11742" y="1173"/>
                </a:lnTo>
                <a:lnTo>
                  <a:pt x="11749" y="1173"/>
                </a:lnTo>
                <a:lnTo>
                  <a:pt x="11757" y="1172"/>
                </a:lnTo>
                <a:lnTo>
                  <a:pt x="11764" y="1171"/>
                </a:lnTo>
                <a:lnTo>
                  <a:pt x="11772" y="1169"/>
                </a:lnTo>
                <a:lnTo>
                  <a:pt x="11778" y="1166"/>
                </a:lnTo>
                <a:lnTo>
                  <a:pt x="11785" y="1162"/>
                </a:lnTo>
                <a:lnTo>
                  <a:pt x="11792" y="1157"/>
                </a:lnTo>
                <a:lnTo>
                  <a:pt x="11799" y="1150"/>
                </a:lnTo>
                <a:lnTo>
                  <a:pt x="11805" y="1143"/>
                </a:lnTo>
                <a:lnTo>
                  <a:pt x="11811" y="1135"/>
                </a:lnTo>
                <a:lnTo>
                  <a:pt x="11816" y="1124"/>
                </a:lnTo>
                <a:lnTo>
                  <a:pt x="11820" y="1113"/>
                </a:lnTo>
                <a:lnTo>
                  <a:pt x="11824" y="1100"/>
                </a:lnTo>
                <a:lnTo>
                  <a:pt x="11826" y="1086"/>
                </a:lnTo>
                <a:lnTo>
                  <a:pt x="11828" y="1069"/>
                </a:lnTo>
                <a:lnTo>
                  <a:pt x="11830" y="1051"/>
                </a:lnTo>
                <a:lnTo>
                  <a:pt x="11831" y="1032"/>
                </a:lnTo>
                <a:lnTo>
                  <a:pt x="11831" y="1006"/>
                </a:lnTo>
                <a:close/>
                <a:moveTo>
                  <a:pt x="11698" y="897"/>
                </a:moveTo>
                <a:lnTo>
                  <a:pt x="11539" y="883"/>
                </a:lnTo>
                <a:lnTo>
                  <a:pt x="11542" y="864"/>
                </a:lnTo>
                <a:lnTo>
                  <a:pt x="11547" y="846"/>
                </a:lnTo>
                <a:lnTo>
                  <a:pt x="11554" y="829"/>
                </a:lnTo>
                <a:lnTo>
                  <a:pt x="11564" y="813"/>
                </a:lnTo>
                <a:lnTo>
                  <a:pt x="11574" y="799"/>
                </a:lnTo>
                <a:lnTo>
                  <a:pt x="11586" y="785"/>
                </a:lnTo>
                <a:lnTo>
                  <a:pt x="11601" y="773"/>
                </a:lnTo>
                <a:lnTo>
                  <a:pt x="11616" y="761"/>
                </a:lnTo>
                <a:lnTo>
                  <a:pt x="11633" y="751"/>
                </a:lnTo>
                <a:lnTo>
                  <a:pt x="11651" y="743"/>
                </a:lnTo>
                <a:lnTo>
                  <a:pt x="11671" y="735"/>
                </a:lnTo>
                <a:lnTo>
                  <a:pt x="11691" y="729"/>
                </a:lnTo>
                <a:lnTo>
                  <a:pt x="11713" y="725"/>
                </a:lnTo>
                <a:lnTo>
                  <a:pt x="11735" y="722"/>
                </a:lnTo>
                <a:lnTo>
                  <a:pt x="11758" y="720"/>
                </a:lnTo>
                <a:lnTo>
                  <a:pt x="11783" y="719"/>
                </a:lnTo>
                <a:lnTo>
                  <a:pt x="11804" y="719"/>
                </a:lnTo>
                <a:lnTo>
                  <a:pt x="11824" y="721"/>
                </a:lnTo>
                <a:lnTo>
                  <a:pt x="11842" y="723"/>
                </a:lnTo>
                <a:lnTo>
                  <a:pt x="11860" y="726"/>
                </a:lnTo>
                <a:lnTo>
                  <a:pt x="11877" y="730"/>
                </a:lnTo>
                <a:lnTo>
                  <a:pt x="11893" y="734"/>
                </a:lnTo>
                <a:lnTo>
                  <a:pt x="11907" y="741"/>
                </a:lnTo>
                <a:lnTo>
                  <a:pt x="11920" y="747"/>
                </a:lnTo>
                <a:lnTo>
                  <a:pt x="11932" y="754"/>
                </a:lnTo>
                <a:lnTo>
                  <a:pt x="11944" y="762"/>
                </a:lnTo>
                <a:lnTo>
                  <a:pt x="11953" y="770"/>
                </a:lnTo>
                <a:lnTo>
                  <a:pt x="11962" y="778"/>
                </a:lnTo>
                <a:lnTo>
                  <a:pt x="11970" y="786"/>
                </a:lnTo>
                <a:lnTo>
                  <a:pt x="11977" y="795"/>
                </a:lnTo>
                <a:lnTo>
                  <a:pt x="11982" y="804"/>
                </a:lnTo>
                <a:lnTo>
                  <a:pt x="11985" y="813"/>
                </a:lnTo>
                <a:lnTo>
                  <a:pt x="11988" y="824"/>
                </a:lnTo>
                <a:lnTo>
                  <a:pt x="11991" y="834"/>
                </a:lnTo>
                <a:lnTo>
                  <a:pt x="11993" y="848"/>
                </a:lnTo>
                <a:lnTo>
                  <a:pt x="11995" y="861"/>
                </a:lnTo>
                <a:lnTo>
                  <a:pt x="11998" y="892"/>
                </a:lnTo>
                <a:lnTo>
                  <a:pt x="11999" y="930"/>
                </a:lnTo>
                <a:lnTo>
                  <a:pt x="11999" y="1140"/>
                </a:lnTo>
                <a:lnTo>
                  <a:pt x="12000" y="1184"/>
                </a:lnTo>
                <a:lnTo>
                  <a:pt x="12001" y="1218"/>
                </a:lnTo>
                <a:lnTo>
                  <a:pt x="12003" y="1231"/>
                </a:lnTo>
                <a:lnTo>
                  <a:pt x="12004" y="1242"/>
                </a:lnTo>
                <a:lnTo>
                  <a:pt x="12006" y="1251"/>
                </a:lnTo>
                <a:lnTo>
                  <a:pt x="12008" y="1256"/>
                </a:lnTo>
                <a:lnTo>
                  <a:pt x="11853" y="1256"/>
                </a:lnTo>
                <a:lnTo>
                  <a:pt x="11848" y="1244"/>
                </a:lnTo>
                <a:lnTo>
                  <a:pt x="11846" y="1226"/>
                </a:lnTo>
                <a:lnTo>
                  <a:pt x="11844" y="1203"/>
                </a:lnTo>
                <a:lnTo>
                  <a:pt x="11844" y="1176"/>
                </a:lnTo>
                <a:lnTo>
                  <a:pt x="11837" y="1188"/>
                </a:lnTo>
                <a:lnTo>
                  <a:pt x="11830" y="1198"/>
                </a:lnTo>
                <a:lnTo>
                  <a:pt x="11821" y="1208"/>
                </a:lnTo>
                <a:lnTo>
                  <a:pt x="11813" y="1217"/>
                </a:lnTo>
                <a:lnTo>
                  <a:pt x="11804" y="1225"/>
                </a:lnTo>
                <a:lnTo>
                  <a:pt x="11795" y="1232"/>
                </a:lnTo>
                <a:lnTo>
                  <a:pt x="11784" y="1240"/>
                </a:lnTo>
                <a:lnTo>
                  <a:pt x="11775" y="1246"/>
                </a:lnTo>
                <a:lnTo>
                  <a:pt x="11764" y="1251"/>
                </a:lnTo>
                <a:lnTo>
                  <a:pt x="11753" y="1256"/>
                </a:lnTo>
                <a:lnTo>
                  <a:pt x="11741" y="1261"/>
                </a:lnTo>
                <a:lnTo>
                  <a:pt x="11730" y="1264"/>
                </a:lnTo>
                <a:lnTo>
                  <a:pt x="11717" y="1266"/>
                </a:lnTo>
                <a:lnTo>
                  <a:pt x="11705" y="1268"/>
                </a:lnTo>
                <a:lnTo>
                  <a:pt x="11692" y="1269"/>
                </a:lnTo>
                <a:lnTo>
                  <a:pt x="11678" y="1270"/>
                </a:lnTo>
                <a:lnTo>
                  <a:pt x="11660" y="1269"/>
                </a:lnTo>
                <a:lnTo>
                  <a:pt x="11645" y="1267"/>
                </a:lnTo>
                <a:lnTo>
                  <a:pt x="11629" y="1265"/>
                </a:lnTo>
                <a:lnTo>
                  <a:pt x="11614" y="1261"/>
                </a:lnTo>
                <a:lnTo>
                  <a:pt x="11600" y="1255"/>
                </a:lnTo>
                <a:lnTo>
                  <a:pt x="11587" y="1249"/>
                </a:lnTo>
                <a:lnTo>
                  <a:pt x="11574" y="1241"/>
                </a:lnTo>
                <a:lnTo>
                  <a:pt x="11563" y="1232"/>
                </a:lnTo>
                <a:lnTo>
                  <a:pt x="11552" y="1223"/>
                </a:lnTo>
                <a:lnTo>
                  <a:pt x="11544" y="1212"/>
                </a:lnTo>
                <a:lnTo>
                  <a:pt x="11536" y="1200"/>
                </a:lnTo>
                <a:lnTo>
                  <a:pt x="11530" y="1188"/>
                </a:lnTo>
                <a:lnTo>
                  <a:pt x="11525" y="1173"/>
                </a:lnTo>
                <a:lnTo>
                  <a:pt x="11522" y="1159"/>
                </a:lnTo>
                <a:lnTo>
                  <a:pt x="11520" y="1142"/>
                </a:lnTo>
                <a:lnTo>
                  <a:pt x="11519" y="1125"/>
                </a:lnTo>
                <a:lnTo>
                  <a:pt x="11519" y="1115"/>
                </a:lnTo>
                <a:lnTo>
                  <a:pt x="11520" y="1104"/>
                </a:lnTo>
                <a:lnTo>
                  <a:pt x="11521" y="1094"/>
                </a:lnTo>
                <a:lnTo>
                  <a:pt x="11523" y="1084"/>
                </a:lnTo>
                <a:lnTo>
                  <a:pt x="11525" y="1074"/>
                </a:lnTo>
                <a:lnTo>
                  <a:pt x="11528" y="1065"/>
                </a:lnTo>
                <a:lnTo>
                  <a:pt x="11531" y="1056"/>
                </a:lnTo>
                <a:lnTo>
                  <a:pt x="11536" y="1047"/>
                </a:lnTo>
                <a:lnTo>
                  <a:pt x="11540" y="1039"/>
                </a:lnTo>
                <a:lnTo>
                  <a:pt x="11545" y="1031"/>
                </a:lnTo>
                <a:lnTo>
                  <a:pt x="11550" y="1022"/>
                </a:lnTo>
                <a:lnTo>
                  <a:pt x="11557" y="1015"/>
                </a:lnTo>
                <a:lnTo>
                  <a:pt x="11563" y="1008"/>
                </a:lnTo>
                <a:lnTo>
                  <a:pt x="11570" y="1002"/>
                </a:lnTo>
                <a:lnTo>
                  <a:pt x="11578" y="995"/>
                </a:lnTo>
                <a:lnTo>
                  <a:pt x="11586" y="989"/>
                </a:lnTo>
                <a:lnTo>
                  <a:pt x="11594" y="983"/>
                </a:lnTo>
                <a:lnTo>
                  <a:pt x="11605" y="978"/>
                </a:lnTo>
                <a:lnTo>
                  <a:pt x="11615" y="972"/>
                </a:lnTo>
                <a:lnTo>
                  <a:pt x="11626" y="967"/>
                </a:lnTo>
                <a:lnTo>
                  <a:pt x="11638" y="962"/>
                </a:lnTo>
                <a:lnTo>
                  <a:pt x="11652" y="958"/>
                </a:lnTo>
                <a:lnTo>
                  <a:pt x="11666" y="954"/>
                </a:lnTo>
                <a:lnTo>
                  <a:pt x="11680" y="951"/>
                </a:lnTo>
                <a:lnTo>
                  <a:pt x="11713" y="943"/>
                </a:lnTo>
                <a:lnTo>
                  <a:pt x="11749" y="938"/>
                </a:lnTo>
                <a:lnTo>
                  <a:pt x="11788" y="934"/>
                </a:lnTo>
                <a:lnTo>
                  <a:pt x="11831" y="931"/>
                </a:lnTo>
                <a:lnTo>
                  <a:pt x="11831" y="911"/>
                </a:lnTo>
                <a:lnTo>
                  <a:pt x="11830" y="886"/>
                </a:lnTo>
                <a:lnTo>
                  <a:pt x="11827" y="865"/>
                </a:lnTo>
                <a:lnTo>
                  <a:pt x="11825" y="856"/>
                </a:lnTo>
                <a:lnTo>
                  <a:pt x="11823" y="849"/>
                </a:lnTo>
                <a:lnTo>
                  <a:pt x="11821" y="841"/>
                </a:lnTo>
                <a:lnTo>
                  <a:pt x="11818" y="836"/>
                </a:lnTo>
                <a:lnTo>
                  <a:pt x="11815" y="831"/>
                </a:lnTo>
                <a:lnTo>
                  <a:pt x="11811" y="827"/>
                </a:lnTo>
                <a:lnTo>
                  <a:pt x="11805" y="824"/>
                </a:lnTo>
                <a:lnTo>
                  <a:pt x="11799" y="821"/>
                </a:lnTo>
                <a:lnTo>
                  <a:pt x="11793" y="819"/>
                </a:lnTo>
                <a:lnTo>
                  <a:pt x="11786" y="816"/>
                </a:lnTo>
                <a:lnTo>
                  <a:pt x="11778" y="815"/>
                </a:lnTo>
                <a:lnTo>
                  <a:pt x="11770" y="815"/>
                </a:lnTo>
                <a:lnTo>
                  <a:pt x="11762" y="815"/>
                </a:lnTo>
                <a:lnTo>
                  <a:pt x="11755" y="816"/>
                </a:lnTo>
                <a:lnTo>
                  <a:pt x="11748" y="819"/>
                </a:lnTo>
                <a:lnTo>
                  <a:pt x="11741" y="821"/>
                </a:lnTo>
                <a:lnTo>
                  <a:pt x="11735" y="823"/>
                </a:lnTo>
                <a:lnTo>
                  <a:pt x="11730" y="827"/>
                </a:lnTo>
                <a:lnTo>
                  <a:pt x="11725" y="831"/>
                </a:lnTo>
                <a:lnTo>
                  <a:pt x="11719" y="835"/>
                </a:lnTo>
                <a:lnTo>
                  <a:pt x="11715" y="841"/>
                </a:lnTo>
                <a:lnTo>
                  <a:pt x="11712" y="847"/>
                </a:lnTo>
                <a:lnTo>
                  <a:pt x="11708" y="854"/>
                </a:lnTo>
                <a:lnTo>
                  <a:pt x="11706" y="861"/>
                </a:lnTo>
                <a:lnTo>
                  <a:pt x="11702" y="868"/>
                </a:lnTo>
                <a:lnTo>
                  <a:pt x="11700" y="878"/>
                </a:lnTo>
                <a:lnTo>
                  <a:pt x="11699" y="887"/>
                </a:lnTo>
                <a:lnTo>
                  <a:pt x="11698" y="897"/>
                </a:lnTo>
                <a:close/>
                <a:moveTo>
                  <a:pt x="11122" y="662"/>
                </a:moveTo>
                <a:lnTo>
                  <a:pt x="11122" y="874"/>
                </a:lnTo>
                <a:lnTo>
                  <a:pt x="11176" y="874"/>
                </a:lnTo>
                <a:lnTo>
                  <a:pt x="11194" y="873"/>
                </a:lnTo>
                <a:lnTo>
                  <a:pt x="11210" y="872"/>
                </a:lnTo>
                <a:lnTo>
                  <a:pt x="11225" y="869"/>
                </a:lnTo>
                <a:lnTo>
                  <a:pt x="11237" y="865"/>
                </a:lnTo>
                <a:lnTo>
                  <a:pt x="11248" y="861"/>
                </a:lnTo>
                <a:lnTo>
                  <a:pt x="11257" y="856"/>
                </a:lnTo>
                <a:lnTo>
                  <a:pt x="11265" y="851"/>
                </a:lnTo>
                <a:lnTo>
                  <a:pt x="11271" y="843"/>
                </a:lnTo>
                <a:lnTo>
                  <a:pt x="11276" y="836"/>
                </a:lnTo>
                <a:lnTo>
                  <a:pt x="11280" y="828"/>
                </a:lnTo>
                <a:lnTo>
                  <a:pt x="11284" y="819"/>
                </a:lnTo>
                <a:lnTo>
                  <a:pt x="11287" y="809"/>
                </a:lnTo>
                <a:lnTo>
                  <a:pt x="11289" y="800"/>
                </a:lnTo>
                <a:lnTo>
                  <a:pt x="11291" y="789"/>
                </a:lnTo>
                <a:lnTo>
                  <a:pt x="11292" y="778"/>
                </a:lnTo>
                <a:lnTo>
                  <a:pt x="11292" y="767"/>
                </a:lnTo>
                <a:lnTo>
                  <a:pt x="11292" y="757"/>
                </a:lnTo>
                <a:lnTo>
                  <a:pt x="11291" y="748"/>
                </a:lnTo>
                <a:lnTo>
                  <a:pt x="11290" y="738"/>
                </a:lnTo>
                <a:lnTo>
                  <a:pt x="11288" y="730"/>
                </a:lnTo>
                <a:lnTo>
                  <a:pt x="11286" y="723"/>
                </a:lnTo>
                <a:lnTo>
                  <a:pt x="11282" y="716"/>
                </a:lnTo>
                <a:lnTo>
                  <a:pt x="11279" y="708"/>
                </a:lnTo>
                <a:lnTo>
                  <a:pt x="11276" y="702"/>
                </a:lnTo>
                <a:lnTo>
                  <a:pt x="11268" y="691"/>
                </a:lnTo>
                <a:lnTo>
                  <a:pt x="11258" y="681"/>
                </a:lnTo>
                <a:lnTo>
                  <a:pt x="11253" y="678"/>
                </a:lnTo>
                <a:lnTo>
                  <a:pt x="11248" y="675"/>
                </a:lnTo>
                <a:lnTo>
                  <a:pt x="11243" y="672"/>
                </a:lnTo>
                <a:lnTo>
                  <a:pt x="11237" y="670"/>
                </a:lnTo>
                <a:lnTo>
                  <a:pt x="11226" y="667"/>
                </a:lnTo>
                <a:lnTo>
                  <a:pt x="11212" y="665"/>
                </a:lnTo>
                <a:lnTo>
                  <a:pt x="11195" y="664"/>
                </a:lnTo>
                <a:lnTo>
                  <a:pt x="11176" y="662"/>
                </a:lnTo>
                <a:lnTo>
                  <a:pt x="11122" y="662"/>
                </a:lnTo>
                <a:close/>
                <a:moveTo>
                  <a:pt x="10941" y="547"/>
                </a:moveTo>
                <a:lnTo>
                  <a:pt x="11176" y="547"/>
                </a:lnTo>
                <a:lnTo>
                  <a:pt x="11202" y="547"/>
                </a:lnTo>
                <a:lnTo>
                  <a:pt x="11227" y="548"/>
                </a:lnTo>
                <a:lnTo>
                  <a:pt x="11250" y="549"/>
                </a:lnTo>
                <a:lnTo>
                  <a:pt x="11271" y="551"/>
                </a:lnTo>
                <a:lnTo>
                  <a:pt x="11291" y="553"/>
                </a:lnTo>
                <a:lnTo>
                  <a:pt x="11310" y="556"/>
                </a:lnTo>
                <a:lnTo>
                  <a:pt x="11327" y="560"/>
                </a:lnTo>
                <a:lnTo>
                  <a:pt x="11341" y="563"/>
                </a:lnTo>
                <a:lnTo>
                  <a:pt x="11356" y="568"/>
                </a:lnTo>
                <a:lnTo>
                  <a:pt x="11370" y="573"/>
                </a:lnTo>
                <a:lnTo>
                  <a:pt x="11383" y="580"/>
                </a:lnTo>
                <a:lnTo>
                  <a:pt x="11396" y="589"/>
                </a:lnTo>
                <a:lnTo>
                  <a:pt x="11407" y="598"/>
                </a:lnTo>
                <a:lnTo>
                  <a:pt x="11419" y="608"/>
                </a:lnTo>
                <a:lnTo>
                  <a:pt x="11431" y="621"/>
                </a:lnTo>
                <a:lnTo>
                  <a:pt x="11440" y="633"/>
                </a:lnTo>
                <a:lnTo>
                  <a:pt x="11449" y="648"/>
                </a:lnTo>
                <a:lnTo>
                  <a:pt x="11458" y="662"/>
                </a:lnTo>
                <a:lnTo>
                  <a:pt x="11465" y="678"/>
                </a:lnTo>
                <a:lnTo>
                  <a:pt x="11470" y="695"/>
                </a:lnTo>
                <a:lnTo>
                  <a:pt x="11475" y="712"/>
                </a:lnTo>
                <a:lnTo>
                  <a:pt x="11478" y="731"/>
                </a:lnTo>
                <a:lnTo>
                  <a:pt x="11480" y="750"/>
                </a:lnTo>
                <a:lnTo>
                  <a:pt x="11480" y="770"/>
                </a:lnTo>
                <a:lnTo>
                  <a:pt x="11480" y="788"/>
                </a:lnTo>
                <a:lnTo>
                  <a:pt x="11478" y="807"/>
                </a:lnTo>
                <a:lnTo>
                  <a:pt x="11476" y="825"/>
                </a:lnTo>
                <a:lnTo>
                  <a:pt x="11473" y="841"/>
                </a:lnTo>
                <a:lnTo>
                  <a:pt x="11467" y="857"/>
                </a:lnTo>
                <a:lnTo>
                  <a:pt x="11462" y="872"/>
                </a:lnTo>
                <a:lnTo>
                  <a:pt x="11456" y="886"/>
                </a:lnTo>
                <a:lnTo>
                  <a:pt x="11448" y="899"/>
                </a:lnTo>
                <a:lnTo>
                  <a:pt x="11440" y="911"/>
                </a:lnTo>
                <a:lnTo>
                  <a:pt x="11431" y="923"/>
                </a:lnTo>
                <a:lnTo>
                  <a:pt x="11421" y="933"/>
                </a:lnTo>
                <a:lnTo>
                  <a:pt x="11410" y="942"/>
                </a:lnTo>
                <a:lnTo>
                  <a:pt x="11398" y="952"/>
                </a:lnTo>
                <a:lnTo>
                  <a:pt x="11386" y="960"/>
                </a:lnTo>
                <a:lnTo>
                  <a:pt x="11373" y="966"/>
                </a:lnTo>
                <a:lnTo>
                  <a:pt x="11359" y="972"/>
                </a:lnTo>
                <a:lnTo>
                  <a:pt x="11344" y="978"/>
                </a:lnTo>
                <a:lnTo>
                  <a:pt x="11327" y="983"/>
                </a:lnTo>
                <a:lnTo>
                  <a:pt x="11308" y="986"/>
                </a:lnTo>
                <a:lnTo>
                  <a:pt x="11287" y="989"/>
                </a:lnTo>
                <a:lnTo>
                  <a:pt x="11265" y="992"/>
                </a:lnTo>
                <a:lnTo>
                  <a:pt x="11239" y="993"/>
                </a:lnTo>
                <a:lnTo>
                  <a:pt x="11213" y="994"/>
                </a:lnTo>
                <a:lnTo>
                  <a:pt x="11185" y="995"/>
                </a:lnTo>
                <a:lnTo>
                  <a:pt x="11122" y="995"/>
                </a:lnTo>
                <a:lnTo>
                  <a:pt x="11122" y="1256"/>
                </a:lnTo>
                <a:lnTo>
                  <a:pt x="10941" y="1256"/>
                </a:lnTo>
                <a:lnTo>
                  <a:pt x="10941" y="547"/>
                </a:lnTo>
                <a:close/>
                <a:moveTo>
                  <a:pt x="10155" y="731"/>
                </a:moveTo>
                <a:lnTo>
                  <a:pt x="10323" y="731"/>
                </a:lnTo>
                <a:lnTo>
                  <a:pt x="10323" y="932"/>
                </a:lnTo>
                <a:lnTo>
                  <a:pt x="10490" y="731"/>
                </a:lnTo>
                <a:lnTo>
                  <a:pt x="10643" y="731"/>
                </a:lnTo>
                <a:lnTo>
                  <a:pt x="10492" y="908"/>
                </a:lnTo>
                <a:lnTo>
                  <a:pt x="10659" y="1256"/>
                </a:lnTo>
                <a:lnTo>
                  <a:pt x="10477" y="1256"/>
                </a:lnTo>
                <a:lnTo>
                  <a:pt x="10384" y="1014"/>
                </a:lnTo>
                <a:lnTo>
                  <a:pt x="10323" y="1087"/>
                </a:lnTo>
                <a:lnTo>
                  <a:pt x="10323" y="1256"/>
                </a:lnTo>
                <a:lnTo>
                  <a:pt x="10155" y="1256"/>
                </a:lnTo>
                <a:lnTo>
                  <a:pt x="10155" y="731"/>
                </a:lnTo>
                <a:close/>
                <a:moveTo>
                  <a:pt x="9569" y="1256"/>
                </a:moveTo>
                <a:lnTo>
                  <a:pt x="9569" y="731"/>
                </a:lnTo>
                <a:lnTo>
                  <a:pt x="9738" y="731"/>
                </a:lnTo>
                <a:lnTo>
                  <a:pt x="9738" y="920"/>
                </a:lnTo>
                <a:lnTo>
                  <a:pt x="9872" y="920"/>
                </a:lnTo>
                <a:lnTo>
                  <a:pt x="9872" y="731"/>
                </a:lnTo>
                <a:lnTo>
                  <a:pt x="10040" y="731"/>
                </a:lnTo>
                <a:lnTo>
                  <a:pt x="10040" y="1256"/>
                </a:lnTo>
                <a:lnTo>
                  <a:pt x="9872" y="1256"/>
                </a:lnTo>
                <a:lnTo>
                  <a:pt x="9872" y="1034"/>
                </a:lnTo>
                <a:lnTo>
                  <a:pt x="9738" y="1034"/>
                </a:lnTo>
                <a:lnTo>
                  <a:pt x="9738" y="1256"/>
                </a:lnTo>
                <a:lnTo>
                  <a:pt x="9569" y="1256"/>
                </a:lnTo>
                <a:close/>
                <a:moveTo>
                  <a:pt x="9286" y="1006"/>
                </a:moveTo>
                <a:lnTo>
                  <a:pt x="9269" y="1008"/>
                </a:lnTo>
                <a:lnTo>
                  <a:pt x="9252" y="1010"/>
                </a:lnTo>
                <a:lnTo>
                  <a:pt x="9237" y="1013"/>
                </a:lnTo>
                <a:lnTo>
                  <a:pt x="9222" y="1017"/>
                </a:lnTo>
                <a:lnTo>
                  <a:pt x="9210" y="1020"/>
                </a:lnTo>
                <a:lnTo>
                  <a:pt x="9198" y="1024"/>
                </a:lnTo>
                <a:lnTo>
                  <a:pt x="9189" y="1030"/>
                </a:lnTo>
                <a:lnTo>
                  <a:pt x="9180" y="1035"/>
                </a:lnTo>
                <a:lnTo>
                  <a:pt x="9173" y="1040"/>
                </a:lnTo>
                <a:lnTo>
                  <a:pt x="9166" y="1047"/>
                </a:lnTo>
                <a:lnTo>
                  <a:pt x="9160" y="1055"/>
                </a:lnTo>
                <a:lnTo>
                  <a:pt x="9156" y="1063"/>
                </a:lnTo>
                <a:lnTo>
                  <a:pt x="9153" y="1072"/>
                </a:lnTo>
                <a:lnTo>
                  <a:pt x="9150" y="1083"/>
                </a:lnTo>
                <a:lnTo>
                  <a:pt x="9149" y="1094"/>
                </a:lnTo>
                <a:lnTo>
                  <a:pt x="9148" y="1106"/>
                </a:lnTo>
                <a:lnTo>
                  <a:pt x="9149" y="1121"/>
                </a:lnTo>
                <a:lnTo>
                  <a:pt x="9152" y="1136"/>
                </a:lnTo>
                <a:lnTo>
                  <a:pt x="9154" y="1141"/>
                </a:lnTo>
                <a:lnTo>
                  <a:pt x="9156" y="1147"/>
                </a:lnTo>
                <a:lnTo>
                  <a:pt x="9159" y="1151"/>
                </a:lnTo>
                <a:lnTo>
                  <a:pt x="9163" y="1157"/>
                </a:lnTo>
                <a:lnTo>
                  <a:pt x="9167" y="1161"/>
                </a:lnTo>
                <a:lnTo>
                  <a:pt x="9171" y="1164"/>
                </a:lnTo>
                <a:lnTo>
                  <a:pt x="9175" y="1167"/>
                </a:lnTo>
                <a:lnTo>
                  <a:pt x="9180" y="1169"/>
                </a:lnTo>
                <a:lnTo>
                  <a:pt x="9186" y="1171"/>
                </a:lnTo>
                <a:lnTo>
                  <a:pt x="9192" y="1172"/>
                </a:lnTo>
                <a:lnTo>
                  <a:pt x="9198" y="1173"/>
                </a:lnTo>
                <a:lnTo>
                  <a:pt x="9206" y="1173"/>
                </a:lnTo>
                <a:lnTo>
                  <a:pt x="9213" y="1172"/>
                </a:lnTo>
                <a:lnTo>
                  <a:pt x="9220" y="1171"/>
                </a:lnTo>
                <a:lnTo>
                  <a:pt x="9228" y="1169"/>
                </a:lnTo>
                <a:lnTo>
                  <a:pt x="9235" y="1166"/>
                </a:lnTo>
                <a:lnTo>
                  <a:pt x="9241" y="1162"/>
                </a:lnTo>
                <a:lnTo>
                  <a:pt x="9249" y="1157"/>
                </a:lnTo>
                <a:lnTo>
                  <a:pt x="9255" y="1150"/>
                </a:lnTo>
                <a:lnTo>
                  <a:pt x="9261" y="1143"/>
                </a:lnTo>
                <a:lnTo>
                  <a:pt x="9268" y="1135"/>
                </a:lnTo>
                <a:lnTo>
                  <a:pt x="9273" y="1124"/>
                </a:lnTo>
                <a:lnTo>
                  <a:pt x="9277" y="1113"/>
                </a:lnTo>
                <a:lnTo>
                  <a:pt x="9280" y="1100"/>
                </a:lnTo>
                <a:lnTo>
                  <a:pt x="9283" y="1086"/>
                </a:lnTo>
                <a:lnTo>
                  <a:pt x="9285" y="1069"/>
                </a:lnTo>
                <a:lnTo>
                  <a:pt x="9286" y="1051"/>
                </a:lnTo>
                <a:lnTo>
                  <a:pt x="9286" y="1032"/>
                </a:lnTo>
                <a:lnTo>
                  <a:pt x="9286" y="1006"/>
                </a:lnTo>
                <a:close/>
                <a:moveTo>
                  <a:pt x="9155" y="897"/>
                </a:moveTo>
                <a:lnTo>
                  <a:pt x="8995" y="883"/>
                </a:lnTo>
                <a:lnTo>
                  <a:pt x="8999" y="864"/>
                </a:lnTo>
                <a:lnTo>
                  <a:pt x="9004" y="846"/>
                </a:lnTo>
                <a:lnTo>
                  <a:pt x="9011" y="829"/>
                </a:lnTo>
                <a:lnTo>
                  <a:pt x="9020" y="813"/>
                </a:lnTo>
                <a:lnTo>
                  <a:pt x="9030" y="799"/>
                </a:lnTo>
                <a:lnTo>
                  <a:pt x="9043" y="785"/>
                </a:lnTo>
                <a:lnTo>
                  <a:pt x="9056" y="773"/>
                </a:lnTo>
                <a:lnTo>
                  <a:pt x="9072" y="761"/>
                </a:lnTo>
                <a:lnTo>
                  <a:pt x="9090" y="751"/>
                </a:lnTo>
                <a:lnTo>
                  <a:pt x="9108" y="743"/>
                </a:lnTo>
                <a:lnTo>
                  <a:pt x="9127" y="735"/>
                </a:lnTo>
                <a:lnTo>
                  <a:pt x="9148" y="729"/>
                </a:lnTo>
                <a:lnTo>
                  <a:pt x="9169" y="725"/>
                </a:lnTo>
                <a:lnTo>
                  <a:pt x="9191" y="722"/>
                </a:lnTo>
                <a:lnTo>
                  <a:pt x="9215" y="720"/>
                </a:lnTo>
                <a:lnTo>
                  <a:pt x="9240" y="719"/>
                </a:lnTo>
                <a:lnTo>
                  <a:pt x="9260" y="719"/>
                </a:lnTo>
                <a:lnTo>
                  <a:pt x="9280" y="721"/>
                </a:lnTo>
                <a:lnTo>
                  <a:pt x="9299" y="723"/>
                </a:lnTo>
                <a:lnTo>
                  <a:pt x="9317" y="726"/>
                </a:lnTo>
                <a:lnTo>
                  <a:pt x="9334" y="730"/>
                </a:lnTo>
                <a:lnTo>
                  <a:pt x="9348" y="734"/>
                </a:lnTo>
                <a:lnTo>
                  <a:pt x="9363" y="741"/>
                </a:lnTo>
                <a:lnTo>
                  <a:pt x="9377" y="747"/>
                </a:lnTo>
                <a:lnTo>
                  <a:pt x="9389" y="754"/>
                </a:lnTo>
                <a:lnTo>
                  <a:pt x="9400" y="762"/>
                </a:lnTo>
                <a:lnTo>
                  <a:pt x="9410" y="770"/>
                </a:lnTo>
                <a:lnTo>
                  <a:pt x="9419" y="778"/>
                </a:lnTo>
                <a:lnTo>
                  <a:pt x="9426" y="786"/>
                </a:lnTo>
                <a:lnTo>
                  <a:pt x="9432" y="795"/>
                </a:lnTo>
                <a:lnTo>
                  <a:pt x="9438" y="804"/>
                </a:lnTo>
                <a:lnTo>
                  <a:pt x="9442" y="813"/>
                </a:lnTo>
                <a:lnTo>
                  <a:pt x="9445" y="824"/>
                </a:lnTo>
                <a:lnTo>
                  <a:pt x="9448" y="834"/>
                </a:lnTo>
                <a:lnTo>
                  <a:pt x="9450" y="848"/>
                </a:lnTo>
                <a:lnTo>
                  <a:pt x="9452" y="861"/>
                </a:lnTo>
                <a:lnTo>
                  <a:pt x="9454" y="892"/>
                </a:lnTo>
                <a:lnTo>
                  <a:pt x="9455" y="930"/>
                </a:lnTo>
                <a:lnTo>
                  <a:pt x="9455" y="1140"/>
                </a:lnTo>
                <a:lnTo>
                  <a:pt x="9455" y="1184"/>
                </a:lnTo>
                <a:lnTo>
                  <a:pt x="9458" y="1218"/>
                </a:lnTo>
                <a:lnTo>
                  <a:pt x="9459" y="1231"/>
                </a:lnTo>
                <a:lnTo>
                  <a:pt x="9461" y="1242"/>
                </a:lnTo>
                <a:lnTo>
                  <a:pt x="9462" y="1251"/>
                </a:lnTo>
                <a:lnTo>
                  <a:pt x="9464" y="1256"/>
                </a:lnTo>
                <a:lnTo>
                  <a:pt x="9308" y="1256"/>
                </a:lnTo>
                <a:lnTo>
                  <a:pt x="9305" y="1244"/>
                </a:lnTo>
                <a:lnTo>
                  <a:pt x="9302" y="1226"/>
                </a:lnTo>
                <a:lnTo>
                  <a:pt x="9301" y="1203"/>
                </a:lnTo>
                <a:lnTo>
                  <a:pt x="9300" y="1176"/>
                </a:lnTo>
                <a:lnTo>
                  <a:pt x="9294" y="1188"/>
                </a:lnTo>
                <a:lnTo>
                  <a:pt x="9285" y="1198"/>
                </a:lnTo>
                <a:lnTo>
                  <a:pt x="9278" y="1208"/>
                </a:lnTo>
                <a:lnTo>
                  <a:pt x="9270" y="1217"/>
                </a:lnTo>
                <a:lnTo>
                  <a:pt x="9260" y="1225"/>
                </a:lnTo>
                <a:lnTo>
                  <a:pt x="9251" y="1232"/>
                </a:lnTo>
                <a:lnTo>
                  <a:pt x="9241" y="1240"/>
                </a:lnTo>
                <a:lnTo>
                  <a:pt x="9231" y="1246"/>
                </a:lnTo>
                <a:lnTo>
                  <a:pt x="9220" y="1251"/>
                </a:lnTo>
                <a:lnTo>
                  <a:pt x="9210" y="1256"/>
                </a:lnTo>
                <a:lnTo>
                  <a:pt x="9198" y="1261"/>
                </a:lnTo>
                <a:lnTo>
                  <a:pt x="9187" y="1264"/>
                </a:lnTo>
                <a:lnTo>
                  <a:pt x="9174" y="1266"/>
                </a:lnTo>
                <a:lnTo>
                  <a:pt x="9161" y="1268"/>
                </a:lnTo>
                <a:lnTo>
                  <a:pt x="9148" y="1269"/>
                </a:lnTo>
                <a:lnTo>
                  <a:pt x="9134" y="1270"/>
                </a:lnTo>
                <a:lnTo>
                  <a:pt x="9117" y="1269"/>
                </a:lnTo>
                <a:lnTo>
                  <a:pt x="9101" y="1267"/>
                </a:lnTo>
                <a:lnTo>
                  <a:pt x="9085" y="1265"/>
                </a:lnTo>
                <a:lnTo>
                  <a:pt x="9070" y="1261"/>
                </a:lnTo>
                <a:lnTo>
                  <a:pt x="9056" y="1255"/>
                </a:lnTo>
                <a:lnTo>
                  <a:pt x="9044" y="1249"/>
                </a:lnTo>
                <a:lnTo>
                  <a:pt x="9031" y="1241"/>
                </a:lnTo>
                <a:lnTo>
                  <a:pt x="9020" y="1232"/>
                </a:lnTo>
                <a:lnTo>
                  <a:pt x="9009" y="1223"/>
                </a:lnTo>
                <a:lnTo>
                  <a:pt x="9000" y="1212"/>
                </a:lnTo>
                <a:lnTo>
                  <a:pt x="8992" y="1200"/>
                </a:lnTo>
                <a:lnTo>
                  <a:pt x="8986" y="1188"/>
                </a:lnTo>
                <a:lnTo>
                  <a:pt x="8982" y="1173"/>
                </a:lnTo>
                <a:lnTo>
                  <a:pt x="8978" y="1159"/>
                </a:lnTo>
                <a:lnTo>
                  <a:pt x="8976" y="1142"/>
                </a:lnTo>
                <a:lnTo>
                  <a:pt x="8976" y="1125"/>
                </a:lnTo>
                <a:lnTo>
                  <a:pt x="8976" y="1115"/>
                </a:lnTo>
                <a:lnTo>
                  <a:pt x="8977" y="1104"/>
                </a:lnTo>
                <a:lnTo>
                  <a:pt x="8978" y="1094"/>
                </a:lnTo>
                <a:lnTo>
                  <a:pt x="8980" y="1084"/>
                </a:lnTo>
                <a:lnTo>
                  <a:pt x="8982" y="1074"/>
                </a:lnTo>
                <a:lnTo>
                  <a:pt x="8985" y="1065"/>
                </a:lnTo>
                <a:lnTo>
                  <a:pt x="8988" y="1056"/>
                </a:lnTo>
                <a:lnTo>
                  <a:pt x="8992" y="1047"/>
                </a:lnTo>
                <a:lnTo>
                  <a:pt x="8997" y="1039"/>
                </a:lnTo>
                <a:lnTo>
                  <a:pt x="9002" y="1031"/>
                </a:lnTo>
                <a:lnTo>
                  <a:pt x="9007" y="1022"/>
                </a:lnTo>
                <a:lnTo>
                  <a:pt x="9012" y="1015"/>
                </a:lnTo>
                <a:lnTo>
                  <a:pt x="9020" y="1008"/>
                </a:lnTo>
                <a:lnTo>
                  <a:pt x="9026" y="1002"/>
                </a:lnTo>
                <a:lnTo>
                  <a:pt x="9034" y="995"/>
                </a:lnTo>
                <a:lnTo>
                  <a:pt x="9042" y="989"/>
                </a:lnTo>
                <a:lnTo>
                  <a:pt x="9051" y="983"/>
                </a:lnTo>
                <a:lnTo>
                  <a:pt x="9061" y="978"/>
                </a:lnTo>
                <a:lnTo>
                  <a:pt x="9071" y="972"/>
                </a:lnTo>
                <a:lnTo>
                  <a:pt x="9083" y="967"/>
                </a:lnTo>
                <a:lnTo>
                  <a:pt x="9095" y="962"/>
                </a:lnTo>
                <a:lnTo>
                  <a:pt x="9108" y="958"/>
                </a:lnTo>
                <a:lnTo>
                  <a:pt x="9122" y="954"/>
                </a:lnTo>
                <a:lnTo>
                  <a:pt x="9137" y="951"/>
                </a:lnTo>
                <a:lnTo>
                  <a:pt x="9169" y="943"/>
                </a:lnTo>
                <a:lnTo>
                  <a:pt x="9205" y="938"/>
                </a:lnTo>
                <a:lnTo>
                  <a:pt x="9244" y="934"/>
                </a:lnTo>
                <a:lnTo>
                  <a:pt x="9286" y="931"/>
                </a:lnTo>
                <a:lnTo>
                  <a:pt x="9286" y="911"/>
                </a:lnTo>
                <a:lnTo>
                  <a:pt x="9286" y="886"/>
                </a:lnTo>
                <a:lnTo>
                  <a:pt x="9283" y="865"/>
                </a:lnTo>
                <a:lnTo>
                  <a:pt x="9282" y="856"/>
                </a:lnTo>
                <a:lnTo>
                  <a:pt x="9280" y="849"/>
                </a:lnTo>
                <a:lnTo>
                  <a:pt x="9277" y="841"/>
                </a:lnTo>
                <a:lnTo>
                  <a:pt x="9274" y="836"/>
                </a:lnTo>
                <a:lnTo>
                  <a:pt x="9271" y="831"/>
                </a:lnTo>
                <a:lnTo>
                  <a:pt x="9266" y="827"/>
                </a:lnTo>
                <a:lnTo>
                  <a:pt x="9261" y="824"/>
                </a:lnTo>
                <a:lnTo>
                  <a:pt x="9256" y="821"/>
                </a:lnTo>
                <a:lnTo>
                  <a:pt x="9250" y="819"/>
                </a:lnTo>
                <a:lnTo>
                  <a:pt x="9242" y="816"/>
                </a:lnTo>
                <a:lnTo>
                  <a:pt x="9235" y="815"/>
                </a:lnTo>
                <a:lnTo>
                  <a:pt x="9227" y="815"/>
                </a:lnTo>
                <a:lnTo>
                  <a:pt x="9218" y="815"/>
                </a:lnTo>
                <a:lnTo>
                  <a:pt x="9211" y="816"/>
                </a:lnTo>
                <a:lnTo>
                  <a:pt x="9205" y="819"/>
                </a:lnTo>
                <a:lnTo>
                  <a:pt x="9197" y="821"/>
                </a:lnTo>
                <a:lnTo>
                  <a:pt x="9192" y="823"/>
                </a:lnTo>
                <a:lnTo>
                  <a:pt x="9186" y="827"/>
                </a:lnTo>
                <a:lnTo>
                  <a:pt x="9180" y="831"/>
                </a:lnTo>
                <a:lnTo>
                  <a:pt x="9176" y="835"/>
                </a:lnTo>
                <a:lnTo>
                  <a:pt x="9172" y="841"/>
                </a:lnTo>
                <a:lnTo>
                  <a:pt x="9168" y="847"/>
                </a:lnTo>
                <a:lnTo>
                  <a:pt x="9165" y="854"/>
                </a:lnTo>
                <a:lnTo>
                  <a:pt x="9161" y="861"/>
                </a:lnTo>
                <a:lnTo>
                  <a:pt x="9159" y="868"/>
                </a:lnTo>
                <a:lnTo>
                  <a:pt x="9157" y="878"/>
                </a:lnTo>
                <a:lnTo>
                  <a:pt x="9156" y="887"/>
                </a:lnTo>
                <a:lnTo>
                  <a:pt x="9155" y="897"/>
                </a:lnTo>
                <a:close/>
                <a:moveTo>
                  <a:pt x="8545" y="931"/>
                </a:moveTo>
                <a:lnTo>
                  <a:pt x="8545" y="1135"/>
                </a:lnTo>
                <a:lnTo>
                  <a:pt x="8601" y="1135"/>
                </a:lnTo>
                <a:lnTo>
                  <a:pt x="8615" y="1135"/>
                </a:lnTo>
                <a:lnTo>
                  <a:pt x="8629" y="1133"/>
                </a:lnTo>
                <a:lnTo>
                  <a:pt x="8642" y="1132"/>
                </a:lnTo>
                <a:lnTo>
                  <a:pt x="8653" y="1128"/>
                </a:lnTo>
                <a:lnTo>
                  <a:pt x="8663" y="1125"/>
                </a:lnTo>
                <a:lnTo>
                  <a:pt x="8672" y="1122"/>
                </a:lnTo>
                <a:lnTo>
                  <a:pt x="8681" y="1117"/>
                </a:lnTo>
                <a:lnTo>
                  <a:pt x="8689" y="1112"/>
                </a:lnTo>
                <a:lnTo>
                  <a:pt x="8695" y="1106"/>
                </a:lnTo>
                <a:lnTo>
                  <a:pt x="8701" y="1098"/>
                </a:lnTo>
                <a:lnTo>
                  <a:pt x="8706" y="1091"/>
                </a:lnTo>
                <a:lnTo>
                  <a:pt x="8709" y="1082"/>
                </a:lnTo>
                <a:lnTo>
                  <a:pt x="8712" y="1071"/>
                </a:lnTo>
                <a:lnTo>
                  <a:pt x="8714" y="1061"/>
                </a:lnTo>
                <a:lnTo>
                  <a:pt x="8716" y="1048"/>
                </a:lnTo>
                <a:lnTo>
                  <a:pt x="8716" y="1035"/>
                </a:lnTo>
                <a:lnTo>
                  <a:pt x="8716" y="1023"/>
                </a:lnTo>
                <a:lnTo>
                  <a:pt x="8715" y="1013"/>
                </a:lnTo>
                <a:lnTo>
                  <a:pt x="8713" y="1003"/>
                </a:lnTo>
                <a:lnTo>
                  <a:pt x="8711" y="992"/>
                </a:lnTo>
                <a:lnTo>
                  <a:pt x="8708" y="983"/>
                </a:lnTo>
                <a:lnTo>
                  <a:pt x="8705" y="975"/>
                </a:lnTo>
                <a:lnTo>
                  <a:pt x="8699" y="967"/>
                </a:lnTo>
                <a:lnTo>
                  <a:pt x="8695" y="959"/>
                </a:lnTo>
                <a:lnTo>
                  <a:pt x="8689" y="953"/>
                </a:lnTo>
                <a:lnTo>
                  <a:pt x="8681" y="946"/>
                </a:lnTo>
                <a:lnTo>
                  <a:pt x="8671" y="942"/>
                </a:lnTo>
                <a:lnTo>
                  <a:pt x="8661" y="938"/>
                </a:lnTo>
                <a:lnTo>
                  <a:pt x="8648" y="935"/>
                </a:lnTo>
                <a:lnTo>
                  <a:pt x="8634" y="933"/>
                </a:lnTo>
                <a:lnTo>
                  <a:pt x="8619" y="931"/>
                </a:lnTo>
                <a:lnTo>
                  <a:pt x="8601" y="931"/>
                </a:lnTo>
                <a:lnTo>
                  <a:pt x="8545" y="931"/>
                </a:lnTo>
                <a:close/>
                <a:moveTo>
                  <a:pt x="8366" y="547"/>
                </a:moveTo>
                <a:lnTo>
                  <a:pt x="8829" y="547"/>
                </a:lnTo>
                <a:lnTo>
                  <a:pt x="8829" y="670"/>
                </a:lnTo>
                <a:lnTo>
                  <a:pt x="8545" y="670"/>
                </a:lnTo>
                <a:lnTo>
                  <a:pt x="8545" y="808"/>
                </a:lnTo>
                <a:lnTo>
                  <a:pt x="8608" y="808"/>
                </a:lnTo>
                <a:lnTo>
                  <a:pt x="8648" y="809"/>
                </a:lnTo>
                <a:lnTo>
                  <a:pt x="8685" y="812"/>
                </a:lnTo>
                <a:lnTo>
                  <a:pt x="8703" y="814"/>
                </a:lnTo>
                <a:lnTo>
                  <a:pt x="8719" y="816"/>
                </a:lnTo>
                <a:lnTo>
                  <a:pt x="8735" y="820"/>
                </a:lnTo>
                <a:lnTo>
                  <a:pt x="8750" y="824"/>
                </a:lnTo>
                <a:lnTo>
                  <a:pt x="8764" y="827"/>
                </a:lnTo>
                <a:lnTo>
                  <a:pt x="8777" y="831"/>
                </a:lnTo>
                <a:lnTo>
                  <a:pt x="8790" y="836"/>
                </a:lnTo>
                <a:lnTo>
                  <a:pt x="8801" y="841"/>
                </a:lnTo>
                <a:lnTo>
                  <a:pt x="8812" y="848"/>
                </a:lnTo>
                <a:lnTo>
                  <a:pt x="8822" y="854"/>
                </a:lnTo>
                <a:lnTo>
                  <a:pt x="8832" y="860"/>
                </a:lnTo>
                <a:lnTo>
                  <a:pt x="8840" y="867"/>
                </a:lnTo>
                <a:lnTo>
                  <a:pt x="8848" y="875"/>
                </a:lnTo>
                <a:lnTo>
                  <a:pt x="8855" y="882"/>
                </a:lnTo>
                <a:lnTo>
                  <a:pt x="8862" y="890"/>
                </a:lnTo>
                <a:lnTo>
                  <a:pt x="8869" y="900"/>
                </a:lnTo>
                <a:lnTo>
                  <a:pt x="8874" y="909"/>
                </a:lnTo>
                <a:lnTo>
                  <a:pt x="8879" y="918"/>
                </a:lnTo>
                <a:lnTo>
                  <a:pt x="8884" y="928"/>
                </a:lnTo>
                <a:lnTo>
                  <a:pt x="8888" y="938"/>
                </a:lnTo>
                <a:lnTo>
                  <a:pt x="8892" y="950"/>
                </a:lnTo>
                <a:lnTo>
                  <a:pt x="8896" y="960"/>
                </a:lnTo>
                <a:lnTo>
                  <a:pt x="8898" y="972"/>
                </a:lnTo>
                <a:lnTo>
                  <a:pt x="8900" y="984"/>
                </a:lnTo>
                <a:lnTo>
                  <a:pt x="8902" y="996"/>
                </a:lnTo>
                <a:lnTo>
                  <a:pt x="8903" y="1009"/>
                </a:lnTo>
                <a:lnTo>
                  <a:pt x="8904" y="1022"/>
                </a:lnTo>
                <a:lnTo>
                  <a:pt x="8904" y="1036"/>
                </a:lnTo>
                <a:lnTo>
                  <a:pt x="8904" y="1057"/>
                </a:lnTo>
                <a:lnTo>
                  <a:pt x="8902" y="1076"/>
                </a:lnTo>
                <a:lnTo>
                  <a:pt x="8898" y="1095"/>
                </a:lnTo>
                <a:lnTo>
                  <a:pt x="8894" y="1113"/>
                </a:lnTo>
                <a:lnTo>
                  <a:pt x="8887" y="1130"/>
                </a:lnTo>
                <a:lnTo>
                  <a:pt x="8880" y="1146"/>
                </a:lnTo>
                <a:lnTo>
                  <a:pt x="8872" y="1161"/>
                </a:lnTo>
                <a:lnTo>
                  <a:pt x="8861" y="1175"/>
                </a:lnTo>
                <a:lnTo>
                  <a:pt x="8851" y="1188"/>
                </a:lnTo>
                <a:lnTo>
                  <a:pt x="8839" y="1199"/>
                </a:lnTo>
                <a:lnTo>
                  <a:pt x="8827" y="1210"/>
                </a:lnTo>
                <a:lnTo>
                  <a:pt x="8814" y="1219"/>
                </a:lnTo>
                <a:lnTo>
                  <a:pt x="8801" y="1226"/>
                </a:lnTo>
                <a:lnTo>
                  <a:pt x="8789" y="1234"/>
                </a:lnTo>
                <a:lnTo>
                  <a:pt x="8774" y="1239"/>
                </a:lnTo>
                <a:lnTo>
                  <a:pt x="8760" y="1243"/>
                </a:lnTo>
                <a:lnTo>
                  <a:pt x="8745" y="1246"/>
                </a:lnTo>
                <a:lnTo>
                  <a:pt x="8729" y="1249"/>
                </a:lnTo>
                <a:lnTo>
                  <a:pt x="8711" y="1251"/>
                </a:lnTo>
                <a:lnTo>
                  <a:pt x="8691" y="1253"/>
                </a:lnTo>
                <a:lnTo>
                  <a:pt x="8670" y="1254"/>
                </a:lnTo>
                <a:lnTo>
                  <a:pt x="8648" y="1255"/>
                </a:lnTo>
                <a:lnTo>
                  <a:pt x="8625" y="1256"/>
                </a:lnTo>
                <a:lnTo>
                  <a:pt x="8601" y="1256"/>
                </a:lnTo>
                <a:lnTo>
                  <a:pt x="8366" y="1256"/>
                </a:lnTo>
                <a:lnTo>
                  <a:pt x="8366" y="547"/>
                </a:lnTo>
                <a:close/>
                <a:moveTo>
                  <a:pt x="7714" y="1194"/>
                </a:moveTo>
                <a:lnTo>
                  <a:pt x="7714" y="1256"/>
                </a:lnTo>
                <a:lnTo>
                  <a:pt x="7546" y="1256"/>
                </a:lnTo>
                <a:lnTo>
                  <a:pt x="7546" y="731"/>
                </a:lnTo>
                <a:lnTo>
                  <a:pt x="7714" y="731"/>
                </a:lnTo>
                <a:lnTo>
                  <a:pt x="7714" y="984"/>
                </a:lnTo>
                <a:lnTo>
                  <a:pt x="7850" y="799"/>
                </a:lnTo>
                <a:lnTo>
                  <a:pt x="7850" y="731"/>
                </a:lnTo>
                <a:lnTo>
                  <a:pt x="8019" y="731"/>
                </a:lnTo>
                <a:lnTo>
                  <a:pt x="8019" y="1256"/>
                </a:lnTo>
                <a:lnTo>
                  <a:pt x="7850" y="1256"/>
                </a:lnTo>
                <a:lnTo>
                  <a:pt x="7850" y="1012"/>
                </a:lnTo>
                <a:lnTo>
                  <a:pt x="7823" y="1051"/>
                </a:lnTo>
                <a:lnTo>
                  <a:pt x="7714" y="1194"/>
                </a:lnTo>
                <a:close/>
                <a:moveTo>
                  <a:pt x="7127" y="1194"/>
                </a:moveTo>
                <a:lnTo>
                  <a:pt x="7127" y="1256"/>
                </a:lnTo>
                <a:lnTo>
                  <a:pt x="6958" y="1256"/>
                </a:lnTo>
                <a:lnTo>
                  <a:pt x="6958" y="731"/>
                </a:lnTo>
                <a:lnTo>
                  <a:pt x="7127" y="731"/>
                </a:lnTo>
                <a:lnTo>
                  <a:pt x="7127" y="984"/>
                </a:lnTo>
                <a:lnTo>
                  <a:pt x="7263" y="799"/>
                </a:lnTo>
                <a:lnTo>
                  <a:pt x="7263" y="731"/>
                </a:lnTo>
                <a:lnTo>
                  <a:pt x="7432" y="731"/>
                </a:lnTo>
                <a:lnTo>
                  <a:pt x="7432" y="1256"/>
                </a:lnTo>
                <a:lnTo>
                  <a:pt x="7263" y="1256"/>
                </a:lnTo>
                <a:lnTo>
                  <a:pt x="7263" y="1012"/>
                </a:lnTo>
                <a:lnTo>
                  <a:pt x="7236" y="1051"/>
                </a:lnTo>
                <a:lnTo>
                  <a:pt x="7127" y="1194"/>
                </a:lnTo>
                <a:close/>
                <a:moveTo>
                  <a:pt x="6404" y="731"/>
                </a:moveTo>
                <a:lnTo>
                  <a:pt x="6573" y="731"/>
                </a:lnTo>
                <a:lnTo>
                  <a:pt x="6573" y="932"/>
                </a:lnTo>
                <a:lnTo>
                  <a:pt x="6739" y="731"/>
                </a:lnTo>
                <a:lnTo>
                  <a:pt x="6893" y="731"/>
                </a:lnTo>
                <a:lnTo>
                  <a:pt x="6742" y="908"/>
                </a:lnTo>
                <a:lnTo>
                  <a:pt x="6908" y="1256"/>
                </a:lnTo>
                <a:lnTo>
                  <a:pt x="6727" y="1256"/>
                </a:lnTo>
                <a:lnTo>
                  <a:pt x="6633" y="1014"/>
                </a:lnTo>
                <a:lnTo>
                  <a:pt x="6573" y="1087"/>
                </a:lnTo>
                <a:lnTo>
                  <a:pt x="6573" y="1256"/>
                </a:lnTo>
                <a:lnTo>
                  <a:pt x="6404" y="1256"/>
                </a:lnTo>
                <a:lnTo>
                  <a:pt x="6404" y="731"/>
                </a:lnTo>
                <a:close/>
                <a:moveTo>
                  <a:pt x="6321" y="924"/>
                </a:moveTo>
                <a:lnTo>
                  <a:pt x="6166" y="929"/>
                </a:lnTo>
                <a:lnTo>
                  <a:pt x="6164" y="907"/>
                </a:lnTo>
                <a:lnTo>
                  <a:pt x="6160" y="887"/>
                </a:lnTo>
                <a:lnTo>
                  <a:pt x="6157" y="879"/>
                </a:lnTo>
                <a:lnTo>
                  <a:pt x="6154" y="871"/>
                </a:lnTo>
                <a:lnTo>
                  <a:pt x="6151" y="863"/>
                </a:lnTo>
                <a:lnTo>
                  <a:pt x="6148" y="857"/>
                </a:lnTo>
                <a:lnTo>
                  <a:pt x="6144" y="851"/>
                </a:lnTo>
                <a:lnTo>
                  <a:pt x="6140" y="847"/>
                </a:lnTo>
                <a:lnTo>
                  <a:pt x="6134" y="842"/>
                </a:lnTo>
                <a:lnTo>
                  <a:pt x="6129" y="838"/>
                </a:lnTo>
                <a:lnTo>
                  <a:pt x="6123" y="836"/>
                </a:lnTo>
                <a:lnTo>
                  <a:pt x="6115" y="834"/>
                </a:lnTo>
                <a:lnTo>
                  <a:pt x="6108" y="833"/>
                </a:lnTo>
                <a:lnTo>
                  <a:pt x="6100" y="832"/>
                </a:lnTo>
                <a:lnTo>
                  <a:pt x="6089" y="833"/>
                </a:lnTo>
                <a:lnTo>
                  <a:pt x="6080" y="835"/>
                </a:lnTo>
                <a:lnTo>
                  <a:pt x="6070" y="837"/>
                </a:lnTo>
                <a:lnTo>
                  <a:pt x="6062" y="842"/>
                </a:lnTo>
                <a:lnTo>
                  <a:pt x="6055" y="848"/>
                </a:lnTo>
                <a:lnTo>
                  <a:pt x="6048" y="854"/>
                </a:lnTo>
                <a:lnTo>
                  <a:pt x="6042" y="862"/>
                </a:lnTo>
                <a:lnTo>
                  <a:pt x="6036" y="872"/>
                </a:lnTo>
                <a:lnTo>
                  <a:pt x="6030" y="882"/>
                </a:lnTo>
                <a:lnTo>
                  <a:pt x="6026" y="893"/>
                </a:lnTo>
                <a:lnTo>
                  <a:pt x="6023" y="906"/>
                </a:lnTo>
                <a:lnTo>
                  <a:pt x="6020" y="920"/>
                </a:lnTo>
                <a:lnTo>
                  <a:pt x="6018" y="935"/>
                </a:lnTo>
                <a:lnTo>
                  <a:pt x="6016" y="952"/>
                </a:lnTo>
                <a:lnTo>
                  <a:pt x="6015" y="969"/>
                </a:lnTo>
                <a:lnTo>
                  <a:pt x="6015" y="988"/>
                </a:lnTo>
                <a:lnTo>
                  <a:pt x="6015" y="1010"/>
                </a:lnTo>
                <a:lnTo>
                  <a:pt x="6016" y="1031"/>
                </a:lnTo>
                <a:lnTo>
                  <a:pt x="6018" y="1048"/>
                </a:lnTo>
                <a:lnTo>
                  <a:pt x="6020" y="1066"/>
                </a:lnTo>
                <a:lnTo>
                  <a:pt x="6023" y="1081"/>
                </a:lnTo>
                <a:lnTo>
                  <a:pt x="6026" y="1094"/>
                </a:lnTo>
                <a:lnTo>
                  <a:pt x="6030" y="1106"/>
                </a:lnTo>
                <a:lnTo>
                  <a:pt x="6036" y="1115"/>
                </a:lnTo>
                <a:lnTo>
                  <a:pt x="6041" y="1124"/>
                </a:lnTo>
                <a:lnTo>
                  <a:pt x="6047" y="1132"/>
                </a:lnTo>
                <a:lnTo>
                  <a:pt x="6053" y="1138"/>
                </a:lnTo>
                <a:lnTo>
                  <a:pt x="6061" y="1143"/>
                </a:lnTo>
                <a:lnTo>
                  <a:pt x="6069" y="1146"/>
                </a:lnTo>
                <a:lnTo>
                  <a:pt x="6078" y="1149"/>
                </a:lnTo>
                <a:lnTo>
                  <a:pt x="6087" y="1151"/>
                </a:lnTo>
                <a:lnTo>
                  <a:pt x="6097" y="1151"/>
                </a:lnTo>
                <a:lnTo>
                  <a:pt x="6104" y="1151"/>
                </a:lnTo>
                <a:lnTo>
                  <a:pt x="6111" y="1150"/>
                </a:lnTo>
                <a:lnTo>
                  <a:pt x="6119" y="1148"/>
                </a:lnTo>
                <a:lnTo>
                  <a:pt x="6125" y="1145"/>
                </a:lnTo>
                <a:lnTo>
                  <a:pt x="6130" y="1142"/>
                </a:lnTo>
                <a:lnTo>
                  <a:pt x="6136" y="1138"/>
                </a:lnTo>
                <a:lnTo>
                  <a:pt x="6141" y="1133"/>
                </a:lnTo>
                <a:lnTo>
                  <a:pt x="6146" y="1127"/>
                </a:lnTo>
                <a:lnTo>
                  <a:pt x="6150" y="1120"/>
                </a:lnTo>
                <a:lnTo>
                  <a:pt x="6153" y="1113"/>
                </a:lnTo>
                <a:lnTo>
                  <a:pt x="6156" y="1106"/>
                </a:lnTo>
                <a:lnTo>
                  <a:pt x="6160" y="1096"/>
                </a:lnTo>
                <a:lnTo>
                  <a:pt x="6162" y="1087"/>
                </a:lnTo>
                <a:lnTo>
                  <a:pt x="6164" y="1076"/>
                </a:lnTo>
                <a:lnTo>
                  <a:pt x="6165" y="1065"/>
                </a:lnTo>
                <a:lnTo>
                  <a:pt x="6166" y="1054"/>
                </a:lnTo>
                <a:lnTo>
                  <a:pt x="6321" y="1062"/>
                </a:lnTo>
                <a:lnTo>
                  <a:pt x="6318" y="1087"/>
                </a:lnTo>
                <a:lnTo>
                  <a:pt x="6314" y="1111"/>
                </a:lnTo>
                <a:lnTo>
                  <a:pt x="6308" y="1133"/>
                </a:lnTo>
                <a:lnTo>
                  <a:pt x="6299" y="1152"/>
                </a:lnTo>
                <a:lnTo>
                  <a:pt x="6295" y="1163"/>
                </a:lnTo>
                <a:lnTo>
                  <a:pt x="6290" y="1171"/>
                </a:lnTo>
                <a:lnTo>
                  <a:pt x="6284" y="1180"/>
                </a:lnTo>
                <a:lnTo>
                  <a:pt x="6279" y="1189"/>
                </a:lnTo>
                <a:lnTo>
                  <a:pt x="6273" y="1196"/>
                </a:lnTo>
                <a:lnTo>
                  <a:pt x="6267" y="1203"/>
                </a:lnTo>
                <a:lnTo>
                  <a:pt x="6259" y="1211"/>
                </a:lnTo>
                <a:lnTo>
                  <a:pt x="6252" y="1218"/>
                </a:lnTo>
                <a:lnTo>
                  <a:pt x="6245" y="1224"/>
                </a:lnTo>
                <a:lnTo>
                  <a:pt x="6237" y="1229"/>
                </a:lnTo>
                <a:lnTo>
                  <a:pt x="6229" y="1236"/>
                </a:lnTo>
                <a:lnTo>
                  <a:pt x="6219" y="1240"/>
                </a:lnTo>
                <a:lnTo>
                  <a:pt x="6211" y="1245"/>
                </a:lnTo>
                <a:lnTo>
                  <a:pt x="6202" y="1249"/>
                </a:lnTo>
                <a:lnTo>
                  <a:pt x="6191" y="1253"/>
                </a:lnTo>
                <a:lnTo>
                  <a:pt x="6182" y="1256"/>
                </a:lnTo>
                <a:lnTo>
                  <a:pt x="6160" y="1263"/>
                </a:lnTo>
                <a:lnTo>
                  <a:pt x="6136" y="1266"/>
                </a:lnTo>
                <a:lnTo>
                  <a:pt x="6112" y="1269"/>
                </a:lnTo>
                <a:lnTo>
                  <a:pt x="6086" y="1270"/>
                </a:lnTo>
                <a:lnTo>
                  <a:pt x="6071" y="1269"/>
                </a:lnTo>
                <a:lnTo>
                  <a:pt x="6058" y="1268"/>
                </a:lnTo>
                <a:lnTo>
                  <a:pt x="6044" y="1267"/>
                </a:lnTo>
                <a:lnTo>
                  <a:pt x="6030" y="1265"/>
                </a:lnTo>
                <a:lnTo>
                  <a:pt x="6018" y="1263"/>
                </a:lnTo>
                <a:lnTo>
                  <a:pt x="6006" y="1260"/>
                </a:lnTo>
                <a:lnTo>
                  <a:pt x="5995" y="1256"/>
                </a:lnTo>
                <a:lnTo>
                  <a:pt x="5983" y="1252"/>
                </a:lnTo>
                <a:lnTo>
                  <a:pt x="5972" y="1248"/>
                </a:lnTo>
                <a:lnTo>
                  <a:pt x="5961" y="1243"/>
                </a:lnTo>
                <a:lnTo>
                  <a:pt x="5952" y="1237"/>
                </a:lnTo>
                <a:lnTo>
                  <a:pt x="5942" y="1230"/>
                </a:lnTo>
                <a:lnTo>
                  <a:pt x="5933" y="1224"/>
                </a:lnTo>
                <a:lnTo>
                  <a:pt x="5923" y="1217"/>
                </a:lnTo>
                <a:lnTo>
                  <a:pt x="5916" y="1209"/>
                </a:lnTo>
                <a:lnTo>
                  <a:pt x="5908" y="1200"/>
                </a:lnTo>
                <a:lnTo>
                  <a:pt x="5900" y="1192"/>
                </a:lnTo>
                <a:lnTo>
                  <a:pt x="5893" y="1183"/>
                </a:lnTo>
                <a:lnTo>
                  <a:pt x="5887" y="1172"/>
                </a:lnTo>
                <a:lnTo>
                  <a:pt x="5880" y="1162"/>
                </a:lnTo>
                <a:lnTo>
                  <a:pt x="5875" y="1151"/>
                </a:lnTo>
                <a:lnTo>
                  <a:pt x="5870" y="1140"/>
                </a:lnTo>
                <a:lnTo>
                  <a:pt x="5866" y="1127"/>
                </a:lnTo>
                <a:lnTo>
                  <a:pt x="5861" y="1115"/>
                </a:lnTo>
                <a:lnTo>
                  <a:pt x="5857" y="1101"/>
                </a:lnTo>
                <a:lnTo>
                  <a:pt x="5854" y="1088"/>
                </a:lnTo>
                <a:lnTo>
                  <a:pt x="5852" y="1074"/>
                </a:lnTo>
                <a:lnTo>
                  <a:pt x="5850" y="1060"/>
                </a:lnTo>
                <a:lnTo>
                  <a:pt x="5847" y="1029"/>
                </a:lnTo>
                <a:lnTo>
                  <a:pt x="5846" y="995"/>
                </a:lnTo>
                <a:lnTo>
                  <a:pt x="5846" y="979"/>
                </a:lnTo>
                <a:lnTo>
                  <a:pt x="5847" y="962"/>
                </a:lnTo>
                <a:lnTo>
                  <a:pt x="5848" y="946"/>
                </a:lnTo>
                <a:lnTo>
                  <a:pt x="5850" y="932"/>
                </a:lnTo>
                <a:lnTo>
                  <a:pt x="5852" y="917"/>
                </a:lnTo>
                <a:lnTo>
                  <a:pt x="5855" y="903"/>
                </a:lnTo>
                <a:lnTo>
                  <a:pt x="5858" y="889"/>
                </a:lnTo>
                <a:lnTo>
                  <a:pt x="5862" y="877"/>
                </a:lnTo>
                <a:lnTo>
                  <a:pt x="5867" y="863"/>
                </a:lnTo>
                <a:lnTo>
                  <a:pt x="5871" y="852"/>
                </a:lnTo>
                <a:lnTo>
                  <a:pt x="5876" y="840"/>
                </a:lnTo>
                <a:lnTo>
                  <a:pt x="5882" y="829"/>
                </a:lnTo>
                <a:lnTo>
                  <a:pt x="5889" y="819"/>
                </a:lnTo>
                <a:lnTo>
                  <a:pt x="5895" y="808"/>
                </a:lnTo>
                <a:lnTo>
                  <a:pt x="5902" y="799"/>
                </a:lnTo>
                <a:lnTo>
                  <a:pt x="5911" y="789"/>
                </a:lnTo>
                <a:lnTo>
                  <a:pt x="5919" y="781"/>
                </a:lnTo>
                <a:lnTo>
                  <a:pt x="5927" y="773"/>
                </a:lnTo>
                <a:lnTo>
                  <a:pt x="5937" y="765"/>
                </a:lnTo>
                <a:lnTo>
                  <a:pt x="5946" y="758"/>
                </a:lnTo>
                <a:lnTo>
                  <a:pt x="5956" y="752"/>
                </a:lnTo>
                <a:lnTo>
                  <a:pt x="5966" y="747"/>
                </a:lnTo>
                <a:lnTo>
                  <a:pt x="5977" y="742"/>
                </a:lnTo>
                <a:lnTo>
                  <a:pt x="5988" y="736"/>
                </a:lnTo>
                <a:lnTo>
                  <a:pt x="6000" y="732"/>
                </a:lnTo>
                <a:lnTo>
                  <a:pt x="6011" y="729"/>
                </a:lnTo>
                <a:lnTo>
                  <a:pt x="6024" y="726"/>
                </a:lnTo>
                <a:lnTo>
                  <a:pt x="6037" y="723"/>
                </a:lnTo>
                <a:lnTo>
                  <a:pt x="6050" y="721"/>
                </a:lnTo>
                <a:lnTo>
                  <a:pt x="6064" y="720"/>
                </a:lnTo>
                <a:lnTo>
                  <a:pt x="6078" y="719"/>
                </a:lnTo>
                <a:lnTo>
                  <a:pt x="6092" y="719"/>
                </a:lnTo>
                <a:lnTo>
                  <a:pt x="6118" y="720"/>
                </a:lnTo>
                <a:lnTo>
                  <a:pt x="6142" y="722"/>
                </a:lnTo>
                <a:lnTo>
                  <a:pt x="6165" y="726"/>
                </a:lnTo>
                <a:lnTo>
                  <a:pt x="6186" y="731"/>
                </a:lnTo>
                <a:lnTo>
                  <a:pt x="6206" y="738"/>
                </a:lnTo>
                <a:lnTo>
                  <a:pt x="6224" y="748"/>
                </a:lnTo>
                <a:lnTo>
                  <a:pt x="6232" y="753"/>
                </a:lnTo>
                <a:lnTo>
                  <a:pt x="6240" y="758"/>
                </a:lnTo>
                <a:lnTo>
                  <a:pt x="6248" y="763"/>
                </a:lnTo>
                <a:lnTo>
                  <a:pt x="6255" y="770"/>
                </a:lnTo>
                <a:lnTo>
                  <a:pt x="6262" y="777"/>
                </a:lnTo>
                <a:lnTo>
                  <a:pt x="6269" y="783"/>
                </a:lnTo>
                <a:lnTo>
                  <a:pt x="6275" y="790"/>
                </a:lnTo>
                <a:lnTo>
                  <a:pt x="6280" y="799"/>
                </a:lnTo>
                <a:lnTo>
                  <a:pt x="6292" y="815"/>
                </a:lnTo>
                <a:lnTo>
                  <a:pt x="6300" y="834"/>
                </a:lnTo>
                <a:lnTo>
                  <a:pt x="6308" y="854"/>
                </a:lnTo>
                <a:lnTo>
                  <a:pt x="6314" y="876"/>
                </a:lnTo>
                <a:lnTo>
                  <a:pt x="6319" y="899"/>
                </a:lnTo>
                <a:lnTo>
                  <a:pt x="6321" y="924"/>
                </a:lnTo>
                <a:close/>
                <a:moveTo>
                  <a:pt x="5454" y="1194"/>
                </a:moveTo>
                <a:lnTo>
                  <a:pt x="5454" y="1256"/>
                </a:lnTo>
                <a:lnTo>
                  <a:pt x="5285" y="1256"/>
                </a:lnTo>
                <a:lnTo>
                  <a:pt x="5285" y="731"/>
                </a:lnTo>
                <a:lnTo>
                  <a:pt x="5454" y="731"/>
                </a:lnTo>
                <a:lnTo>
                  <a:pt x="5453" y="984"/>
                </a:lnTo>
                <a:lnTo>
                  <a:pt x="5589" y="799"/>
                </a:lnTo>
                <a:lnTo>
                  <a:pt x="5589" y="731"/>
                </a:lnTo>
                <a:lnTo>
                  <a:pt x="5758" y="731"/>
                </a:lnTo>
                <a:lnTo>
                  <a:pt x="5758" y="1256"/>
                </a:lnTo>
                <a:lnTo>
                  <a:pt x="5589" y="1256"/>
                </a:lnTo>
                <a:lnTo>
                  <a:pt x="5589" y="1012"/>
                </a:lnTo>
                <a:lnTo>
                  <a:pt x="5562" y="1051"/>
                </a:lnTo>
                <a:lnTo>
                  <a:pt x="5454" y="1194"/>
                </a:lnTo>
                <a:close/>
                <a:moveTo>
                  <a:pt x="4867" y="1194"/>
                </a:moveTo>
                <a:lnTo>
                  <a:pt x="4867" y="1256"/>
                </a:lnTo>
                <a:lnTo>
                  <a:pt x="4698" y="1256"/>
                </a:lnTo>
                <a:lnTo>
                  <a:pt x="4698" y="731"/>
                </a:lnTo>
                <a:lnTo>
                  <a:pt x="4867" y="731"/>
                </a:lnTo>
                <a:lnTo>
                  <a:pt x="4866" y="984"/>
                </a:lnTo>
                <a:lnTo>
                  <a:pt x="5002" y="799"/>
                </a:lnTo>
                <a:lnTo>
                  <a:pt x="5002" y="731"/>
                </a:lnTo>
                <a:lnTo>
                  <a:pt x="5171" y="731"/>
                </a:lnTo>
                <a:lnTo>
                  <a:pt x="5171" y="1256"/>
                </a:lnTo>
                <a:lnTo>
                  <a:pt x="5002" y="1256"/>
                </a:lnTo>
                <a:lnTo>
                  <a:pt x="5002" y="1012"/>
                </a:lnTo>
                <a:lnTo>
                  <a:pt x="4975" y="1051"/>
                </a:lnTo>
                <a:lnTo>
                  <a:pt x="4867" y="1194"/>
                </a:lnTo>
                <a:close/>
                <a:moveTo>
                  <a:pt x="4305" y="937"/>
                </a:moveTo>
                <a:lnTo>
                  <a:pt x="4333" y="937"/>
                </a:lnTo>
                <a:lnTo>
                  <a:pt x="4355" y="937"/>
                </a:lnTo>
                <a:lnTo>
                  <a:pt x="4371" y="936"/>
                </a:lnTo>
                <a:lnTo>
                  <a:pt x="4383" y="935"/>
                </a:lnTo>
                <a:lnTo>
                  <a:pt x="4391" y="933"/>
                </a:lnTo>
                <a:lnTo>
                  <a:pt x="4399" y="930"/>
                </a:lnTo>
                <a:lnTo>
                  <a:pt x="4405" y="925"/>
                </a:lnTo>
                <a:lnTo>
                  <a:pt x="4411" y="919"/>
                </a:lnTo>
                <a:lnTo>
                  <a:pt x="4414" y="915"/>
                </a:lnTo>
                <a:lnTo>
                  <a:pt x="4418" y="912"/>
                </a:lnTo>
                <a:lnTo>
                  <a:pt x="4419" y="908"/>
                </a:lnTo>
                <a:lnTo>
                  <a:pt x="4421" y="903"/>
                </a:lnTo>
                <a:lnTo>
                  <a:pt x="4423" y="892"/>
                </a:lnTo>
                <a:lnTo>
                  <a:pt x="4424" y="880"/>
                </a:lnTo>
                <a:lnTo>
                  <a:pt x="4423" y="864"/>
                </a:lnTo>
                <a:lnTo>
                  <a:pt x="4421" y="852"/>
                </a:lnTo>
                <a:lnTo>
                  <a:pt x="4419" y="846"/>
                </a:lnTo>
                <a:lnTo>
                  <a:pt x="4415" y="840"/>
                </a:lnTo>
                <a:lnTo>
                  <a:pt x="4413" y="835"/>
                </a:lnTo>
                <a:lnTo>
                  <a:pt x="4410" y="831"/>
                </a:lnTo>
                <a:lnTo>
                  <a:pt x="4406" y="828"/>
                </a:lnTo>
                <a:lnTo>
                  <a:pt x="4402" y="825"/>
                </a:lnTo>
                <a:lnTo>
                  <a:pt x="4398" y="822"/>
                </a:lnTo>
                <a:lnTo>
                  <a:pt x="4392" y="820"/>
                </a:lnTo>
                <a:lnTo>
                  <a:pt x="4387" y="817"/>
                </a:lnTo>
                <a:lnTo>
                  <a:pt x="4381" y="816"/>
                </a:lnTo>
                <a:lnTo>
                  <a:pt x="4375" y="815"/>
                </a:lnTo>
                <a:lnTo>
                  <a:pt x="4368" y="815"/>
                </a:lnTo>
                <a:lnTo>
                  <a:pt x="4362" y="815"/>
                </a:lnTo>
                <a:lnTo>
                  <a:pt x="4356" y="816"/>
                </a:lnTo>
                <a:lnTo>
                  <a:pt x="4350" y="817"/>
                </a:lnTo>
                <a:lnTo>
                  <a:pt x="4345" y="820"/>
                </a:lnTo>
                <a:lnTo>
                  <a:pt x="4340" y="823"/>
                </a:lnTo>
                <a:lnTo>
                  <a:pt x="4335" y="826"/>
                </a:lnTo>
                <a:lnTo>
                  <a:pt x="4330" y="830"/>
                </a:lnTo>
                <a:lnTo>
                  <a:pt x="4326" y="834"/>
                </a:lnTo>
                <a:lnTo>
                  <a:pt x="4322" y="839"/>
                </a:lnTo>
                <a:lnTo>
                  <a:pt x="4319" y="845"/>
                </a:lnTo>
                <a:lnTo>
                  <a:pt x="4316" y="851"/>
                </a:lnTo>
                <a:lnTo>
                  <a:pt x="4313" y="857"/>
                </a:lnTo>
                <a:lnTo>
                  <a:pt x="4307" y="873"/>
                </a:lnTo>
                <a:lnTo>
                  <a:pt x="4302" y="890"/>
                </a:lnTo>
                <a:lnTo>
                  <a:pt x="4153" y="865"/>
                </a:lnTo>
                <a:lnTo>
                  <a:pt x="4158" y="848"/>
                </a:lnTo>
                <a:lnTo>
                  <a:pt x="4163" y="831"/>
                </a:lnTo>
                <a:lnTo>
                  <a:pt x="4171" y="815"/>
                </a:lnTo>
                <a:lnTo>
                  <a:pt x="4179" y="801"/>
                </a:lnTo>
                <a:lnTo>
                  <a:pt x="4189" y="788"/>
                </a:lnTo>
                <a:lnTo>
                  <a:pt x="4199" y="776"/>
                </a:lnTo>
                <a:lnTo>
                  <a:pt x="4212" y="765"/>
                </a:lnTo>
                <a:lnTo>
                  <a:pt x="4224" y="755"/>
                </a:lnTo>
                <a:lnTo>
                  <a:pt x="4239" y="747"/>
                </a:lnTo>
                <a:lnTo>
                  <a:pt x="4256" y="739"/>
                </a:lnTo>
                <a:lnTo>
                  <a:pt x="4273" y="733"/>
                </a:lnTo>
                <a:lnTo>
                  <a:pt x="4292" y="728"/>
                </a:lnTo>
                <a:lnTo>
                  <a:pt x="4312" y="724"/>
                </a:lnTo>
                <a:lnTo>
                  <a:pt x="4333" y="721"/>
                </a:lnTo>
                <a:lnTo>
                  <a:pt x="4356" y="719"/>
                </a:lnTo>
                <a:lnTo>
                  <a:pt x="4379" y="719"/>
                </a:lnTo>
                <a:lnTo>
                  <a:pt x="4405" y="720"/>
                </a:lnTo>
                <a:lnTo>
                  <a:pt x="4429" y="722"/>
                </a:lnTo>
                <a:lnTo>
                  <a:pt x="4452" y="725"/>
                </a:lnTo>
                <a:lnTo>
                  <a:pt x="4473" y="730"/>
                </a:lnTo>
                <a:lnTo>
                  <a:pt x="4493" y="735"/>
                </a:lnTo>
                <a:lnTo>
                  <a:pt x="4511" y="744"/>
                </a:lnTo>
                <a:lnTo>
                  <a:pt x="4527" y="752"/>
                </a:lnTo>
                <a:lnTo>
                  <a:pt x="4541" y="762"/>
                </a:lnTo>
                <a:lnTo>
                  <a:pt x="4555" y="774"/>
                </a:lnTo>
                <a:lnTo>
                  <a:pt x="4566" y="785"/>
                </a:lnTo>
                <a:lnTo>
                  <a:pt x="4575" y="798"/>
                </a:lnTo>
                <a:lnTo>
                  <a:pt x="4583" y="811"/>
                </a:lnTo>
                <a:lnTo>
                  <a:pt x="4589" y="825"/>
                </a:lnTo>
                <a:lnTo>
                  <a:pt x="4593" y="838"/>
                </a:lnTo>
                <a:lnTo>
                  <a:pt x="4596" y="853"/>
                </a:lnTo>
                <a:lnTo>
                  <a:pt x="4597" y="868"/>
                </a:lnTo>
                <a:lnTo>
                  <a:pt x="4596" y="878"/>
                </a:lnTo>
                <a:lnTo>
                  <a:pt x="4596" y="886"/>
                </a:lnTo>
                <a:lnTo>
                  <a:pt x="4594" y="894"/>
                </a:lnTo>
                <a:lnTo>
                  <a:pt x="4592" y="903"/>
                </a:lnTo>
                <a:lnTo>
                  <a:pt x="4589" y="911"/>
                </a:lnTo>
                <a:lnTo>
                  <a:pt x="4586" y="918"/>
                </a:lnTo>
                <a:lnTo>
                  <a:pt x="4581" y="926"/>
                </a:lnTo>
                <a:lnTo>
                  <a:pt x="4577" y="933"/>
                </a:lnTo>
                <a:lnTo>
                  <a:pt x="4571" y="940"/>
                </a:lnTo>
                <a:lnTo>
                  <a:pt x="4566" y="946"/>
                </a:lnTo>
                <a:lnTo>
                  <a:pt x="4558" y="953"/>
                </a:lnTo>
                <a:lnTo>
                  <a:pt x="4552" y="959"/>
                </a:lnTo>
                <a:lnTo>
                  <a:pt x="4544" y="965"/>
                </a:lnTo>
                <a:lnTo>
                  <a:pt x="4535" y="970"/>
                </a:lnTo>
                <a:lnTo>
                  <a:pt x="4526" y="976"/>
                </a:lnTo>
                <a:lnTo>
                  <a:pt x="4516" y="981"/>
                </a:lnTo>
                <a:lnTo>
                  <a:pt x="4528" y="986"/>
                </a:lnTo>
                <a:lnTo>
                  <a:pt x="4538" y="991"/>
                </a:lnTo>
                <a:lnTo>
                  <a:pt x="4549" y="997"/>
                </a:lnTo>
                <a:lnTo>
                  <a:pt x="4558" y="1004"/>
                </a:lnTo>
                <a:lnTo>
                  <a:pt x="4567" y="1010"/>
                </a:lnTo>
                <a:lnTo>
                  <a:pt x="4574" y="1016"/>
                </a:lnTo>
                <a:lnTo>
                  <a:pt x="4581" y="1023"/>
                </a:lnTo>
                <a:lnTo>
                  <a:pt x="4588" y="1031"/>
                </a:lnTo>
                <a:lnTo>
                  <a:pt x="4594" y="1039"/>
                </a:lnTo>
                <a:lnTo>
                  <a:pt x="4598" y="1047"/>
                </a:lnTo>
                <a:lnTo>
                  <a:pt x="4602" y="1056"/>
                </a:lnTo>
                <a:lnTo>
                  <a:pt x="4606" y="1064"/>
                </a:lnTo>
                <a:lnTo>
                  <a:pt x="4609" y="1073"/>
                </a:lnTo>
                <a:lnTo>
                  <a:pt x="4611" y="1083"/>
                </a:lnTo>
                <a:lnTo>
                  <a:pt x="4612" y="1093"/>
                </a:lnTo>
                <a:lnTo>
                  <a:pt x="4612" y="1104"/>
                </a:lnTo>
                <a:lnTo>
                  <a:pt x="4611" y="1119"/>
                </a:lnTo>
                <a:lnTo>
                  <a:pt x="4609" y="1136"/>
                </a:lnTo>
                <a:lnTo>
                  <a:pt x="4604" y="1150"/>
                </a:lnTo>
                <a:lnTo>
                  <a:pt x="4598" y="1166"/>
                </a:lnTo>
                <a:lnTo>
                  <a:pt x="4591" y="1179"/>
                </a:lnTo>
                <a:lnTo>
                  <a:pt x="4581" y="1194"/>
                </a:lnTo>
                <a:lnTo>
                  <a:pt x="4571" y="1206"/>
                </a:lnTo>
                <a:lnTo>
                  <a:pt x="4558" y="1220"/>
                </a:lnTo>
                <a:lnTo>
                  <a:pt x="4552" y="1225"/>
                </a:lnTo>
                <a:lnTo>
                  <a:pt x="4544" y="1231"/>
                </a:lnTo>
                <a:lnTo>
                  <a:pt x="4536" y="1237"/>
                </a:lnTo>
                <a:lnTo>
                  <a:pt x="4527" y="1242"/>
                </a:lnTo>
                <a:lnTo>
                  <a:pt x="4518" y="1246"/>
                </a:lnTo>
                <a:lnTo>
                  <a:pt x="4508" y="1250"/>
                </a:lnTo>
                <a:lnTo>
                  <a:pt x="4498" y="1253"/>
                </a:lnTo>
                <a:lnTo>
                  <a:pt x="4487" y="1256"/>
                </a:lnTo>
                <a:lnTo>
                  <a:pt x="4464" y="1263"/>
                </a:lnTo>
                <a:lnTo>
                  <a:pt x="4439" y="1267"/>
                </a:lnTo>
                <a:lnTo>
                  <a:pt x="4410" y="1269"/>
                </a:lnTo>
                <a:lnTo>
                  <a:pt x="4381" y="1270"/>
                </a:lnTo>
                <a:lnTo>
                  <a:pt x="4361" y="1269"/>
                </a:lnTo>
                <a:lnTo>
                  <a:pt x="4342" y="1268"/>
                </a:lnTo>
                <a:lnTo>
                  <a:pt x="4323" y="1266"/>
                </a:lnTo>
                <a:lnTo>
                  <a:pt x="4305" y="1263"/>
                </a:lnTo>
                <a:lnTo>
                  <a:pt x="4288" y="1258"/>
                </a:lnTo>
                <a:lnTo>
                  <a:pt x="4272" y="1254"/>
                </a:lnTo>
                <a:lnTo>
                  <a:pt x="4257" y="1248"/>
                </a:lnTo>
                <a:lnTo>
                  <a:pt x="4242" y="1242"/>
                </a:lnTo>
                <a:lnTo>
                  <a:pt x="4235" y="1238"/>
                </a:lnTo>
                <a:lnTo>
                  <a:pt x="4228" y="1234"/>
                </a:lnTo>
                <a:lnTo>
                  <a:pt x="4220" y="1228"/>
                </a:lnTo>
                <a:lnTo>
                  <a:pt x="4214" y="1223"/>
                </a:lnTo>
                <a:lnTo>
                  <a:pt x="4200" y="1211"/>
                </a:lnTo>
                <a:lnTo>
                  <a:pt x="4188" y="1196"/>
                </a:lnTo>
                <a:lnTo>
                  <a:pt x="4175" y="1178"/>
                </a:lnTo>
                <a:lnTo>
                  <a:pt x="4162" y="1160"/>
                </a:lnTo>
                <a:lnTo>
                  <a:pt x="4151" y="1138"/>
                </a:lnTo>
                <a:lnTo>
                  <a:pt x="4140" y="1114"/>
                </a:lnTo>
                <a:lnTo>
                  <a:pt x="4285" y="1091"/>
                </a:lnTo>
                <a:lnTo>
                  <a:pt x="4293" y="1110"/>
                </a:lnTo>
                <a:lnTo>
                  <a:pt x="4301" y="1126"/>
                </a:lnTo>
                <a:lnTo>
                  <a:pt x="4305" y="1134"/>
                </a:lnTo>
                <a:lnTo>
                  <a:pt x="4310" y="1140"/>
                </a:lnTo>
                <a:lnTo>
                  <a:pt x="4316" y="1146"/>
                </a:lnTo>
                <a:lnTo>
                  <a:pt x="4321" y="1151"/>
                </a:lnTo>
                <a:lnTo>
                  <a:pt x="4326" y="1156"/>
                </a:lnTo>
                <a:lnTo>
                  <a:pt x="4333" y="1160"/>
                </a:lnTo>
                <a:lnTo>
                  <a:pt x="4339" y="1163"/>
                </a:lnTo>
                <a:lnTo>
                  <a:pt x="4345" y="1166"/>
                </a:lnTo>
                <a:lnTo>
                  <a:pt x="4351" y="1168"/>
                </a:lnTo>
                <a:lnTo>
                  <a:pt x="4359" y="1170"/>
                </a:lnTo>
                <a:lnTo>
                  <a:pt x="4366" y="1170"/>
                </a:lnTo>
                <a:lnTo>
                  <a:pt x="4373" y="1171"/>
                </a:lnTo>
                <a:lnTo>
                  <a:pt x="4380" y="1170"/>
                </a:lnTo>
                <a:lnTo>
                  <a:pt x="4387" y="1170"/>
                </a:lnTo>
                <a:lnTo>
                  <a:pt x="4393" y="1168"/>
                </a:lnTo>
                <a:lnTo>
                  <a:pt x="4399" y="1166"/>
                </a:lnTo>
                <a:lnTo>
                  <a:pt x="4405" y="1164"/>
                </a:lnTo>
                <a:lnTo>
                  <a:pt x="4410" y="1161"/>
                </a:lnTo>
                <a:lnTo>
                  <a:pt x="4415" y="1157"/>
                </a:lnTo>
                <a:lnTo>
                  <a:pt x="4420" y="1152"/>
                </a:lnTo>
                <a:lnTo>
                  <a:pt x="4424" y="1147"/>
                </a:lnTo>
                <a:lnTo>
                  <a:pt x="4428" y="1142"/>
                </a:lnTo>
                <a:lnTo>
                  <a:pt x="4431" y="1136"/>
                </a:lnTo>
                <a:lnTo>
                  <a:pt x="4434" y="1130"/>
                </a:lnTo>
                <a:lnTo>
                  <a:pt x="4436" y="1122"/>
                </a:lnTo>
                <a:lnTo>
                  <a:pt x="4438" y="1115"/>
                </a:lnTo>
                <a:lnTo>
                  <a:pt x="4439" y="1107"/>
                </a:lnTo>
                <a:lnTo>
                  <a:pt x="4439" y="1098"/>
                </a:lnTo>
                <a:lnTo>
                  <a:pt x="4438" y="1086"/>
                </a:lnTo>
                <a:lnTo>
                  <a:pt x="4435" y="1075"/>
                </a:lnTo>
                <a:lnTo>
                  <a:pt x="4433" y="1070"/>
                </a:lnTo>
                <a:lnTo>
                  <a:pt x="4431" y="1066"/>
                </a:lnTo>
                <a:lnTo>
                  <a:pt x="4428" y="1062"/>
                </a:lnTo>
                <a:lnTo>
                  <a:pt x="4425" y="1058"/>
                </a:lnTo>
                <a:lnTo>
                  <a:pt x="4417" y="1051"/>
                </a:lnTo>
                <a:lnTo>
                  <a:pt x="4408" y="1047"/>
                </a:lnTo>
                <a:lnTo>
                  <a:pt x="4400" y="1044"/>
                </a:lnTo>
                <a:lnTo>
                  <a:pt x="4389" y="1042"/>
                </a:lnTo>
                <a:lnTo>
                  <a:pt x="4377" y="1041"/>
                </a:lnTo>
                <a:lnTo>
                  <a:pt x="4358" y="1041"/>
                </a:lnTo>
                <a:lnTo>
                  <a:pt x="4335" y="1040"/>
                </a:lnTo>
                <a:lnTo>
                  <a:pt x="4305" y="1040"/>
                </a:lnTo>
                <a:lnTo>
                  <a:pt x="4305" y="937"/>
                </a:lnTo>
                <a:close/>
                <a:moveTo>
                  <a:pt x="3907" y="1006"/>
                </a:moveTo>
                <a:lnTo>
                  <a:pt x="3889" y="1008"/>
                </a:lnTo>
                <a:lnTo>
                  <a:pt x="3873" y="1010"/>
                </a:lnTo>
                <a:lnTo>
                  <a:pt x="3858" y="1013"/>
                </a:lnTo>
                <a:lnTo>
                  <a:pt x="3843" y="1017"/>
                </a:lnTo>
                <a:lnTo>
                  <a:pt x="3831" y="1020"/>
                </a:lnTo>
                <a:lnTo>
                  <a:pt x="3820" y="1024"/>
                </a:lnTo>
                <a:lnTo>
                  <a:pt x="3810" y="1030"/>
                </a:lnTo>
                <a:lnTo>
                  <a:pt x="3801" y="1035"/>
                </a:lnTo>
                <a:lnTo>
                  <a:pt x="3794" y="1040"/>
                </a:lnTo>
                <a:lnTo>
                  <a:pt x="3788" y="1047"/>
                </a:lnTo>
                <a:lnTo>
                  <a:pt x="3781" y="1055"/>
                </a:lnTo>
                <a:lnTo>
                  <a:pt x="3777" y="1063"/>
                </a:lnTo>
                <a:lnTo>
                  <a:pt x="3774" y="1072"/>
                </a:lnTo>
                <a:lnTo>
                  <a:pt x="3771" y="1083"/>
                </a:lnTo>
                <a:lnTo>
                  <a:pt x="3770" y="1094"/>
                </a:lnTo>
                <a:lnTo>
                  <a:pt x="3770" y="1106"/>
                </a:lnTo>
                <a:lnTo>
                  <a:pt x="3770" y="1121"/>
                </a:lnTo>
                <a:lnTo>
                  <a:pt x="3773" y="1136"/>
                </a:lnTo>
                <a:lnTo>
                  <a:pt x="3775" y="1141"/>
                </a:lnTo>
                <a:lnTo>
                  <a:pt x="3777" y="1147"/>
                </a:lnTo>
                <a:lnTo>
                  <a:pt x="3780" y="1151"/>
                </a:lnTo>
                <a:lnTo>
                  <a:pt x="3783" y="1157"/>
                </a:lnTo>
                <a:lnTo>
                  <a:pt x="3788" y="1161"/>
                </a:lnTo>
                <a:lnTo>
                  <a:pt x="3792" y="1164"/>
                </a:lnTo>
                <a:lnTo>
                  <a:pt x="3796" y="1167"/>
                </a:lnTo>
                <a:lnTo>
                  <a:pt x="3801" y="1169"/>
                </a:lnTo>
                <a:lnTo>
                  <a:pt x="3808" y="1171"/>
                </a:lnTo>
                <a:lnTo>
                  <a:pt x="3813" y="1172"/>
                </a:lnTo>
                <a:lnTo>
                  <a:pt x="3819" y="1173"/>
                </a:lnTo>
                <a:lnTo>
                  <a:pt x="3826" y="1173"/>
                </a:lnTo>
                <a:lnTo>
                  <a:pt x="3834" y="1172"/>
                </a:lnTo>
                <a:lnTo>
                  <a:pt x="3841" y="1171"/>
                </a:lnTo>
                <a:lnTo>
                  <a:pt x="3848" y="1169"/>
                </a:lnTo>
                <a:lnTo>
                  <a:pt x="3856" y="1166"/>
                </a:lnTo>
                <a:lnTo>
                  <a:pt x="3863" y="1162"/>
                </a:lnTo>
                <a:lnTo>
                  <a:pt x="3869" y="1157"/>
                </a:lnTo>
                <a:lnTo>
                  <a:pt x="3876" y="1150"/>
                </a:lnTo>
                <a:lnTo>
                  <a:pt x="3882" y="1143"/>
                </a:lnTo>
                <a:lnTo>
                  <a:pt x="3888" y="1135"/>
                </a:lnTo>
                <a:lnTo>
                  <a:pt x="3894" y="1124"/>
                </a:lnTo>
                <a:lnTo>
                  <a:pt x="3898" y="1113"/>
                </a:lnTo>
                <a:lnTo>
                  <a:pt x="3901" y="1100"/>
                </a:lnTo>
                <a:lnTo>
                  <a:pt x="3904" y="1086"/>
                </a:lnTo>
                <a:lnTo>
                  <a:pt x="3906" y="1069"/>
                </a:lnTo>
                <a:lnTo>
                  <a:pt x="3907" y="1051"/>
                </a:lnTo>
                <a:lnTo>
                  <a:pt x="3907" y="1032"/>
                </a:lnTo>
                <a:lnTo>
                  <a:pt x="3907" y="1006"/>
                </a:lnTo>
                <a:close/>
                <a:moveTo>
                  <a:pt x="3776" y="897"/>
                </a:moveTo>
                <a:lnTo>
                  <a:pt x="3615" y="883"/>
                </a:lnTo>
                <a:lnTo>
                  <a:pt x="3620" y="864"/>
                </a:lnTo>
                <a:lnTo>
                  <a:pt x="3625" y="846"/>
                </a:lnTo>
                <a:lnTo>
                  <a:pt x="3632" y="829"/>
                </a:lnTo>
                <a:lnTo>
                  <a:pt x="3641" y="813"/>
                </a:lnTo>
                <a:lnTo>
                  <a:pt x="3651" y="799"/>
                </a:lnTo>
                <a:lnTo>
                  <a:pt x="3664" y="785"/>
                </a:lnTo>
                <a:lnTo>
                  <a:pt x="3677" y="773"/>
                </a:lnTo>
                <a:lnTo>
                  <a:pt x="3693" y="761"/>
                </a:lnTo>
                <a:lnTo>
                  <a:pt x="3711" y="751"/>
                </a:lnTo>
                <a:lnTo>
                  <a:pt x="3729" y="743"/>
                </a:lnTo>
                <a:lnTo>
                  <a:pt x="3748" y="735"/>
                </a:lnTo>
                <a:lnTo>
                  <a:pt x="3769" y="729"/>
                </a:lnTo>
                <a:lnTo>
                  <a:pt x="3790" y="725"/>
                </a:lnTo>
                <a:lnTo>
                  <a:pt x="3813" y="722"/>
                </a:lnTo>
                <a:lnTo>
                  <a:pt x="3836" y="720"/>
                </a:lnTo>
                <a:lnTo>
                  <a:pt x="3861" y="719"/>
                </a:lnTo>
                <a:lnTo>
                  <a:pt x="3881" y="719"/>
                </a:lnTo>
                <a:lnTo>
                  <a:pt x="3901" y="721"/>
                </a:lnTo>
                <a:lnTo>
                  <a:pt x="3920" y="723"/>
                </a:lnTo>
                <a:lnTo>
                  <a:pt x="3938" y="726"/>
                </a:lnTo>
                <a:lnTo>
                  <a:pt x="3955" y="730"/>
                </a:lnTo>
                <a:lnTo>
                  <a:pt x="3969" y="734"/>
                </a:lnTo>
                <a:lnTo>
                  <a:pt x="3984" y="741"/>
                </a:lnTo>
                <a:lnTo>
                  <a:pt x="3998" y="747"/>
                </a:lnTo>
                <a:lnTo>
                  <a:pt x="4010" y="754"/>
                </a:lnTo>
                <a:lnTo>
                  <a:pt x="4021" y="762"/>
                </a:lnTo>
                <a:lnTo>
                  <a:pt x="4031" y="770"/>
                </a:lnTo>
                <a:lnTo>
                  <a:pt x="4040" y="778"/>
                </a:lnTo>
                <a:lnTo>
                  <a:pt x="4047" y="786"/>
                </a:lnTo>
                <a:lnTo>
                  <a:pt x="4053" y="795"/>
                </a:lnTo>
                <a:lnTo>
                  <a:pt x="4058" y="804"/>
                </a:lnTo>
                <a:lnTo>
                  <a:pt x="4063" y="813"/>
                </a:lnTo>
                <a:lnTo>
                  <a:pt x="4066" y="824"/>
                </a:lnTo>
                <a:lnTo>
                  <a:pt x="4069" y="834"/>
                </a:lnTo>
                <a:lnTo>
                  <a:pt x="4071" y="848"/>
                </a:lnTo>
                <a:lnTo>
                  <a:pt x="4073" y="861"/>
                </a:lnTo>
                <a:lnTo>
                  <a:pt x="4075" y="892"/>
                </a:lnTo>
                <a:lnTo>
                  <a:pt x="4076" y="930"/>
                </a:lnTo>
                <a:lnTo>
                  <a:pt x="4076" y="1140"/>
                </a:lnTo>
                <a:lnTo>
                  <a:pt x="4077" y="1184"/>
                </a:lnTo>
                <a:lnTo>
                  <a:pt x="4078" y="1218"/>
                </a:lnTo>
                <a:lnTo>
                  <a:pt x="4079" y="1231"/>
                </a:lnTo>
                <a:lnTo>
                  <a:pt x="4082" y="1242"/>
                </a:lnTo>
                <a:lnTo>
                  <a:pt x="4083" y="1251"/>
                </a:lnTo>
                <a:lnTo>
                  <a:pt x="4085" y="1256"/>
                </a:lnTo>
                <a:lnTo>
                  <a:pt x="3929" y="1256"/>
                </a:lnTo>
                <a:lnTo>
                  <a:pt x="3926" y="1244"/>
                </a:lnTo>
                <a:lnTo>
                  <a:pt x="3923" y="1226"/>
                </a:lnTo>
                <a:lnTo>
                  <a:pt x="3922" y="1203"/>
                </a:lnTo>
                <a:lnTo>
                  <a:pt x="3921" y="1176"/>
                </a:lnTo>
                <a:lnTo>
                  <a:pt x="3915" y="1188"/>
                </a:lnTo>
                <a:lnTo>
                  <a:pt x="3906" y="1198"/>
                </a:lnTo>
                <a:lnTo>
                  <a:pt x="3899" y="1208"/>
                </a:lnTo>
                <a:lnTo>
                  <a:pt x="3890" y="1217"/>
                </a:lnTo>
                <a:lnTo>
                  <a:pt x="3881" y="1225"/>
                </a:lnTo>
                <a:lnTo>
                  <a:pt x="3872" y="1232"/>
                </a:lnTo>
                <a:lnTo>
                  <a:pt x="3862" y="1240"/>
                </a:lnTo>
                <a:lnTo>
                  <a:pt x="3852" y="1246"/>
                </a:lnTo>
                <a:lnTo>
                  <a:pt x="3841" y="1251"/>
                </a:lnTo>
                <a:lnTo>
                  <a:pt x="3831" y="1256"/>
                </a:lnTo>
                <a:lnTo>
                  <a:pt x="3819" y="1261"/>
                </a:lnTo>
                <a:lnTo>
                  <a:pt x="3808" y="1264"/>
                </a:lnTo>
                <a:lnTo>
                  <a:pt x="3795" y="1266"/>
                </a:lnTo>
                <a:lnTo>
                  <a:pt x="3782" y="1268"/>
                </a:lnTo>
                <a:lnTo>
                  <a:pt x="3769" y="1269"/>
                </a:lnTo>
                <a:lnTo>
                  <a:pt x="3756" y="1270"/>
                </a:lnTo>
                <a:lnTo>
                  <a:pt x="3738" y="1269"/>
                </a:lnTo>
                <a:lnTo>
                  <a:pt x="3721" y="1267"/>
                </a:lnTo>
                <a:lnTo>
                  <a:pt x="3706" y="1265"/>
                </a:lnTo>
                <a:lnTo>
                  <a:pt x="3691" y="1261"/>
                </a:lnTo>
                <a:lnTo>
                  <a:pt x="3677" y="1255"/>
                </a:lnTo>
                <a:lnTo>
                  <a:pt x="3665" y="1249"/>
                </a:lnTo>
                <a:lnTo>
                  <a:pt x="3652" y="1241"/>
                </a:lnTo>
                <a:lnTo>
                  <a:pt x="3641" y="1232"/>
                </a:lnTo>
                <a:lnTo>
                  <a:pt x="3630" y="1223"/>
                </a:lnTo>
                <a:lnTo>
                  <a:pt x="3621" y="1212"/>
                </a:lnTo>
                <a:lnTo>
                  <a:pt x="3613" y="1200"/>
                </a:lnTo>
                <a:lnTo>
                  <a:pt x="3607" y="1188"/>
                </a:lnTo>
                <a:lnTo>
                  <a:pt x="3603" y="1173"/>
                </a:lnTo>
                <a:lnTo>
                  <a:pt x="3599" y="1159"/>
                </a:lnTo>
                <a:lnTo>
                  <a:pt x="3596" y="1142"/>
                </a:lnTo>
                <a:lnTo>
                  <a:pt x="3596" y="1125"/>
                </a:lnTo>
                <a:lnTo>
                  <a:pt x="3596" y="1115"/>
                </a:lnTo>
                <a:lnTo>
                  <a:pt x="3598" y="1104"/>
                </a:lnTo>
                <a:lnTo>
                  <a:pt x="3599" y="1094"/>
                </a:lnTo>
                <a:lnTo>
                  <a:pt x="3601" y="1084"/>
                </a:lnTo>
                <a:lnTo>
                  <a:pt x="3603" y="1074"/>
                </a:lnTo>
                <a:lnTo>
                  <a:pt x="3606" y="1065"/>
                </a:lnTo>
                <a:lnTo>
                  <a:pt x="3609" y="1056"/>
                </a:lnTo>
                <a:lnTo>
                  <a:pt x="3613" y="1047"/>
                </a:lnTo>
                <a:lnTo>
                  <a:pt x="3617" y="1039"/>
                </a:lnTo>
                <a:lnTo>
                  <a:pt x="3623" y="1031"/>
                </a:lnTo>
                <a:lnTo>
                  <a:pt x="3628" y="1022"/>
                </a:lnTo>
                <a:lnTo>
                  <a:pt x="3634" y="1015"/>
                </a:lnTo>
                <a:lnTo>
                  <a:pt x="3641" y="1008"/>
                </a:lnTo>
                <a:lnTo>
                  <a:pt x="3648" y="1002"/>
                </a:lnTo>
                <a:lnTo>
                  <a:pt x="3655" y="995"/>
                </a:lnTo>
                <a:lnTo>
                  <a:pt x="3664" y="989"/>
                </a:lnTo>
                <a:lnTo>
                  <a:pt x="3672" y="983"/>
                </a:lnTo>
                <a:lnTo>
                  <a:pt x="3682" y="978"/>
                </a:lnTo>
                <a:lnTo>
                  <a:pt x="3692" y="972"/>
                </a:lnTo>
                <a:lnTo>
                  <a:pt x="3704" y="967"/>
                </a:lnTo>
                <a:lnTo>
                  <a:pt x="3716" y="962"/>
                </a:lnTo>
                <a:lnTo>
                  <a:pt x="3729" y="958"/>
                </a:lnTo>
                <a:lnTo>
                  <a:pt x="3743" y="954"/>
                </a:lnTo>
                <a:lnTo>
                  <a:pt x="3758" y="951"/>
                </a:lnTo>
                <a:lnTo>
                  <a:pt x="3790" y="943"/>
                </a:lnTo>
                <a:lnTo>
                  <a:pt x="3825" y="938"/>
                </a:lnTo>
                <a:lnTo>
                  <a:pt x="3865" y="934"/>
                </a:lnTo>
                <a:lnTo>
                  <a:pt x="3907" y="931"/>
                </a:lnTo>
                <a:lnTo>
                  <a:pt x="3907" y="911"/>
                </a:lnTo>
                <a:lnTo>
                  <a:pt x="3907" y="886"/>
                </a:lnTo>
                <a:lnTo>
                  <a:pt x="3904" y="865"/>
                </a:lnTo>
                <a:lnTo>
                  <a:pt x="3903" y="856"/>
                </a:lnTo>
                <a:lnTo>
                  <a:pt x="3901" y="849"/>
                </a:lnTo>
                <a:lnTo>
                  <a:pt x="3898" y="841"/>
                </a:lnTo>
                <a:lnTo>
                  <a:pt x="3896" y="836"/>
                </a:lnTo>
                <a:lnTo>
                  <a:pt x="3892" y="831"/>
                </a:lnTo>
                <a:lnTo>
                  <a:pt x="3887" y="827"/>
                </a:lnTo>
                <a:lnTo>
                  <a:pt x="3883" y="824"/>
                </a:lnTo>
                <a:lnTo>
                  <a:pt x="3877" y="821"/>
                </a:lnTo>
                <a:lnTo>
                  <a:pt x="3871" y="819"/>
                </a:lnTo>
                <a:lnTo>
                  <a:pt x="3863" y="816"/>
                </a:lnTo>
                <a:lnTo>
                  <a:pt x="3856" y="815"/>
                </a:lnTo>
                <a:lnTo>
                  <a:pt x="3847" y="815"/>
                </a:lnTo>
                <a:lnTo>
                  <a:pt x="3839" y="815"/>
                </a:lnTo>
                <a:lnTo>
                  <a:pt x="3832" y="816"/>
                </a:lnTo>
                <a:lnTo>
                  <a:pt x="3825" y="819"/>
                </a:lnTo>
                <a:lnTo>
                  <a:pt x="3819" y="821"/>
                </a:lnTo>
                <a:lnTo>
                  <a:pt x="3813" y="823"/>
                </a:lnTo>
                <a:lnTo>
                  <a:pt x="3806" y="827"/>
                </a:lnTo>
                <a:lnTo>
                  <a:pt x="3801" y="831"/>
                </a:lnTo>
                <a:lnTo>
                  <a:pt x="3797" y="835"/>
                </a:lnTo>
                <a:lnTo>
                  <a:pt x="3793" y="841"/>
                </a:lnTo>
                <a:lnTo>
                  <a:pt x="3789" y="847"/>
                </a:lnTo>
                <a:lnTo>
                  <a:pt x="3785" y="854"/>
                </a:lnTo>
                <a:lnTo>
                  <a:pt x="3782" y="861"/>
                </a:lnTo>
                <a:lnTo>
                  <a:pt x="3780" y="868"/>
                </a:lnTo>
                <a:lnTo>
                  <a:pt x="3778" y="878"/>
                </a:lnTo>
                <a:lnTo>
                  <a:pt x="3777" y="887"/>
                </a:lnTo>
                <a:lnTo>
                  <a:pt x="3776" y="897"/>
                </a:lnTo>
                <a:close/>
                <a:moveTo>
                  <a:pt x="3208" y="1041"/>
                </a:moveTo>
                <a:lnTo>
                  <a:pt x="3208" y="1059"/>
                </a:lnTo>
                <a:lnTo>
                  <a:pt x="3209" y="1074"/>
                </a:lnTo>
                <a:lnTo>
                  <a:pt x="3210" y="1089"/>
                </a:lnTo>
                <a:lnTo>
                  <a:pt x="3211" y="1102"/>
                </a:lnTo>
                <a:lnTo>
                  <a:pt x="3213" y="1114"/>
                </a:lnTo>
                <a:lnTo>
                  <a:pt x="3215" y="1123"/>
                </a:lnTo>
                <a:lnTo>
                  <a:pt x="3218" y="1132"/>
                </a:lnTo>
                <a:lnTo>
                  <a:pt x="3222" y="1138"/>
                </a:lnTo>
                <a:lnTo>
                  <a:pt x="3226" y="1143"/>
                </a:lnTo>
                <a:lnTo>
                  <a:pt x="3230" y="1147"/>
                </a:lnTo>
                <a:lnTo>
                  <a:pt x="3236" y="1151"/>
                </a:lnTo>
                <a:lnTo>
                  <a:pt x="3243" y="1154"/>
                </a:lnTo>
                <a:lnTo>
                  <a:pt x="3250" y="1157"/>
                </a:lnTo>
                <a:lnTo>
                  <a:pt x="3258" y="1159"/>
                </a:lnTo>
                <a:lnTo>
                  <a:pt x="3268" y="1160"/>
                </a:lnTo>
                <a:lnTo>
                  <a:pt x="3278" y="1160"/>
                </a:lnTo>
                <a:lnTo>
                  <a:pt x="3288" y="1160"/>
                </a:lnTo>
                <a:lnTo>
                  <a:pt x="3296" y="1159"/>
                </a:lnTo>
                <a:lnTo>
                  <a:pt x="3304" y="1156"/>
                </a:lnTo>
                <a:lnTo>
                  <a:pt x="3311" y="1152"/>
                </a:lnTo>
                <a:lnTo>
                  <a:pt x="3318" y="1148"/>
                </a:lnTo>
                <a:lnTo>
                  <a:pt x="3323" y="1143"/>
                </a:lnTo>
                <a:lnTo>
                  <a:pt x="3330" y="1137"/>
                </a:lnTo>
                <a:lnTo>
                  <a:pt x="3334" y="1131"/>
                </a:lnTo>
                <a:lnTo>
                  <a:pt x="3338" y="1121"/>
                </a:lnTo>
                <a:lnTo>
                  <a:pt x="3342" y="1110"/>
                </a:lnTo>
                <a:lnTo>
                  <a:pt x="3346" y="1096"/>
                </a:lnTo>
                <a:lnTo>
                  <a:pt x="3348" y="1080"/>
                </a:lnTo>
                <a:lnTo>
                  <a:pt x="3350" y="1060"/>
                </a:lnTo>
                <a:lnTo>
                  <a:pt x="3352" y="1038"/>
                </a:lnTo>
                <a:lnTo>
                  <a:pt x="3353" y="1013"/>
                </a:lnTo>
                <a:lnTo>
                  <a:pt x="3353" y="986"/>
                </a:lnTo>
                <a:lnTo>
                  <a:pt x="3353" y="962"/>
                </a:lnTo>
                <a:lnTo>
                  <a:pt x="3352" y="941"/>
                </a:lnTo>
                <a:lnTo>
                  <a:pt x="3351" y="923"/>
                </a:lnTo>
                <a:lnTo>
                  <a:pt x="3349" y="905"/>
                </a:lnTo>
                <a:lnTo>
                  <a:pt x="3347" y="890"/>
                </a:lnTo>
                <a:lnTo>
                  <a:pt x="3343" y="877"/>
                </a:lnTo>
                <a:lnTo>
                  <a:pt x="3340" y="865"/>
                </a:lnTo>
                <a:lnTo>
                  <a:pt x="3337" y="856"/>
                </a:lnTo>
                <a:lnTo>
                  <a:pt x="3332" y="848"/>
                </a:lnTo>
                <a:lnTo>
                  <a:pt x="3328" y="840"/>
                </a:lnTo>
                <a:lnTo>
                  <a:pt x="3321" y="835"/>
                </a:lnTo>
                <a:lnTo>
                  <a:pt x="3315" y="830"/>
                </a:lnTo>
                <a:lnTo>
                  <a:pt x="3308" y="827"/>
                </a:lnTo>
                <a:lnTo>
                  <a:pt x="3300" y="824"/>
                </a:lnTo>
                <a:lnTo>
                  <a:pt x="3292" y="822"/>
                </a:lnTo>
                <a:lnTo>
                  <a:pt x="3283" y="822"/>
                </a:lnTo>
                <a:lnTo>
                  <a:pt x="3275" y="822"/>
                </a:lnTo>
                <a:lnTo>
                  <a:pt x="3268" y="823"/>
                </a:lnTo>
                <a:lnTo>
                  <a:pt x="3260" y="825"/>
                </a:lnTo>
                <a:lnTo>
                  <a:pt x="3254" y="827"/>
                </a:lnTo>
                <a:lnTo>
                  <a:pt x="3247" y="830"/>
                </a:lnTo>
                <a:lnTo>
                  <a:pt x="3242" y="834"/>
                </a:lnTo>
                <a:lnTo>
                  <a:pt x="3235" y="838"/>
                </a:lnTo>
                <a:lnTo>
                  <a:pt x="3230" y="843"/>
                </a:lnTo>
                <a:lnTo>
                  <a:pt x="3225" y="850"/>
                </a:lnTo>
                <a:lnTo>
                  <a:pt x="3220" y="857"/>
                </a:lnTo>
                <a:lnTo>
                  <a:pt x="3216" y="867"/>
                </a:lnTo>
                <a:lnTo>
                  <a:pt x="3213" y="879"/>
                </a:lnTo>
                <a:lnTo>
                  <a:pt x="3211" y="891"/>
                </a:lnTo>
                <a:lnTo>
                  <a:pt x="3209" y="907"/>
                </a:lnTo>
                <a:lnTo>
                  <a:pt x="3208" y="924"/>
                </a:lnTo>
                <a:lnTo>
                  <a:pt x="3208" y="942"/>
                </a:lnTo>
                <a:lnTo>
                  <a:pt x="3208" y="1041"/>
                </a:lnTo>
                <a:close/>
                <a:moveTo>
                  <a:pt x="3041" y="731"/>
                </a:moveTo>
                <a:lnTo>
                  <a:pt x="3200" y="731"/>
                </a:lnTo>
                <a:lnTo>
                  <a:pt x="3200" y="810"/>
                </a:lnTo>
                <a:lnTo>
                  <a:pt x="3206" y="800"/>
                </a:lnTo>
                <a:lnTo>
                  <a:pt x="3212" y="790"/>
                </a:lnTo>
                <a:lnTo>
                  <a:pt x="3218" y="781"/>
                </a:lnTo>
                <a:lnTo>
                  <a:pt x="3226" y="773"/>
                </a:lnTo>
                <a:lnTo>
                  <a:pt x="3233" y="765"/>
                </a:lnTo>
                <a:lnTo>
                  <a:pt x="3242" y="758"/>
                </a:lnTo>
                <a:lnTo>
                  <a:pt x="3249" y="752"/>
                </a:lnTo>
                <a:lnTo>
                  <a:pt x="3257" y="747"/>
                </a:lnTo>
                <a:lnTo>
                  <a:pt x="3266" y="742"/>
                </a:lnTo>
                <a:lnTo>
                  <a:pt x="3275" y="737"/>
                </a:lnTo>
                <a:lnTo>
                  <a:pt x="3285" y="733"/>
                </a:lnTo>
                <a:lnTo>
                  <a:pt x="3294" y="730"/>
                </a:lnTo>
                <a:lnTo>
                  <a:pt x="3304" y="728"/>
                </a:lnTo>
                <a:lnTo>
                  <a:pt x="3314" y="726"/>
                </a:lnTo>
                <a:lnTo>
                  <a:pt x="3325" y="725"/>
                </a:lnTo>
                <a:lnTo>
                  <a:pt x="3335" y="725"/>
                </a:lnTo>
                <a:lnTo>
                  <a:pt x="3346" y="725"/>
                </a:lnTo>
                <a:lnTo>
                  <a:pt x="3355" y="726"/>
                </a:lnTo>
                <a:lnTo>
                  <a:pt x="3364" y="727"/>
                </a:lnTo>
                <a:lnTo>
                  <a:pt x="3374" y="729"/>
                </a:lnTo>
                <a:lnTo>
                  <a:pt x="3383" y="731"/>
                </a:lnTo>
                <a:lnTo>
                  <a:pt x="3393" y="734"/>
                </a:lnTo>
                <a:lnTo>
                  <a:pt x="3401" y="737"/>
                </a:lnTo>
                <a:lnTo>
                  <a:pt x="3411" y="742"/>
                </a:lnTo>
                <a:lnTo>
                  <a:pt x="3419" y="746"/>
                </a:lnTo>
                <a:lnTo>
                  <a:pt x="3426" y="750"/>
                </a:lnTo>
                <a:lnTo>
                  <a:pt x="3435" y="755"/>
                </a:lnTo>
                <a:lnTo>
                  <a:pt x="3442" y="761"/>
                </a:lnTo>
                <a:lnTo>
                  <a:pt x="3457" y="774"/>
                </a:lnTo>
                <a:lnTo>
                  <a:pt x="3472" y="789"/>
                </a:lnTo>
                <a:lnTo>
                  <a:pt x="3478" y="798"/>
                </a:lnTo>
                <a:lnTo>
                  <a:pt x="3484" y="806"/>
                </a:lnTo>
                <a:lnTo>
                  <a:pt x="3489" y="815"/>
                </a:lnTo>
                <a:lnTo>
                  <a:pt x="3495" y="826"/>
                </a:lnTo>
                <a:lnTo>
                  <a:pt x="3500" y="836"/>
                </a:lnTo>
                <a:lnTo>
                  <a:pt x="3504" y="847"/>
                </a:lnTo>
                <a:lnTo>
                  <a:pt x="3508" y="858"/>
                </a:lnTo>
                <a:lnTo>
                  <a:pt x="3512" y="871"/>
                </a:lnTo>
                <a:lnTo>
                  <a:pt x="3518" y="895"/>
                </a:lnTo>
                <a:lnTo>
                  <a:pt x="3522" y="924"/>
                </a:lnTo>
                <a:lnTo>
                  <a:pt x="3525" y="953"/>
                </a:lnTo>
                <a:lnTo>
                  <a:pt x="3526" y="985"/>
                </a:lnTo>
                <a:lnTo>
                  <a:pt x="3525" y="1018"/>
                </a:lnTo>
                <a:lnTo>
                  <a:pt x="3522" y="1049"/>
                </a:lnTo>
                <a:lnTo>
                  <a:pt x="3518" y="1079"/>
                </a:lnTo>
                <a:lnTo>
                  <a:pt x="3512" y="1106"/>
                </a:lnTo>
                <a:lnTo>
                  <a:pt x="3508" y="1119"/>
                </a:lnTo>
                <a:lnTo>
                  <a:pt x="3505" y="1131"/>
                </a:lnTo>
                <a:lnTo>
                  <a:pt x="3501" y="1143"/>
                </a:lnTo>
                <a:lnTo>
                  <a:pt x="3496" y="1153"/>
                </a:lnTo>
                <a:lnTo>
                  <a:pt x="3490" y="1165"/>
                </a:lnTo>
                <a:lnTo>
                  <a:pt x="3485" y="1174"/>
                </a:lnTo>
                <a:lnTo>
                  <a:pt x="3479" y="1185"/>
                </a:lnTo>
                <a:lnTo>
                  <a:pt x="3473" y="1193"/>
                </a:lnTo>
                <a:lnTo>
                  <a:pt x="3465" y="1201"/>
                </a:lnTo>
                <a:lnTo>
                  <a:pt x="3458" y="1210"/>
                </a:lnTo>
                <a:lnTo>
                  <a:pt x="3451" y="1217"/>
                </a:lnTo>
                <a:lnTo>
                  <a:pt x="3443" y="1224"/>
                </a:lnTo>
                <a:lnTo>
                  <a:pt x="3435" y="1230"/>
                </a:lnTo>
                <a:lnTo>
                  <a:pt x="3426" y="1236"/>
                </a:lnTo>
                <a:lnTo>
                  <a:pt x="3417" y="1241"/>
                </a:lnTo>
                <a:lnTo>
                  <a:pt x="3409" y="1246"/>
                </a:lnTo>
                <a:lnTo>
                  <a:pt x="3399" y="1250"/>
                </a:lnTo>
                <a:lnTo>
                  <a:pt x="3389" y="1253"/>
                </a:lnTo>
                <a:lnTo>
                  <a:pt x="3378" y="1256"/>
                </a:lnTo>
                <a:lnTo>
                  <a:pt x="3368" y="1258"/>
                </a:lnTo>
                <a:lnTo>
                  <a:pt x="3357" y="1261"/>
                </a:lnTo>
                <a:lnTo>
                  <a:pt x="3346" y="1262"/>
                </a:lnTo>
                <a:lnTo>
                  <a:pt x="3334" y="1263"/>
                </a:lnTo>
                <a:lnTo>
                  <a:pt x="3322" y="1263"/>
                </a:lnTo>
                <a:lnTo>
                  <a:pt x="3306" y="1263"/>
                </a:lnTo>
                <a:lnTo>
                  <a:pt x="3289" y="1261"/>
                </a:lnTo>
                <a:lnTo>
                  <a:pt x="3273" y="1256"/>
                </a:lnTo>
                <a:lnTo>
                  <a:pt x="3258" y="1251"/>
                </a:lnTo>
                <a:lnTo>
                  <a:pt x="3245" y="1245"/>
                </a:lnTo>
                <a:lnTo>
                  <a:pt x="3232" y="1237"/>
                </a:lnTo>
                <a:lnTo>
                  <a:pt x="3220" y="1227"/>
                </a:lnTo>
                <a:lnTo>
                  <a:pt x="3208" y="1217"/>
                </a:lnTo>
                <a:lnTo>
                  <a:pt x="3208" y="1434"/>
                </a:lnTo>
                <a:lnTo>
                  <a:pt x="3041" y="1434"/>
                </a:lnTo>
                <a:lnTo>
                  <a:pt x="3041" y="731"/>
                </a:lnTo>
                <a:close/>
                <a:moveTo>
                  <a:pt x="2636" y="1143"/>
                </a:moveTo>
                <a:lnTo>
                  <a:pt x="2737" y="1143"/>
                </a:lnTo>
                <a:lnTo>
                  <a:pt x="2745" y="1143"/>
                </a:lnTo>
                <a:lnTo>
                  <a:pt x="2752" y="1142"/>
                </a:lnTo>
                <a:lnTo>
                  <a:pt x="2760" y="1141"/>
                </a:lnTo>
                <a:lnTo>
                  <a:pt x="2766" y="1139"/>
                </a:lnTo>
                <a:lnTo>
                  <a:pt x="2771" y="1138"/>
                </a:lnTo>
                <a:lnTo>
                  <a:pt x="2776" y="1135"/>
                </a:lnTo>
                <a:lnTo>
                  <a:pt x="2781" y="1132"/>
                </a:lnTo>
                <a:lnTo>
                  <a:pt x="2784" y="1128"/>
                </a:lnTo>
                <a:lnTo>
                  <a:pt x="2786" y="1124"/>
                </a:lnTo>
                <a:lnTo>
                  <a:pt x="2789" y="1120"/>
                </a:lnTo>
                <a:lnTo>
                  <a:pt x="2791" y="1116"/>
                </a:lnTo>
                <a:lnTo>
                  <a:pt x="2792" y="1111"/>
                </a:lnTo>
                <a:lnTo>
                  <a:pt x="2795" y="1098"/>
                </a:lnTo>
                <a:lnTo>
                  <a:pt x="2795" y="1085"/>
                </a:lnTo>
                <a:lnTo>
                  <a:pt x="2794" y="1071"/>
                </a:lnTo>
                <a:lnTo>
                  <a:pt x="2792" y="1059"/>
                </a:lnTo>
                <a:lnTo>
                  <a:pt x="2791" y="1054"/>
                </a:lnTo>
                <a:lnTo>
                  <a:pt x="2788" y="1049"/>
                </a:lnTo>
                <a:lnTo>
                  <a:pt x="2786" y="1044"/>
                </a:lnTo>
                <a:lnTo>
                  <a:pt x="2783" y="1041"/>
                </a:lnTo>
                <a:lnTo>
                  <a:pt x="2780" y="1037"/>
                </a:lnTo>
                <a:lnTo>
                  <a:pt x="2775" y="1034"/>
                </a:lnTo>
                <a:lnTo>
                  <a:pt x="2770" y="1031"/>
                </a:lnTo>
                <a:lnTo>
                  <a:pt x="2765" y="1029"/>
                </a:lnTo>
                <a:lnTo>
                  <a:pt x="2759" y="1028"/>
                </a:lnTo>
                <a:lnTo>
                  <a:pt x="2752" y="1027"/>
                </a:lnTo>
                <a:lnTo>
                  <a:pt x="2745" y="1025"/>
                </a:lnTo>
                <a:lnTo>
                  <a:pt x="2737" y="1025"/>
                </a:lnTo>
                <a:lnTo>
                  <a:pt x="2636" y="1025"/>
                </a:lnTo>
                <a:lnTo>
                  <a:pt x="2636" y="1143"/>
                </a:lnTo>
                <a:close/>
                <a:moveTo>
                  <a:pt x="2636" y="935"/>
                </a:moveTo>
                <a:lnTo>
                  <a:pt x="2728" y="935"/>
                </a:lnTo>
                <a:lnTo>
                  <a:pt x="2742" y="935"/>
                </a:lnTo>
                <a:lnTo>
                  <a:pt x="2754" y="933"/>
                </a:lnTo>
                <a:lnTo>
                  <a:pt x="2764" y="929"/>
                </a:lnTo>
                <a:lnTo>
                  <a:pt x="2771" y="925"/>
                </a:lnTo>
                <a:lnTo>
                  <a:pt x="2774" y="921"/>
                </a:lnTo>
                <a:lnTo>
                  <a:pt x="2777" y="917"/>
                </a:lnTo>
                <a:lnTo>
                  <a:pt x="2780" y="913"/>
                </a:lnTo>
                <a:lnTo>
                  <a:pt x="2782" y="908"/>
                </a:lnTo>
                <a:lnTo>
                  <a:pt x="2784" y="898"/>
                </a:lnTo>
                <a:lnTo>
                  <a:pt x="2785" y="884"/>
                </a:lnTo>
                <a:lnTo>
                  <a:pt x="2784" y="873"/>
                </a:lnTo>
                <a:lnTo>
                  <a:pt x="2783" y="863"/>
                </a:lnTo>
                <a:lnTo>
                  <a:pt x="2780" y="854"/>
                </a:lnTo>
                <a:lnTo>
                  <a:pt x="2776" y="846"/>
                </a:lnTo>
                <a:lnTo>
                  <a:pt x="2773" y="841"/>
                </a:lnTo>
                <a:lnTo>
                  <a:pt x="2770" y="837"/>
                </a:lnTo>
                <a:lnTo>
                  <a:pt x="2766" y="835"/>
                </a:lnTo>
                <a:lnTo>
                  <a:pt x="2760" y="832"/>
                </a:lnTo>
                <a:lnTo>
                  <a:pt x="2753" y="830"/>
                </a:lnTo>
                <a:lnTo>
                  <a:pt x="2746" y="829"/>
                </a:lnTo>
                <a:lnTo>
                  <a:pt x="2738" y="828"/>
                </a:lnTo>
                <a:lnTo>
                  <a:pt x="2728" y="828"/>
                </a:lnTo>
                <a:lnTo>
                  <a:pt x="2636" y="828"/>
                </a:lnTo>
                <a:lnTo>
                  <a:pt x="2636" y="935"/>
                </a:lnTo>
                <a:close/>
                <a:moveTo>
                  <a:pt x="2456" y="1256"/>
                </a:moveTo>
                <a:lnTo>
                  <a:pt x="2456" y="731"/>
                </a:lnTo>
                <a:lnTo>
                  <a:pt x="2763" y="731"/>
                </a:lnTo>
                <a:lnTo>
                  <a:pt x="2789" y="732"/>
                </a:lnTo>
                <a:lnTo>
                  <a:pt x="2813" y="734"/>
                </a:lnTo>
                <a:lnTo>
                  <a:pt x="2835" y="737"/>
                </a:lnTo>
                <a:lnTo>
                  <a:pt x="2853" y="743"/>
                </a:lnTo>
                <a:lnTo>
                  <a:pt x="2861" y="746"/>
                </a:lnTo>
                <a:lnTo>
                  <a:pt x="2870" y="749"/>
                </a:lnTo>
                <a:lnTo>
                  <a:pt x="2877" y="753"/>
                </a:lnTo>
                <a:lnTo>
                  <a:pt x="2886" y="758"/>
                </a:lnTo>
                <a:lnTo>
                  <a:pt x="2893" y="764"/>
                </a:lnTo>
                <a:lnTo>
                  <a:pt x="2900" y="771"/>
                </a:lnTo>
                <a:lnTo>
                  <a:pt x="2907" y="778"/>
                </a:lnTo>
                <a:lnTo>
                  <a:pt x="2914" y="786"/>
                </a:lnTo>
                <a:lnTo>
                  <a:pt x="2920" y="795"/>
                </a:lnTo>
                <a:lnTo>
                  <a:pt x="2926" y="804"/>
                </a:lnTo>
                <a:lnTo>
                  <a:pt x="2930" y="813"/>
                </a:lnTo>
                <a:lnTo>
                  <a:pt x="2934" y="823"/>
                </a:lnTo>
                <a:lnTo>
                  <a:pt x="2937" y="833"/>
                </a:lnTo>
                <a:lnTo>
                  <a:pt x="2939" y="843"/>
                </a:lnTo>
                <a:lnTo>
                  <a:pt x="2940" y="854"/>
                </a:lnTo>
                <a:lnTo>
                  <a:pt x="2940" y="865"/>
                </a:lnTo>
                <a:lnTo>
                  <a:pt x="2940" y="874"/>
                </a:lnTo>
                <a:lnTo>
                  <a:pt x="2939" y="883"/>
                </a:lnTo>
                <a:lnTo>
                  <a:pt x="2938" y="891"/>
                </a:lnTo>
                <a:lnTo>
                  <a:pt x="2936" y="900"/>
                </a:lnTo>
                <a:lnTo>
                  <a:pt x="2933" y="907"/>
                </a:lnTo>
                <a:lnTo>
                  <a:pt x="2930" y="914"/>
                </a:lnTo>
                <a:lnTo>
                  <a:pt x="2926" y="921"/>
                </a:lnTo>
                <a:lnTo>
                  <a:pt x="2921" y="929"/>
                </a:lnTo>
                <a:lnTo>
                  <a:pt x="2916" y="936"/>
                </a:lnTo>
                <a:lnTo>
                  <a:pt x="2911" y="942"/>
                </a:lnTo>
                <a:lnTo>
                  <a:pt x="2905" y="949"/>
                </a:lnTo>
                <a:lnTo>
                  <a:pt x="2898" y="955"/>
                </a:lnTo>
                <a:lnTo>
                  <a:pt x="2891" y="961"/>
                </a:lnTo>
                <a:lnTo>
                  <a:pt x="2882" y="966"/>
                </a:lnTo>
                <a:lnTo>
                  <a:pt x="2874" y="971"/>
                </a:lnTo>
                <a:lnTo>
                  <a:pt x="2865" y="977"/>
                </a:lnTo>
                <a:lnTo>
                  <a:pt x="2876" y="982"/>
                </a:lnTo>
                <a:lnTo>
                  <a:pt x="2887" y="987"/>
                </a:lnTo>
                <a:lnTo>
                  <a:pt x="2896" y="992"/>
                </a:lnTo>
                <a:lnTo>
                  <a:pt x="2906" y="998"/>
                </a:lnTo>
                <a:lnTo>
                  <a:pt x="2914" y="1006"/>
                </a:lnTo>
                <a:lnTo>
                  <a:pt x="2921" y="1012"/>
                </a:lnTo>
                <a:lnTo>
                  <a:pt x="2929" y="1019"/>
                </a:lnTo>
                <a:lnTo>
                  <a:pt x="2935" y="1028"/>
                </a:lnTo>
                <a:lnTo>
                  <a:pt x="2940" y="1036"/>
                </a:lnTo>
                <a:lnTo>
                  <a:pt x="2944" y="1044"/>
                </a:lnTo>
                <a:lnTo>
                  <a:pt x="2949" y="1053"/>
                </a:lnTo>
                <a:lnTo>
                  <a:pt x="2952" y="1062"/>
                </a:lnTo>
                <a:lnTo>
                  <a:pt x="2955" y="1071"/>
                </a:lnTo>
                <a:lnTo>
                  <a:pt x="2956" y="1082"/>
                </a:lnTo>
                <a:lnTo>
                  <a:pt x="2957" y="1092"/>
                </a:lnTo>
                <a:lnTo>
                  <a:pt x="2958" y="1102"/>
                </a:lnTo>
                <a:lnTo>
                  <a:pt x="2957" y="1119"/>
                </a:lnTo>
                <a:lnTo>
                  <a:pt x="2955" y="1135"/>
                </a:lnTo>
                <a:lnTo>
                  <a:pt x="2952" y="1150"/>
                </a:lnTo>
                <a:lnTo>
                  <a:pt x="2947" y="1164"/>
                </a:lnTo>
                <a:lnTo>
                  <a:pt x="2940" y="1177"/>
                </a:lnTo>
                <a:lnTo>
                  <a:pt x="2932" y="1191"/>
                </a:lnTo>
                <a:lnTo>
                  <a:pt x="2922" y="1202"/>
                </a:lnTo>
                <a:lnTo>
                  <a:pt x="2912" y="1214"/>
                </a:lnTo>
                <a:lnTo>
                  <a:pt x="2900" y="1223"/>
                </a:lnTo>
                <a:lnTo>
                  <a:pt x="2888" y="1232"/>
                </a:lnTo>
                <a:lnTo>
                  <a:pt x="2873" y="1240"/>
                </a:lnTo>
                <a:lnTo>
                  <a:pt x="2858" y="1246"/>
                </a:lnTo>
                <a:lnTo>
                  <a:pt x="2842" y="1250"/>
                </a:lnTo>
                <a:lnTo>
                  <a:pt x="2825" y="1254"/>
                </a:lnTo>
                <a:lnTo>
                  <a:pt x="2806" y="1256"/>
                </a:lnTo>
                <a:lnTo>
                  <a:pt x="2786" y="1256"/>
                </a:lnTo>
                <a:lnTo>
                  <a:pt x="2456" y="1256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4680" y="1045658"/>
            <a:ext cx="1524442" cy="1256709"/>
          </a:xfrm>
          <a:prstGeom prst="rect">
            <a:avLst/>
          </a:prstGeom>
        </p:spPr>
      </p:pic>
      <p:sp>
        <p:nvSpPr>
          <p:cNvPr id="23" name="TextBox 22"/>
          <p:cNvSpPr txBox="1"/>
          <p:nvPr userDrawn="1"/>
        </p:nvSpPr>
        <p:spPr>
          <a:xfrm>
            <a:off x="9437666" y="0"/>
            <a:ext cx="1362807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buClr>
                <a:schemeClr val="accent1"/>
              </a:buClr>
            </a:pPr>
            <a:r>
              <a:rPr lang="ru-RU" sz="1100" b="1" dirty="0" err="1" smtClean="0"/>
              <a:t>Кадрировать</a:t>
            </a:r>
            <a:r>
              <a:rPr lang="ru-RU" sz="1100" b="1" dirty="0" smtClean="0"/>
              <a:t> изображение </a:t>
            </a:r>
            <a:r>
              <a:rPr lang="ru-RU" sz="1100" dirty="0" smtClean="0"/>
              <a:t>(увеличить, подвинуть</a:t>
            </a:r>
            <a:r>
              <a:rPr lang="ru-RU" sz="1100" baseline="0" dirty="0" smtClean="0"/>
              <a:t> для оптимального вписывания)</a:t>
            </a:r>
            <a:endParaRPr lang="ru-RU" sz="1100" dirty="0" smtClean="0"/>
          </a:p>
        </p:txBody>
      </p:sp>
      <p:cxnSp>
        <p:nvCxnSpPr>
          <p:cNvPr id="24" name="Прямая соединительная линия 23"/>
          <p:cNvCxnSpPr/>
          <p:nvPr userDrawn="1"/>
        </p:nvCxnSpPr>
        <p:spPr>
          <a:xfrm flipV="1">
            <a:off x="10742261" y="700461"/>
            <a:ext cx="0" cy="6351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 userDrawn="1"/>
        </p:nvCxnSpPr>
        <p:spPr>
          <a:xfrm>
            <a:off x="10355545" y="690936"/>
            <a:ext cx="38671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25"/>
          <p:cNvSpPr/>
          <p:nvPr userDrawn="1"/>
        </p:nvSpPr>
        <p:spPr>
          <a:xfrm>
            <a:off x="10466416" y="1285852"/>
            <a:ext cx="281941" cy="18067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>
            <a:off x="9437666" y="2408500"/>
            <a:ext cx="1742796" cy="3416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1" dirty="0" smtClean="0">
                <a:solidFill>
                  <a:schemeClr val="tx1"/>
                </a:solidFill>
              </a:rPr>
              <a:t>Два варианта замены изображения </a:t>
            </a:r>
            <a:br>
              <a:rPr lang="ru-RU" sz="1100" b="1" dirty="0" smtClean="0">
                <a:solidFill>
                  <a:schemeClr val="tx1"/>
                </a:solidFill>
              </a:rPr>
            </a:br>
            <a:r>
              <a:rPr lang="ru-RU" sz="1100" b="1" dirty="0" smtClean="0">
                <a:solidFill>
                  <a:schemeClr val="tx1"/>
                </a:solidFill>
              </a:rPr>
              <a:t>в заполнителе</a:t>
            </a: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0" dirty="0" smtClean="0">
                <a:solidFill>
                  <a:schemeClr val="tx1"/>
                </a:solidFill>
              </a:rPr>
              <a:t>1.Удаляем </a:t>
            </a:r>
            <a:r>
              <a:rPr lang="ru-RU" sz="1100" b="0" baseline="0" dirty="0" smtClean="0">
                <a:solidFill>
                  <a:schemeClr val="tx1"/>
                </a:solidFill>
              </a:rPr>
              <a:t>ненужное,</a:t>
            </a:r>
            <a:r>
              <a:rPr lang="en-US" sz="1100" b="0" baseline="0" dirty="0" smtClean="0">
                <a:solidFill>
                  <a:schemeClr val="tx1"/>
                </a:solidFill>
              </a:rPr>
              <a:t/>
            </a:r>
            <a:br>
              <a:rPr lang="en-US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нажав на значок, выбираем новое.</a:t>
            </a: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0" baseline="0" dirty="0" smtClean="0">
                <a:solidFill>
                  <a:schemeClr val="tx1"/>
                </a:solidFill>
              </a:rPr>
              <a:t>2. </a:t>
            </a:r>
            <a:r>
              <a:rPr lang="ru-RU" sz="1100" b="0" dirty="0" smtClean="0">
                <a:solidFill>
                  <a:schemeClr val="tx1"/>
                </a:solidFill>
              </a:rPr>
              <a:t>Удаляем </a:t>
            </a:r>
            <a:r>
              <a:rPr lang="ru-RU" sz="1100" b="0" baseline="0" dirty="0" smtClean="0">
                <a:solidFill>
                  <a:schemeClr val="tx1"/>
                </a:solidFill>
              </a:rPr>
              <a:t>ненужное, копируем новое фото </a:t>
            </a:r>
            <a:r>
              <a:rPr lang="en-US" sz="1100" b="0" baseline="0" dirty="0" smtClean="0">
                <a:solidFill>
                  <a:schemeClr val="tx1"/>
                </a:solidFill>
              </a:rPr>
              <a:t> (</a:t>
            </a:r>
            <a:r>
              <a:rPr lang="en-US" sz="1100" b="0" baseline="0" dirty="0" err="1" smtClean="0">
                <a:solidFill>
                  <a:schemeClr val="tx1"/>
                </a:solidFill>
              </a:rPr>
              <a:t>Ctrl+C</a:t>
            </a:r>
            <a:r>
              <a:rPr lang="en-US" sz="1100" b="0" baseline="0" dirty="0" smtClean="0">
                <a:solidFill>
                  <a:schemeClr val="tx1"/>
                </a:solidFill>
              </a:rPr>
              <a:t>)</a:t>
            </a:r>
            <a:r>
              <a:rPr lang="ru-RU" sz="1100" b="0" baseline="0" dirty="0" smtClean="0">
                <a:solidFill>
                  <a:schemeClr val="tx1"/>
                </a:solidFill>
              </a:rPr>
              <a:t>, нажимаем на край области заполнителя </a:t>
            </a:r>
            <a:r>
              <a:rPr lang="en-US" sz="1100" b="0" baseline="0" dirty="0" smtClean="0">
                <a:solidFill>
                  <a:schemeClr val="tx1"/>
                </a:solidFill>
              </a:rPr>
              <a:t/>
            </a:r>
            <a:br>
              <a:rPr lang="en-US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и вставляем изображение </a:t>
            </a:r>
            <a:r>
              <a:rPr lang="en-US" sz="1100" b="0" baseline="0" dirty="0" smtClean="0">
                <a:solidFill>
                  <a:schemeClr val="tx1"/>
                </a:solidFill>
              </a:rPr>
              <a:t>(</a:t>
            </a:r>
            <a:r>
              <a:rPr lang="en-US" sz="1100" b="0" baseline="0" dirty="0" err="1" smtClean="0">
                <a:solidFill>
                  <a:schemeClr val="tx1"/>
                </a:solidFill>
              </a:rPr>
              <a:t>Ctrl+V</a:t>
            </a:r>
            <a:r>
              <a:rPr lang="en-US" sz="1100" b="0" baseline="0" dirty="0" smtClean="0">
                <a:solidFill>
                  <a:schemeClr val="tx1"/>
                </a:solidFill>
              </a:rPr>
              <a:t>)</a:t>
            </a:r>
            <a:r>
              <a:rPr lang="ru-RU" sz="1100" b="0" baseline="0" dirty="0" smtClean="0">
                <a:solidFill>
                  <a:schemeClr val="tx1"/>
                </a:solidFill>
              </a:rPr>
              <a:t>.</a:t>
            </a:r>
            <a:endParaRPr lang="en-US" sz="1100" b="0" baseline="0" dirty="0" smtClean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en-US" sz="2000" b="1" baseline="0" dirty="0" smtClean="0">
                <a:solidFill>
                  <a:schemeClr val="tx1"/>
                </a:solidFill>
              </a:rPr>
              <a:t>! </a:t>
            </a:r>
            <a:r>
              <a:rPr lang="ru-RU" sz="1100" b="0" baseline="0" dirty="0" smtClean="0">
                <a:solidFill>
                  <a:schemeClr val="tx1"/>
                </a:solidFill>
              </a:rPr>
              <a:t>Если фото </a:t>
            </a:r>
            <a:br>
              <a:rPr lang="ru-RU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не обрезается </a:t>
            </a:r>
            <a:br>
              <a:rPr lang="ru-RU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по форме заполнителя, нажмите кнопку «Восстановить/Сбросить» на вкладке «Главная»</a:t>
            </a:r>
            <a:endParaRPr lang="ru-RU" sz="1100" b="1" dirty="0" smtClean="0"/>
          </a:p>
        </p:txBody>
      </p:sp>
      <p:pic>
        <p:nvPicPr>
          <p:cNvPr id="28" name="Рисунок 27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57" t="51784" r="59151" b="23605"/>
          <a:stretch/>
        </p:blipFill>
        <p:spPr>
          <a:xfrm>
            <a:off x="10624904" y="3244047"/>
            <a:ext cx="351137" cy="335331"/>
          </a:xfrm>
          <a:prstGeom prst="rect">
            <a:avLst/>
          </a:prstGeom>
        </p:spPr>
      </p:pic>
      <p:sp>
        <p:nvSpPr>
          <p:cNvPr id="30" name="TextBox 29"/>
          <p:cNvSpPr txBox="1"/>
          <p:nvPr userDrawn="1"/>
        </p:nvSpPr>
        <p:spPr>
          <a:xfrm>
            <a:off x="-1860688" y="4300857"/>
            <a:ext cx="1742796" cy="24314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1" dirty="0" smtClean="0"/>
              <a:t>Для</a:t>
            </a:r>
            <a:r>
              <a:rPr lang="ru-RU" sz="1100" b="1" baseline="0" dirty="0" smtClean="0"/>
              <a:t> расположения водяного знака</a:t>
            </a:r>
            <a:r>
              <a:rPr lang="ru-RU" sz="1100" b="1" dirty="0" smtClean="0"/>
              <a:t> </a:t>
            </a:r>
            <a:r>
              <a:rPr lang="ru-RU" sz="900" b="1" dirty="0" smtClean="0"/>
              <a:t>(</a:t>
            </a:r>
            <a:r>
              <a:rPr lang="ru-RU" sz="900" b="1" baseline="0" dirty="0" smtClean="0"/>
              <a:t>логотипа, который лежит просто на слайде поверх заполнителя под фото) </a:t>
            </a:r>
            <a:r>
              <a:rPr lang="ru-RU" sz="1100" b="1" baseline="0" dirty="0" smtClean="0"/>
              <a:t/>
            </a:r>
            <a:br>
              <a:rPr lang="ru-RU" sz="1100" b="1" baseline="0" dirty="0" smtClean="0"/>
            </a:br>
            <a:r>
              <a:rPr lang="ru-RU" sz="1100" b="1" baseline="0" dirty="0" smtClean="0">
                <a:solidFill>
                  <a:schemeClr val="accent1"/>
                </a:solidFill>
              </a:rPr>
              <a:t>поверх рисунка</a:t>
            </a: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0" baseline="0" dirty="0" smtClean="0">
                <a:solidFill>
                  <a:schemeClr val="tx1"/>
                </a:solidFill>
              </a:rPr>
              <a:t>После вставки Изображения </a:t>
            </a:r>
            <a:r>
              <a:rPr lang="ru-RU" sz="11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→ </a:t>
            </a:r>
            <a:r>
              <a:rPr lang="ru-RU" sz="11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равая кнопка мыши </a:t>
            </a:r>
            <a:br>
              <a:rPr lang="ru-RU" sz="11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</a:br>
            <a:r>
              <a:rPr lang="ru-RU" sz="11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 изображению</a:t>
            </a:r>
            <a:r>
              <a:rPr lang="ru-RU" sz="11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→ Выбрать </a:t>
            </a:r>
            <a:r>
              <a:rPr lang="ru-RU" sz="11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«На задний план». </a:t>
            </a:r>
            <a:r>
              <a:rPr lang="ru-RU" sz="11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Логотип выйдет на первый план</a:t>
            </a:r>
            <a:endParaRPr lang="ru-RU" sz="1100" b="0" baseline="0" dirty="0" smtClean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  <a:buClr>
                <a:schemeClr val="accent1"/>
              </a:buClr>
            </a:pPr>
            <a:endParaRPr lang="ru-RU" sz="1100" b="0" dirty="0" smtClean="0"/>
          </a:p>
        </p:txBody>
      </p:sp>
      <p:sp>
        <p:nvSpPr>
          <p:cNvPr id="18" name="Прямоугольник 17"/>
          <p:cNvSpPr/>
          <p:nvPr userDrawn="1"/>
        </p:nvSpPr>
        <p:spPr>
          <a:xfrm>
            <a:off x="142612" y="6475412"/>
            <a:ext cx="2869035" cy="382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0"/>
          </p:nvPr>
        </p:nvSpPr>
        <p:spPr>
          <a:xfrm>
            <a:off x="0" y="3088821"/>
            <a:ext cx="7898073" cy="3769180"/>
          </a:xfrm>
          <a:custGeom>
            <a:avLst/>
            <a:gdLst>
              <a:gd name="connsiteX0" fmla="*/ 0 w 8226918"/>
              <a:gd name="connsiteY0" fmla="*/ 0 h 3926114"/>
              <a:gd name="connsiteX1" fmla="*/ 4488605 w 8226918"/>
              <a:gd name="connsiteY1" fmla="*/ 0 h 3926114"/>
              <a:gd name="connsiteX2" fmla="*/ 8226918 w 8226918"/>
              <a:gd name="connsiteY2" fmla="*/ 3911746 h 3926114"/>
              <a:gd name="connsiteX3" fmla="*/ 8226225 w 8226918"/>
              <a:gd name="connsiteY3" fmla="*/ 3926114 h 3926114"/>
              <a:gd name="connsiteX4" fmla="*/ 0 w 8226918"/>
              <a:gd name="connsiteY4" fmla="*/ 3926114 h 3926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26918" h="3926114">
                <a:moveTo>
                  <a:pt x="0" y="0"/>
                </a:moveTo>
                <a:lnTo>
                  <a:pt x="4488605" y="0"/>
                </a:lnTo>
                <a:cubicBezTo>
                  <a:pt x="6553219" y="0"/>
                  <a:pt x="8226918" y="1751348"/>
                  <a:pt x="8226918" y="3911746"/>
                </a:cubicBezTo>
                <a:lnTo>
                  <a:pt x="8226225" y="3926114"/>
                </a:lnTo>
                <a:lnTo>
                  <a:pt x="0" y="3926114"/>
                </a:lnTo>
                <a:close/>
              </a:path>
            </a:pathLst>
          </a:custGeom>
          <a:ln>
            <a:noFill/>
          </a:ln>
        </p:spPr>
        <p:txBody>
          <a:bodyPr wrap="square">
            <a:no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47605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3" orient="horz" pos="178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изображение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ъект и изображение слева</a:t>
            </a:r>
            <a:endParaRPr lang="ru-RU" dirty="0"/>
          </a:p>
        </p:txBody>
      </p:sp>
      <p:sp>
        <p:nvSpPr>
          <p:cNvPr id="276" name="Рисунок 275"/>
          <p:cNvSpPr>
            <a:spLocks noGrp="1"/>
          </p:cNvSpPr>
          <p:nvPr>
            <p:ph type="pic" sz="quarter" idx="14"/>
          </p:nvPr>
        </p:nvSpPr>
        <p:spPr>
          <a:xfrm>
            <a:off x="0" y="1389544"/>
            <a:ext cx="4422636" cy="5085870"/>
          </a:xfrm>
          <a:custGeom>
            <a:avLst/>
            <a:gdLst>
              <a:gd name="connsiteX0" fmla="*/ 0 w 4422636"/>
              <a:gd name="connsiteY0" fmla="*/ 0 h 5085870"/>
              <a:gd name="connsiteX1" fmla="*/ 1730458 w 4422636"/>
              <a:gd name="connsiteY1" fmla="*/ 0 h 5085870"/>
              <a:gd name="connsiteX2" fmla="*/ 4422636 w 4422636"/>
              <a:gd name="connsiteY2" fmla="*/ 2542936 h 5085870"/>
              <a:gd name="connsiteX3" fmla="*/ 1730458 w 4422636"/>
              <a:gd name="connsiteY3" fmla="*/ 5085870 h 5085870"/>
              <a:gd name="connsiteX4" fmla="*/ 361127 w 4422636"/>
              <a:gd name="connsiteY4" fmla="*/ 5085870 h 5085870"/>
              <a:gd name="connsiteX5" fmla="*/ 0 w 4422636"/>
              <a:gd name="connsiteY5" fmla="*/ 5085870 h 5085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2636" h="5085870">
                <a:moveTo>
                  <a:pt x="0" y="0"/>
                </a:moveTo>
                <a:lnTo>
                  <a:pt x="1730458" y="0"/>
                </a:lnTo>
                <a:cubicBezTo>
                  <a:pt x="3217308" y="0"/>
                  <a:pt x="4422636" y="1138511"/>
                  <a:pt x="4422636" y="2542936"/>
                </a:cubicBezTo>
                <a:cubicBezTo>
                  <a:pt x="4422636" y="3947360"/>
                  <a:pt x="3217308" y="5085870"/>
                  <a:pt x="1730458" y="5085870"/>
                </a:cubicBezTo>
                <a:lnTo>
                  <a:pt x="361127" y="5085870"/>
                </a:lnTo>
                <a:lnTo>
                  <a:pt x="0" y="5085870"/>
                </a:lnTo>
                <a:close/>
              </a:path>
            </a:pathLst>
          </a:custGeom>
          <a:ln>
            <a:noFill/>
          </a:ln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5"/>
          </p:nvPr>
        </p:nvSpPr>
        <p:spPr>
          <a:xfrm>
            <a:off x="4932827" y="1376363"/>
            <a:ext cx="3960348" cy="509905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F41190B-96E3-4B62-87B2-9FF793F6223E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02923" y="461713"/>
            <a:ext cx="1440847" cy="1080000"/>
          </a:xfrm>
          <a:prstGeom prst="rect">
            <a:avLst/>
          </a:prstGeom>
          <a:ln>
            <a:solidFill>
              <a:schemeClr val="accent3"/>
            </a:solidFill>
          </a:ln>
        </p:spPr>
      </p:pic>
      <p:sp>
        <p:nvSpPr>
          <p:cNvPr id="8" name="TextBox 7"/>
          <p:cNvSpPr txBox="1"/>
          <p:nvPr userDrawn="1"/>
        </p:nvSpPr>
        <p:spPr>
          <a:xfrm>
            <a:off x="-1802923" y="28041"/>
            <a:ext cx="144084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Clr>
                <a:schemeClr val="accent1"/>
              </a:buClr>
            </a:pPr>
            <a:r>
              <a:rPr lang="ru-RU" sz="1100" b="1" dirty="0" smtClean="0"/>
              <a:t>Пример наполнения слайда</a:t>
            </a:r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51" r="38300"/>
          <a:stretch/>
        </p:blipFill>
        <p:spPr>
          <a:xfrm>
            <a:off x="-1414394" y="3527257"/>
            <a:ext cx="1078790" cy="1933575"/>
          </a:xfrm>
          <a:prstGeom prst="rect">
            <a:avLst/>
          </a:prstGeom>
        </p:spPr>
      </p:pic>
      <p:sp>
        <p:nvSpPr>
          <p:cNvPr id="18" name="Прямоугольник 17"/>
          <p:cNvSpPr/>
          <p:nvPr userDrawn="1"/>
        </p:nvSpPr>
        <p:spPr>
          <a:xfrm>
            <a:off x="-1107129" y="3698708"/>
            <a:ext cx="581025" cy="1905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cxnSp>
        <p:nvCxnSpPr>
          <p:cNvPr id="24" name="Прямая соединительная линия 23"/>
          <p:cNvCxnSpPr/>
          <p:nvPr userDrawn="1"/>
        </p:nvCxnSpPr>
        <p:spPr>
          <a:xfrm flipV="1">
            <a:off x="-983304" y="3391853"/>
            <a:ext cx="0" cy="3068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 userDrawn="1"/>
        </p:nvSpPr>
        <p:spPr>
          <a:xfrm>
            <a:off x="-1698411" y="1806509"/>
            <a:ext cx="1362807" cy="15594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Clr>
                <a:schemeClr val="accent1"/>
              </a:buClr>
            </a:pPr>
            <a:r>
              <a:rPr lang="ru-RU" sz="1100" b="1" dirty="0" smtClean="0"/>
              <a:t>Выбираем макет:</a:t>
            </a:r>
            <a:r>
              <a:rPr lang="ru-RU" sz="1100" b="1" baseline="0" dirty="0" smtClean="0"/>
              <a:t> </a:t>
            </a:r>
          </a:p>
          <a:p>
            <a:pPr>
              <a:spcBef>
                <a:spcPts val="800"/>
              </a:spcBef>
              <a:buClr>
                <a:schemeClr val="accent1"/>
              </a:buClr>
            </a:pPr>
            <a:r>
              <a:rPr lang="ru-RU" sz="1100" baseline="0" dirty="0" smtClean="0"/>
              <a:t>1. Кликаем </a:t>
            </a:r>
            <a:br>
              <a:rPr lang="ru-RU" sz="1100" baseline="0" dirty="0" smtClean="0"/>
            </a:br>
            <a:r>
              <a:rPr lang="ru-RU" sz="1100" baseline="0" dirty="0" smtClean="0"/>
              <a:t>на вкладке «Макет» на панели инструментов.</a:t>
            </a:r>
          </a:p>
          <a:p>
            <a:pPr>
              <a:spcBef>
                <a:spcPts val="800"/>
              </a:spcBef>
              <a:buClr>
                <a:schemeClr val="accent1"/>
              </a:buClr>
            </a:pPr>
            <a:r>
              <a:rPr lang="ru-RU" sz="1100" baseline="0" dirty="0" smtClean="0"/>
              <a:t>2. Выбираем нужный макет, исходя </a:t>
            </a:r>
            <a:br>
              <a:rPr lang="ru-RU" sz="1100" baseline="0" dirty="0" smtClean="0"/>
            </a:br>
            <a:r>
              <a:rPr lang="ru-RU" sz="1100" baseline="0" dirty="0" smtClean="0"/>
              <a:t>из контента.</a:t>
            </a:r>
            <a:endParaRPr lang="ru-RU" sz="1100" dirty="0" smtClean="0"/>
          </a:p>
        </p:txBody>
      </p:sp>
      <p:pic>
        <p:nvPicPr>
          <p:cNvPr id="21" name="Рисунок 2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4680" y="1045658"/>
            <a:ext cx="1524442" cy="1256709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9437666" y="0"/>
            <a:ext cx="1362807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buClr>
                <a:schemeClr val="accent1"/>
              </a:buClr>
            </a:pPr>
            <a:r>
              <a:rPr lang="ru-RU" sz="1100" b="1" dirty="0" err="1" smtClean="0"/>
              <a:t>Кадрировать</a:t>
            </a:r>
            <a:r>
              <a:rPr lang="ru-RU" sz="1100" b="1" dirty="0" smtClean="0"/>
              <a:t> изображение </a:t>
            </a:r>
            <a:r>
              <a:rPr lang="ru-RU" sz="1100" dirty="0" smtClean="0"/>
              <a:t>(увеличить, подвинуть</a:t>
            </a:r>
            <a:r>
              <a:rPr lang="ru-RU" sz="1100" baseline="0" dirty="0" smtClean="0"/>
              <a:t> для оптимального вписывания)</a:t>
            </a:r>
            <a:endParaRPr lang="ru-RU" sz="1100" dirty="0" smtClean="0"/>
          </a:p>
        </p:txBody>
      </p:sp>
      <p:cxnSp>
        <p:nvCxnSpPr>
          <p:cNvPr id="23" name="Прямая соединительная линия 22"/>
          <p:cNvCxnSpPr/>
          <p:nvPr userDrawn="1"/>
        </p:nvCxnSpPr>
        <p:spPr>
          <a:xfrm flipV="1">
            <a:off x="10742261" y="700461"/>
            <a:ext cx="0" cy="6351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 userDrawn="1"/>
        </p:nvCxnSpPr>
        <p:spPr>
          <a:xfrm>
            <a:off x="10355545" y="690936"/>
            <a:ext cx="38671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/>
          <p:cNvSpPr/>
          <p:nvPr userDrawn="1"/>
        </p:nvSpPr>
        <p:spPr>
          <a:xfrm>
            <a:off x="10466416" y="1285852"/>
            <a:ext cx="281941" cy="18067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33" name="TextBox 32"/>
          <p:cNvSpPr txBox="1"/>
          <p:nvPr userDrawn="1"/>
        </p:nvSpPr>
        <p:spPr>
          <a:xfrm>
            <a:off x="9437666" y="2408500"/>
            <a:ext cx="1742796" cy="3416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1" dirty="0" smtClean="0">
                <a:solidFill>
                  <a:schemeClr val="tx1"/>
                </a:solidFill>
              </a:rPr>
              <a:t>Два варианта замены изображения </a:t>
            </a:r>
            <a:br>
              <a:rPr lang="ru-RU" sz="1100" b="1" dirty="0" smtClean="0">
                <a:solidFill>
                  <a:schemeClr val="tx1"/>
                </a:solidFill>
              </a:rPr>
            </a:br>
            <a:r>
              <a:rPr lang="ru-RU" sz="1100" b="1" dirty="0" smtClean="0">
                <a:solidFill>
                  <a:schemeClr val="tx1"/>
                </a:solidFill>
              </a:rPr>
              <a:t>в заполнителе</a:t>
            </a: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0" dirty="0" smtClean="0">
                <a:solidFill>
                  <a:schemeClr val="tx1"/>
                </a:solidFill>
              </a:rPr>
              <a:t>1.Удаляем </a:t>
            </a:r>
            <a:r>
              <a:rPr lang="ru-RU" sz="1100" b="0" baseline="0" dirty="0" smtClean="0">
                <a:solidFill>
                  <a:schemeClr val="tx1"/>
                </a:solidFill>
              </a:rPr>
              <a:t>ненужное,</a:t>
            </a:r>
            <a:r>
              <a:rPr lang="en-US" sz="1100" b="0" baseline="0" dirty="0" smtClean="0">
                <a:solidFill>
                  <a:schemeClr val="tx1"/>
                </a:solidFill>
              </a:rPr>
              <a:t/>
            </a:r>
            <a:br>
              <a:rPr lang="en-US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нажав на значок, выбираем новое.</a:t>
            </a: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0" baseline="0" dirty="0" smtClean="0">
                <a:solidFill>
                  <a:schemeClr val="tx1"/>
                </a:solidFill>
              </a:rPr>
              <a:t>2. </a:t>
            </a:r>
            <a:r>
              <a:rPr lang="ru-RU" sz="1100" b="0" dirty="0" smtClean="0">
                <a:solidFill>
                  <a:schemeClr val="tx1"/>
                </a:solidFill>
              </a:rPr>
              <a:t>Удаляем </a:t>
            </a:r>
            <a:r>
              <a:rPr lang="ru-RU" sz="1100" b="0" baseline="0" dirty="0" smtClean="0">
                <a:solidFill>
                  <a:schemeClr val="tx1"/>
                </a:solidFill>
              </a:rPr>
              <a:t>ненужное, копируем новое фото </a:t>
            </a:r>
            <a:r>
              <a:rPr lang="en-US" sz="1100" b="0" baseline="0" dirty="0" smtClean="0">
                <a:solidFill>
                  <a:schemeClr val="tx1"/>
                </a:solidFill>
              </a:rPr>
              <a:t> (</a:t>
            </a:r>
            <a:r>
              <a:rPr lang="en-US" sz="1100" b="0" baseline="0" dirty="0" err="1" smtClean="0">
                <a:solidFill>
                  <a:schemeClr val="tx1"/>
                </a:solidFill>
              </a:rPr>
              <a:t>Ctrl+C</a:t>
            </a:r>
            <a:r>
              <a:rPr lang="en-US" sz="1100" b="0" baseline="0" dirty="0" smtClean="0">
                <a:solidFill>
                  <a:schemeClr val="tx1"/>
                </a:solidFill>
              </a:rPr>
              <a:t>)</a:t>
            </a:r>
            <a:r>
              <a:rPr lang="ru-RU" sz="1100" b="0" baseline="0" dirty="0" smtClean="0">
                <a:solidFill>
                  <a:schemeClr val="tx1"/>
                </a:solidFill>
              </a:rPr>
              <a:t>, нажимаем на край области заполнителя </a:t>
            </a:r>
            <a:r>
              <a:rPr lang="en-US" sz="1100" b="0" baseline="0" dirty="0" smtClean="0">
                <a:solidFill>
                  <a:schemeClr val="tx1"/>
                </a:solidFill>
              </a:rPr>
              <a:t/>
            </a:r>
            <a:br>
              <a:rPr lang="en-US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и вставляем изображение </a:t>
            </a:r>
            <a:r>
              <a:rPr lang="en-US" sz="1100" b="0" baseline="0" dirty="0" smtClean="0">
                <a:solidFill>
                  <a:schemeClr val="tx1"/>
                </a:solidFill>
              </a:rPr>
              <a:t>(</a:t>
            </a:r>
            <a:r>
              <a:rPr lang="en-US" sz="1100" b="0" baseline="0" dirty="0" err="1" smtClean="0">
                <a:solidFill>
                  <a:schemeClr val="tx1"/>
                </a:solidFill>
              </a:rPr>
              <a:t>Ctrl+V</a:t>
            </a:r>
            <a:r>
              <a:rPr lang="en-US" sz="1100" b="0" baseline="0" dirty="0" smtClean="0">
                <a:solidFill>
                  <a:schemeClr val="tx1"/>
                </a:solidFill>
              </a:rPr>
              <a:t>)</a:t>
            </a:r>
            <a:r>
              <a:rPr lang="ru-RU" sz="1100" b="0" baseline="0" dirty="0" smtClean="0">
                <a:solidFill>
                  <a:schemeClr val="tx1"/>
                </a:solidFill>
              </a:rPr>
              <a:t>.</a:t>
            </a:r>
            <a:endParaRPr lang="en-US" sz="1100" b="0" baseline="0" dirty="0" smtClean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en-US" sz="2000" b="1" baseline="0" dirty="0" smtClean="0">
                <a:solidFill>
                  <a:schemeClr val="tx1"/>
                </a:solidFill>
              </a:rPr>
              <a:t>! </a:t>
            </a:r>
            <a:r>
              <a:rPr lang="ru-RU" sz="1100" b="0" baseline="0" dirty="0" smtClean="0">
                <a:solidFill>
                  <a:schemeClr val="tx1"/>
                </a:solidFill>
              </a:rPr>
              <a:t>Если фото </a:t>
            </a:r>
            <a:br>
              <a:rPr lang="ru-RU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не обрезается </a:t>
            </a:r>
            <a:br>
              <a:rPr lang="ru-RU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по форме заполнителя, нажмите кнопку «Восстановить/Сбросить» на вкладке «Главная»</a:t>
            </a:r>
            <a:endParaRPr lang="ru-RU" sz="1100" b="1" dirty="0" smtClean="0"/>
          </a:p>
        </p:txBody>
      </p:sp>
      <p:pic>
        <p:nvPicPr>
          <p:cNvPr id="34" name="Рисунок 33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57" t="51784" r="59151" b="23605"/>
          <a:stretch/>
        </p:blipFill>
        <p:spPr>
          <a:xfrm>
            <a:off x="10624904" y="3244047"/>
            <a:ext cx="351137" cy="33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8519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0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изображение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ъект и изображение справа</a:t>
            </a:r>
            <a:endParaRPr lang="ru-RU" dirty="0"/>
          </a:p>
        </p:txBody>
      </p:sp>
      <p:sp>
        <p:nvSpPr>
          <p:cNvPr id="135" name="Объект 3"/>
          <p:cNvSpPr>
            <a:spLocks noGrp="1"/>
          </p:cNvSpPr>
          <p:nvPr>
            <p:ph sz="quarter" idx="15"/>
          </p:nvPr>
        </p:nvSpPr>
        <p:spPr>
          <a:xfrm>
            <a:off x="261743" y="1376363"/>
            <a:ext cx="3960348" cy="509905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F41190B-96E3-4B62-87B2-9FF793F6223E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87835" y="461713"/>
            <a:ext cx="1440847" cy="1080000"/>
          </a:xfrm>
          <a:prstGeom prst="rect">
            <a:avLst/>
          </a:prstGeom>
          <a:ln>
            <a:solidFill>
              <a:schemeClr val="accent3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-1784409" y="28041"/>
            <a:ext cx="1517653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Clr>
                <a:schemeClr val="accent1"/>
              </a:buClr>
            </a:pPr>
            <a:r>
              <a:rPr lang="ru-RU" sz="1100" b="1" dirty="0" smtClean="0"/>
              <a:t>Пример наполнения слайда</a:t>
            </a:r>
          </a:p>
        </p:txBody>
      </p:sp>
      <p:sp>
        <p:nvSpPr>
          <p:cNvPr id="19" name="Рисунок 18"/>
          <p:cNvSpPr>
            <a:spLocks noGrp="1"/>
          </p:cNvSpPr>
          <p:nvPr>
            <p:ph type="pic" sz="quarter" idx="18"/>
          </p:nvPr>
        </p:nvSpPr>
        <p:spPr>
          <a:xfrm>
            <a:off x="4711314" y="1376363"/>
            <a:ext cx="4422707" cy="5089320"/>
          </a:xfrm>
          <a:custGeom>
            <a:avLst/>
            <a:gdLst>
              <a:gd name="connsiteX0" fmla="*/ 2668519 w 4422707"/>
              <a:gd name="connsiteY0" fmla="*/ 0 h 5089320"/>
              <a:gd name="connsiteX1" fmla="*/ 4422707 w 4422707"/>
              <a:gd name="connsiteY1" fmla="*/ 0 h 5089320"/>
              <a:gd name="connsiteX2" fmla="*/ 4422707 w 4422707"/>
              <a:gd name="connsiteY2" fmla="*/ 586271 h 5089320"/>
              <a:gd name="connsiteX3" fmla="*/ 4422707 w 4422707"/>
              <a:gd name="connsiteY3" fmla="*/ 4505569 h 5089320"/>
              <a:gd name="connsiteX4" fmla="*/ 4422707 w 4422707"/>
              <a:gd name="connsiteY4" fmla="*/ 5086350 h 5089320"/>
              <a:gd name="connsiteX5" fmla="*/ 2763561 w 4422707"/>
              <a:gd name="connsiteY5" fmla="*/ 5086350 h 5089320"/>
              <a:gd name="connsiteX6" fmla="*/ 2701097 w 4422707"/>
              <a:gd name="connsiteY6" fmla="*/ 5089320 h 5089320"/>
              <a:gd name="connsiteX7" fmla="*/ 0 w 4422707"/>
              <a:gd name="connsiteY7" fmla="*/ 2545920 h 5089320"/>
              <a:gd name="connsiteX8" fmla="*/ 2424925 w 4422707"/>
              <a:gd name="connsiteY8" fmla="*/ 15651 h 5089320"/>
              <a:gd name="connsiteX9" fmla="*/ 2668519 w 4422707"/>
              <a:gd name="connsiteY9" fmla="*/ 4069 h 5089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22707" h="5089320">
                <a:moveTo>
                  <a:pt x="2668519" y="0"/>
                </a:moveTo>
                <a:lnTo>
                  <a:pt x="4422707" y="0"/>
                </a:lnTo>
                <a:lnTo>
                  <a:pt x="4422707" y="586271"/>
                </a:lnTo>
                <a:lnTo>
                  <a:pt x="4422707" y="4505569"/>
                </a:lnTo>
                <a:lnTo>
                  <a:pt x="4422707" y="5086350"/>
                </a:lnTo>
                <a:lnTo>
                  <a:pt x="2763561" y="5086350"/>
                </a:lnTo>
                <a:lnTo>
                  <a:pt x="2701097" y="5089320"/>
                </a:lnTo>
                <a:cubicBezTo>
                  <a:pt x="1209322" y="5089320"/>
                  <a:pt x="0" y="3950601"/>
                  <a:pt x="0" y="2545920"/>
                </a:cubicBezTo>
                <a:cubicBezTo>
                  <a:pt x="0" y="1229032"/>
                  <a:pt x="1062881" y="145899"/>
                  <a:pt x="2424925" y="15651"/>
                </a:cubicBezTo>
                <a:lnTo>
                  <a:pt x="2668519" y="406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4680" y="1045658"/>
            <a:ext cx="1524442" cy="1256709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9437666" y="0"/>
            <a:ext cx="1362807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buClr>
                <a:schemeClr val="accent1"/>
              </a:buClr>
            </a:pPr>
            <a:r>
              <a:rPr lang="ru-RU" sz="1100" b="1" dirty="0" err="1" smtClean="0"/>
              <a:t>Кадрировать</a:t>
            </a:r>
            <a:r>
              <a:rPr lang="ru-RU" sz="1100" b="1" dirty="0" smtClean="0"/>
              <a:t> изображение </a:t>
            </a:r>
            <a:r>
              <a:rPr lang="ru-RU" sz="1100" dirty="0" smtClean="0"/>
              <a:t>(увеличить, подвинуть</a:t>
            </a:r>
            <a:r>
              <a:rPr lang="ru-RU" sz="1100" baseline="0" dirty="0" smtClean="0"/>
              <a:t> для оптимального вписывания)</a:t>
            </a:r>
            <a:endParaRPr lang="ru-RU" sz="1100" dirty="0" smtClean="0"/>
          </a:p>
        </p:txBody>
      </p:sp>
      <p:cxnSp>
        <p:nvCxnSpPr>
          <p:cNvPr id="25" name="Прямая соединительная линия 24"/>
          <p:cNvCxnSpPr/>
          <p:nvPr userDrawn="1"/>
        </p:nvCxnSpPr>
        <p:spPr>
          <a:xfrm flipV="1">
            <a:off x="10742261" y="700461"/>
            <a:ext cx="0" cy="6351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 userDrawn="1"/>
        </p:nvCxnSpPr>
        <p:spPr>
          <a:xfrm>
            <a:off x="10355545" y="690936"/>
            <a:ext cx="38671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/>
          <p:cNvSpPr/>
          <p:nvPr userDrawn="1"/>
        </p:nvSpPr>
        <p:spPr>
          <a:xfrm>
            <a:off x="10466416" y="1285852"/>
            <a:ext cx="281941" cy="18067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9437666" y="2408500"/>
            <a:ext cx="1742796" cy="3416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1" dirty="0" smtClean="0">
                <a:solidFill>
                  <a:schemeClr val="tx1"/>
                </a:solidFill>
              </a:rPr>
              <a:t>Два варианта замены изображения </a:t>
            </a:r>
            <a:br>
              <a:rPr lang="ru-RU" sz="1100" b="1" dirty="0" smtClean="0">
                <a:solidFill>
                  <a:schemeClr val="tx1"/>
                </a:solidFill>
              </a:rPr>
            </a:br>
            <a:r>
              <a:rPr lang="ru-RU" sz="1100" b="1" dirty="0" smtClean="0">
                <a:solidFill>
                  <a:schemeClr val="tx1"/>
                </a:solidFill>
              </a:rPr>
              <a:t>в заполнителе</a:t>
            </a: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0" dirty="0" smtClean="0">
                <a:solidFill>
                  <a:schemeClr val="tx1"/>
                </a:solidFill>
              </a:rPr>
              <a:t>1.Удаляем </a:t>
            </a:r>
            <a:r>
              <a:rPr lang="ru-RU" sz="1100" b="0" baseline="0" dirty="0" smtClean="0">
                <a:solidFill>
                  <a:schemeClr val="tx1"/>
                </a:solidFill>
              </a:rPr>
              <a:t>ненужное,</a:t>
            </a:r>
            <a:r>
              <a:rPr lang="en-US" sz="1100" b="0" baseline="0" dirty="0" smtClean="0">
                <a:solidFill>
                  <a:schemeClr val="tx1"/>
                </a:solidFill>
              </a:rPr>
              <a:t/>
            </a:r>
            <a:br>
              <a:rPr lang="en-US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нажав на значок, выбираем новое.</a:t>
            </a: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0" baseline="0" dirty="0" smtClean="0">
                <a:solidFill>
                  <a:schemeClr val="tx1"/>
                </a:solidFill>
              </a:rPr>
              <a:t>2. </a:t>
            </a:r>
            <a:r>
              <a:rPr lang="ru-RU" sz="1100" b="0" dirty="0" smtClean="0">
                <a:solidFill>
                  <a:schemeClr val="tx1"/>
                </a:solidFill>
              </a:rPr>
              <a:t>Удаляем </a:t>
            </a:r>
            <a:r>
              <a:rPr lang="ru-RU" sz="1100" b="0" baseline="0" dirty="0" smtClean="0">
                <a:solidFill>
                  <a:schemeClr val="tx1"/>
                </a:solidFill>
              </a:rPr>
              <a:t>ненужное, копируем новое фото </a:t>
            </a:r>
            <a:r>
              <a:rPr lang="en-US" sz="1100" b="0" baseline="0" dirty="0" smtClean="0">
                <a:solidFill>
                  <a:schemeClr val="tx1"/>
                </a:solidFill>
              </a:rPr>
              <a:t> (</a:t>
            </a:r>
            <a:r>
              <a:rPr lang="en-US" sz="1100" b="0" baseline="0" dirty="0" err="1" smtClean="0">
                <a:solidFill>
                  <a:schemeClr val="tx1"/>
                </a:solidFill>
              </a:rPr>
              <a:t>Ctrl+C</a:t>
            </a:r>
            <a:r>
              <a:rPr lang="en-US" sz="1100" b="0" baseline="0" dirty="0" smtClean="0">
                <a:solidFill>
                  <a:schemeClr val="tx1"/>
                </a:solidFill>
              </a:rPr>
              <a:t>)</a:t>
            </a:r>
            <a:r>
              <a:rPr lang="ru-RU" sz="1100" b="0" baseline="0" dirty="0" smtClean="0">
                <a:solidFill>
                  <a:schemeClr val="tx1"/>
                </a:solidFill>
              </a:rPr>
              <a:t>, нажимаем на край области заполнителя </a:t>
            </a:r>
            <a:r>
              <a:rPr lang="en-US" sz="1100" b="0" baseline="0" dirty="0" smtClean="0">
                <a:solidFill>
                  <a:schemeClr val="tx1"/>
                </a:solidFill>
              </a:rPr>
              <a:t/>
            </a:r>
            <a:br>
              <a:rPr lang="en-US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и вставляем изображение </a:t>
            </a:r>
            <a:r>
              <a:rPr lang="en-US" sz="1100" b="0" baseline="0" dirty="0" smtClean="0">
                <a:solidFill>
                  <a:schemeClr val="tx1"/>
                </a:solidFill>
              </a:rPr>
              <a:t>(</a:t>
            </a:r>
            <a:r>
              <a:rPr lang="en-US" sz="1100" b="0" baseline="0" dirty="0" err="1" smtClean="0">
                <a:solidFill>
                  <a:schemeClr val="tx1"/>
                </a:solidFill>
              </a:rPr>
              <a:t>Ctrl+V</a:t>
            </a:r>
            <a:r>
              <a:rPr lang="en-US" sz="1100" b="0" baseline="0" dirty="0" smtClean="0">
                <a:solidFill>
                  <a:schemeClr val="tx1"/>
                </a:solidFill>
              </a:rPr>
              <a:t>)</a:t>
            </a:r>
            <a:r>
              <a:rPr lang="ru-RU" sz="1100" b="0" baseline="0" dirty="0" smtClean="0">
                <a:solidFill>
                  <a:schemeClr val="tx1"/>
                </a:solidFill>
              </a:rPr>
              <a:t>.</a:t>
            </a:r>
            <a:endParaRPr lang="en-US" sz="1100" b="0" baseline="0" dirty="0" smtClean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en-US" sz="2000" b="1" baseline="0" dirty="0" smtClean="0">
                <a:solidFill>
                  <a:schemeClr val="tx1"/>
                </a:solidFill>
              </a:rPr>
              <a:t>! </a:t>
            </a:r>
            <a:r>
              <a:rPr lang="ru-RU" sz="1100" b="0" baseline="0" dirty="0" smtClean="0">
                <a:solidFill>
                  <a:schemeClr val="tx1"/>
                </a:solidFill>
              </a:rPr>
              <a:t>Если фото </a:t>
            </a:r>
            <a:br>
              <a:rPr lang="ru-RU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не обрезается </a:t>
            </a:r>
            <a:br>
              <a:rPr lang="ru-RU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по форме заполнителя, нажмите кнопку «Восстановить/Сбросить» на вкладке «Главная»</a:t>
            </a:r>
            <a:endParaRPr lang="ru-RU" sz="1100" b="1" dirty="0" smtClean="0"/>
          </a:p>
        </p:txBody>
      </p:sp>
      <p:pic>
        <p:nvPicPr>
          <p:cNvPr id="29" name="Рисунок 28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57" t="51784" r="59151" b="23605"/>
          <a:stretch/>
        </p:blipFill>
        <p:spPr>
          <a:xfrm>
            <a:off x="10624904" y="3244047"/>
            <a:ext cx="351137" cy="33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5219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66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два изображения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ъект и два изображения справа</a:t>
            </a:r>
            <a:endParaRPr lang="ru-RU" dirty="0"/>
          </a:p>
        </p:txBody>
      </p:sp>
      <p:sp>
        <p:nvSpPr>
          <p:cNvPr id="149" name="Рисунок 148"/>
          <p:cNvSpPr>
            <a:spLocks noGrp="1"/>
          </p:cNvSpPr>
          <p:nvPr>
            <p:ph type="pic" sz="quarter" idx="14"/>
          </p:nvPr>
        </p:nvSpPr>
        <p:spPr>
          <a:xfrm>
            <a:off x="4867835" y="1376363"/>
            <a:ext cx="4276166" cy="252095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50" name="Рисунок 148"/>
          <p:cNvSpPr>
            <a:spLocks noGrp="1"/>
          </p:cNvSpPr>
          <p:nvPr>
            <p:ph type="pic" sz="quarter" idx="15"/>
          </p:nvPr>
        </p:nvSpPr>
        <p:spPr>
          <a:xfrm>
            <a:off x="4867835" y="4038599"/>
            <a:ext cx="4276166" cy="2436813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16"/>
          </p:nvPr>
        </p:nvSpPr>
        <p:spPr>
          <a:xfrm>
            <a:off x="250825" y="1376363"/>
            <a:ext cx="4321175" cy="509905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F41190B-96E3-4B62-87B2-9FF793F6223E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55"/>
          <a:stretch/>
        </p:blipFill>
        <p:spPr>
          <a:xfrm>
            <a:off x="-1682183" y="4661504"/>
            <a:ext cx="1105941" cy="122007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-1714530" y="3924300"/>
            <a:ext cx="1362807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buClr>
                <a:schemeClr val="accent1"/>
              </a:buClr>
            </a:pPr>
            <a:r>
              <a:rPr lang="ru-RU" sz="1000" b="1" dirty="0" smtClean="0"/>
              <a:t>Восстановить макет</a:t>
            </a:r>
          </a:p>
          <a:p>
            <a:pPr>
              <a:spcBef>
                <a:spcPts val="0"/>
              </a:spcBef>
              <a:buClr>
                <a:schemeClr val="accent1"/>
              </a:buClr>
            </a:pPr>
            <a:r>
              <a:rPr lang="ru-RU" sz="1000" dirty="0" smtClean="0"/>
              <a:t>(например, </a:t>
            </a:r>
            <a:br>
              <a:rPr lang="ru-RU" sz="1000" dirty="0" smtClean="0"/>
            </a:br>
            <a:r>
              <a:rPr lang="ru-RU" sz="1000" dirty="0" smtClean="0"/>
              <a:t>при</a:t>
            </a:r>
            <a:r>
              <a:rPr lang="ru-RU" sz="1000" baseline="0" dirty="0" smtClean="0"/>
              <a:t> удалении элементов)</a:t>
            </a:r>
            <a:endParaRPr lang="ru-RU" sz="1000" dirty="0" smtClean="0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-1330876" y="3270032"/>
            <a:ext cx="826229" cy="19843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 flipV="1">
            <a:off x="-601260" y="2634914"/>
            <a:ext cx="0" cy="6351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 userDrawn="1"/>
        </p:nvCxnSpPr>
        <p:spPr>
          <a:xfrm rot="5400000" flipV="1">
            <a:off x="-918819" y="2307830"/>
            <a:ext cx="0" cy="6351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Рисунок 17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51" r="38300"/>
          <a:stretch/>
        </p:blipFill>
        <p:spPr>
          <a:xfrm>
            <a:off x="-1428591" y="1771649"/>
            <a:ext cx="1078790" cy="1933575"/>
          </a:xfrm>
          <a:prstGeom prst="rect">
            <a:avLst/>
          </a:prstGeom>
        </p:spPr>
      </p:pic>
      <p:sp>
        <p:nvSpPr>
          <p:cNvPr id="19" name="Прямоугольник 18"/>
          <p:cNvSpPr/>
          <p:nvPr userDrawn="1"/>
        </p:nvSpPr>
        <p:spPr>
          <a:xfrm>
            <a:off x="-1121326" y="1943100"/>
            <a:ext cx="581025" cy="1905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 userDrawn="1"/>
        </p:nvCxnSpPr>
        <p:spPr>
          <a:xfrm flipV="1">
            <a:off x="-997501" y="1661746"/>
            <a:ext cx="0" cy="2813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-1712608" y="28041"/>
            <a:ext cx="1362807" cy="15594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Clr>
                <a:schemeClr val="accent1"/>
              </a:buClr>
            </a:pPr>
            <a:r>
              <a:rPr lang="ru-RU" sz="1100" b="1" dirty="0" smtClean="0"/>
              <a:t>Выбираем макет:</a:t>
            </a:r>
            <a:r>
              <a:rPr lang="ru-RU" sz="1100" b="1" baseline="0" dirty="0" smtClean="0"/>
              <a:t> </a:t>
            </a:r>
          </a:p>
          <a:p>
            <a:pPr>
              <a:spcBef>
                <a:spcPts val="800"/>
              </a:spcBef>
              <a:buClr>
                <a:schemeClr val="accent1"/>
              </a:buClr>
            </a:pPr>
            <a:r>
              <a:rPr lang="ru-RU" sz="1100" baseline="0" dirty="0" smtClean="0"/>
              <a:t>1. Кликаем </a:t>
            </a:r>
            <a:br>
              <a:rPr lang="ru-RU" sz="1100" baseline="0" dirty="0" smtClean="0"/>
            </a:br>
            <a:r>
              <a:rPr lang="ru-RU" sz="1100" baseline="0" dirty="0" smtClean="0"/>
              <a:t>на вкладке «Макет» на панели инструментов.</a:t>
            </a:r>
          </a:p>
          <a:p>
            <a:pPr>
              <a:spcBef>
                <a:spcPts val="800"/>
              </a:spcBef>
              <a:buClr>
                <a:schemeClr val="accent1"/>
              </a:buClr>
            </a:pPr>
            <a:r>
              <a:rPr lang="ru-RU" sz="1100" baseline="0" dirty="0" smtClean="0"/>
              <a:t>2. Выбираем нужный макет, исходя </a:t>
            </a:r>
            <a:br>
              <a:rPr lang="ru-RU" sz="1100" baseline="0" dirty="0" smtClean="0"/>
            </a:br>
            <a:r>
              <a:rPr lang="ru-RU" sz="1100" baseline="0" dirty="0" smtClean="0"/>
              <a:t>из контента</a:t>
            </a:r>
            <a:endParaRPr lang="ru-RU" sz="1100" dirty="0" smtClean="0"/>
          </a:p>
        </p:txBody>
      </p:sp>
      <p:pic>
        <p:nvPicPr>
          <p:cNvPr id="27" name="Рисунок 2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4680" y="1045658"/>
            <a:ext cx="1524442" cy="1256709"/>
          </a:xfrm>
          <a:prstGeom prst="rect">
            <a:avLst/>
          </a:prstGeom>
        </p:spPr>
      </p:pic>
      <p:sp>
        <p:nvSpPr>
          <p:cNvPr id="28" name="TextBox 27"/>
          <p:cNvSpPr txBox="1"/>
          <p:nvPr userDrawn="1"/>
        </p:nvSpPr>
        <p:spPr>
          <a:xfrm>
            <a:off x="9437666" y="0"/>
            <a:ext cx="1362807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buClr>
                <a:schemeClr val="accent1"/>
              </a:buClr>
            </a:pPr>
            <a:r>
              <a:rPr lang="ru-RU" sz="1100" b="1" dirty="0" err="1" smtClean="0"/>
              <a:t>Кадрировать</a:t>
            </a:r>
            <a:r>
              <a:rPr lang="ru-RU" sz="1100" b="1" dirty="0" smtClean="0"/>
              <a:t> изображение </a:t>
            </a:r>
            <a:r>
              <a:rPr lang="ru-RU" sz="1100" dirty="0" smtClean="0"/>
              <a:t>(увеличить, подвинуть</a:t>
            </a:r>
            <a:r>
              <a:rPr lang="ru-RU" sz="1100" baseline="0" dirty="0" smtClean="0"/>
              <a:t> для оптимального вписывания)</a:t>
            </a:r>
            <a:endParaRPr lang="ru-RU" sz="1100" dirty="0" smtClean="0"/>
          </a:p>
        </p:txBody>
      </p:sp>
      <p:cxnSp>
        <p:nvCxnSpPr>
          <p:cNvPr id="31" name="Прямая соединительная линия 30"/>
          <p:cNvCxnSpPr/>
          <p:nvPr userDrawn="1"/>
        </p:nvCxnSpPr>
        <p:spPr>
          <a:xfrm flipV="1">
            <a:off x="10742261" y="700461"/>
            <a:ext cx="0" cy="6351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 userDrawn="1"/>
        </p:nvCxnSpPr>
        <p:spPr>
          <a:xfrm>
            <a:off x="10355545" y="690936"/>
            <a:ext cx="38671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 userDrawn="1"/>
        </p:nvSpPr>
        <p:spPr>
          <a:xfrm>
            <a:off x="10466416" y="1285852"/>
            <a:ext cx="281941" cy="18067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34" name="TextBox 33"/>
          <p:cNvSpPr txBox="1"/>
          <p:nvPr userDrawn="1"/>
        </p:nvSpPr>
        <p:spPr>
          <a:xfrm>
            <a:off x="9437666" y="2408500"/>
            <a:ext cx="1742796" cy="3416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1" dirty="0" smtClean="0">
                <a:solidFill>
                  <a:schemeClr val="tx1"/>
                </a:solidFill>
              </a:rPr>
              <a:t>Два варианта замены изображения </a:t>
            </a:r>
            <a:br>
              <a:rPr lang="ru-RU" sz="1100" b="1" dirty="0" smtClean="0">
                <a:solidFill>
                  <a:schemeClr val="tx1"/>
                </a:solidFill>
              </a:rPr>
            </a:br>
            <a:r>
              <a:rPr lang="ru-RU" sz="1100" b="1" dirty="0" smtClean="0">
                <a:solidFill>
                  <a:schemeClr val="tx1"/>
                </a:solidFill>
              </a:rPr>
              <a:t>в заполнителе</a:t>
            </a: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0" dirty="0" smtClean="0">
                <a:solidFill>
                  <a:schemeClr val="tx1"/>
                </a:solidFill>
              </a:rPr>
              <a:t>1.Удаляем </a:t>
            </a:r>
            <a:r>
              <a:rPr lang="ru-RU" sz="1100" b="0" baseline="0" dirty="0" smtClean="0">
                <a:solidFill>
                  <a:schemeClr val="tx1"/>
                </a:solidFill>
              </a:rPr>
              <a:t>ненужное,</a:t>
            </a:r>
            <a:r>
              <a:rPr lang="en-US" sz="1100" b="0" baseline="0" dirty="0" smtClean="0">
                <a:solidFill>
                  <a:schemeClr val="tx1"/>
                </a:solidFill>
              </a:rPr>
              <a:t/>
            </a:r>
            <a:br>
              <a:rPr lang="en-US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нажав на значок, выбираем новое.</a:t>
            </a: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0" baseline="0" dirty="0" smtClean="0">
                <a:solidFill>
                  <a:schemeClr val="tx1"/>
                </a:solidFill>
              </a:rPr>
              <a:t>2. </a:t>
            </a:r>
            <a:r>
              <a:rPr lang="ru-RU" sz="1100" b="0" dirty="0" smtClean="0">
                <a:solidFill>
                  <a:schemeClr val="tx1"/>
                </a:solidFill>
              </a:rPr>
              <a:t>Удаляем </a:t>
            </a:r>
            <a:r>
              <a:rPr lang="ru-RU" sz="1100" b="0" baseline="0" dirty="0" smtClean="0">
                <a:solidFill>
                  <a:schemeClr val="tx1"/>
                </a:solidFill>
              </a:rPr>
              <a:t>ненужное, копируем новое фото </a:t>
            </a:r>
            <a:r>
              <a:rPr lang="en-US" sz="1100" b="0" baseline="0" dirty="0" smtClean="0">
                <a:solidFill>
                  <a:schemeClr val="tx1"/>
                </a:solidFill>
              </a:rPr>
              <a:t> (</a:t>
            </a:r>
            <a:r>
              <a:rPr lang="en-US" sz="1100" b="0" baseline="0" dirty="0" err="1" smtClean="0">
                <a:solidFill>
                  <a:schemeClr val="tx1"/>
                </a:solidFill>
              </a:rPr>
              <a:t>Ctrl+C</a:t>
            </a:r>
            <a:r>
              <a:rPr lang="en-US" sz="1100" b="0" baseline="0" dirty="0" smtClean="0">
                <a:solidFill>
                  <a:schemeClr val="tx1"/>
                </a:solidFill>
              </a:rPr>
              <a:t>)</a:t>
            </a:r>
            <a:r>
              <a:rPr lang="ru-RU" sz="1100" b="0" baseline="0" dirty="0" smtClean="0">
                <a:solidFill>
                  <a:schemeClr val="tx1"/>
                </a:solidFill>
              </a:rPr>
              <a:t>, нажимаем на край области заполнителя </a:t>
            </a:r>
            <a:r>
              <a:rPr lang="en-US" sz="1100" b="0" baseline="0" dirty="0" smtClean="0">
                <a:solidFill>
                  <a:schemeClr val="tx1"/>
                </a:solidFill>
              </a:rPr>
              <a:t/>
            </a:r>
            <a:br>
              <a:rPr lang="en-US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и вставляем изображение </a:t>
            </a:r>
            <a:r>
              <a:rPr lang="en-US" sz="1100" b="0" baseline="0" dirty="0" smtClean="0">
                <a:solidFill>
                  <a:schemeClr val="tx1"/>
                </a:solidFill>
              </a:rPr>
              <a:t>(</a:t>
            </a:r>
            <a:r>
              <a:rPr lang="en-US" sz="1100" b="0" baseline="0" dirty="0" err="1" smtClean="0">
                <a:solidFill>
                  <a:schemeClr val="tx1"/>
                </a:solidFill>
              </a:rPr>
              <a:t>Ctrl+V</a:t>
            </a:r>
            <a:r>
              <a:rPr lang="en-US" sz="1100" b="0" baseline="0" dirty="0" smtClean="0">
                <a:solidFill>
                  <a:schemeClr val="tx1"/>
                </a:solidFill>
              </a:rPr>
              <a:t>)</a:t>
            </a:r>
            <a:r>
              <a:rPr lang="ru-RU" sz="1100" b="0" baseline="0" dirty="0" smtClean="0">
                <a:solidFill>
                  <a:schemeClr val="tx1"/>
                </a:solidFill>
              </a:rPr>
              <a:t>.</a:t>
            </a:r>
            <a:endParaRPr lang="en-US" sz="1100" b="0" baseline="0" dirty="0" smtClean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en-US" sz="2000" b="1" baseline="0" dirty="0" smtClean="0">
                <a:solidFill>
                  <a:schemeClr val="tx1"/>
                </a:solidFill>
              </a:rPr>
              <a:t>! </a:t>
            </a:r>
            <a:r>
              <a:rPr lang="ru-RU" sz="1100" b="0" baseline="0" dirty="0" smtClean="0">
                <a:solidFill>
                  <a:schemeClr val="tx1"/>
                </a:solidFill>
              </a:rPr>
              <a:t>Если фото </a:t>
            </a:r>
            <a:br>
              <a:rPr lang="ru-RU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не обрезается </a:t>
            </a:r>
            <a:br>
              <a:rPr lang="ru-RU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по форме заполнителя, нажмите кнопку «Восстановить/Сбросить» на вкладке «Главная»</a:t>
            </a:r>
            <a:endParaRPr lang="ru-RU" sz="1100" b="1" dirty="0" smtClean="0"/>
          </a:p>
        </p:txBody>
      </p:sp>
      <p:pic>
        <p:nvPicPr>
          <p:cNvPr id="35" name="Рисунок 34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57" t="51784" r="59151" b="23605"/>
          <a:stretch/>
        </p:blipFill>
        <p:spPr>
          <a:xfrm>
            <a:off x="10624904" y="3244047"/>
            <a:ext cx="351137" cy="33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2784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3" pos="3104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два изображения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6"/>
          <p:cNvSpPr>
            <a:spLocks noGrp="1"/>
          </p:cNvSpPr>
          <p:nvPr>
            <p:ph type="pic" sz="quarter" idx="14"/>
          </p:nvPr>
        </p:nvSpPr>
        <p:spPr>
          <a:xfrm>
            <a:off x="0" y="3999539"/>
            <a:ext cx="4572000" cy="2475874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59" name="Рисунок 6"/>
          <p:cNvSpPr>
            <a:spLocks noGrp="1"/>
          </p:cNvSpPr>
          <p:nvPr>
            <p:ph type="pic" sz="quarter" idx="15"/>
          </p:nvPr>
        </p:nvSpPr>
        <p:spPr>
          <a:xfrm>
            <a:off x="4572000" y="3999539"/>
            <a:ext cx="4572000" cy="2475874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0" name="Заголовок 59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Объект и два изображения снизу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6"/>
          </p:nvPr>
        </p:nvSpPr>
        <p:spPr>
          <a:xfrm>
            <a:off x="250825" y="1376363"/>
            <a:ext cx="8642350" cy="236855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AF41190B-96E3-4B62-87B2-9FF793F6223E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34513" y="493327"/>
            <a:ext cx="1440847" cy="1080000"/>
          </a:xfrm>
          <a:prstGeom prst="rect">
            <a:avLst/>
          </a:prstGeom>
          <a:ln>
            <a:solidFill>
              <a:schemeClr val="accent3"/>
            </a:solidFill>
          </a:ln>
        </p:spPr>
      </p:pic>
      <p:sp>
        <p:nvSpPr>
          <p:cNvPr id="21" name="TextBox 20"/>
          <p:cNvSpPr txBox="1"/>
          <p:nvPr userDrawn="1"/>
        </p:nvSpPr>
        <p:spPr>
          <a:xfrm>
            <a:off x="-1734513" y="28041"/>
            <a:ext cx="1517653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Clr>
                <a:schemeClr val="accent1"/>
              </a:buClr>
            </a:pPr>
            <a:r>
              <a:rPr lang="ru-RU" sz="1100" b="1" dirty="0" smtClean="0"/>
              <a:t>Пример наполнения слайда</a:t>
            </a:r>
          </a:p>
        </p:txBody>
      </p:sp>
      <p:sp>
        <p:nvSpPr>
          <p:cNvPr id="23" name="Прямоугольник 22"/>
          <p:cNvSpPr/>
          <p:nvPr userDrawn="1"/>
        </p:nvSpPr>
        <p:spPr>
          <a:xfrm>
            <a:off x="-1315381" y="5047011"/>
            <a:ext cx="826229" cy="19843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cxnSp>
        <p:nvCxnSpPr>
          <p:cNvPr id="24" name="Прямая соединительная линия 23"/>
          <p:cNvCxnSpPr/>
          <p:nvPr userDrawn="1"/>
        </p:nvCxnSpPr>
        <p:spPr>
          <a:xfrm flipV="1">
            <a:off x="-585765" y="4411893"/>
            <a:ext cx="0" cy="6351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 userDrawn="1"/>
        </p:nvCxnSpPr>
        <p:spPr>
          <a:xfrm rot="5400000" flipV="1">
            <a:off x="-903324" y="4084809"/>
            <a:ext cx="0" cy="6351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Рисунок 25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51" r="38300"/>
          <a:stretch/>
        </p:blipFill>
        <p:spPr>
          <a:xfrm>
            <a:off x="-1413096" y="3548628"/>
            <a:ext cx="1078790" cy="1933575"/>
          </a:xfrm>
          <a:prstGeom prst="rect">
            <a:avLst/>
          </a:prstGeom>
        </p:spPr>
      </p:pic>
      <p:sp>
        <p:nvSpPr>
          <p:cNvPr id="27" name="Прямоугольник 26"/>
          <p:cNvSpPr/>
          <p:nvPr userDrawn="1"/>
        </p:nvSpPr>
        <p:spPr>
          <a:xfrm>
            <a:off x="-1105831" y="3720079"/>
            <a:ext cx="581025" cy="1905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cxnSp>
        <p:nvCxnSpPr>
          <p:cNvPr id="28" name="Прямая соединительная линия 27"/>
          <p:cNvCxnSpPr/>
          <p:nvPr userDrawn="1"/>
        </p:nvCxnSpPr>
        <p:spPr>
          <a:xfrm flipV="1">
            <a:off x="-982006" y="3446585"/>
            <a:ext cx="0" cy="27349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 userDrawn="1"/>
        </p:nvSpPr>
        <p:spPr>
          <a:xfrm>
            <a:off x="-1697113" y="1805020"/>
            <a:ext cx="1362807" cy="15594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Clr>
                <a:schemeClr val="accent1"/>
              </a:buClr>
            </a:pPr>
            <a:r>
              <a:rPr lang="ru-RU" sz="1100" b="1" dirty="0" smtClean="0"/>
              <a:t>Выбираем макет:</a:t>
            </a:r>
            <a:r>
              <a:rPr lang="ru-RU" sz="1100" b="1" baseline="0" dirty="0" smtClean="0"/>
              <a:t> </a:t>
            </a:r>
          </a:p>
          <a:p>
            <a:pPr>
              <a:spcBef>
                <a:spcPts val="800"/>
              </a:spcBef>
              <a:buClr>
                <a:schemeClr val="accent1"/>
              </a:buClr>
            </a:pPr>
            <a:r>
              <a:rPr lang="ru-RU" sz="1100" baseline="0" dirty="0" smtClean="0"/>
              <a:t>1. Кликаем </a:t>
            </a:r>
            <a:br>
              <a:rPr lang="ru-RU" sz="1100" baseline="0" dirty="0" smtClean="0"/>
            </a:br>
            <a:r>
              <a:rPr lang="ru-RU" sz="1100" baseline="0" dirty="0" smtClean="0"/>
              <a:t>на вкладке «Макет» на панели инструментов.</a:t>
            </a:r>
          </a:p>
          <a:p>
            <a:pPr>
              <a:spcBef>
                <a:spcPts val="800"/>
              </a:spcBef>
              <a:buClr>
                <a:schemeClr val="accent1"/>
              </a:buClr>
            </a:pPr>
            <a:r>
              <a:rPr lang="ru-RU" sz="1100" baseline="0" dirty="0" smtClean="0"/>
              <a:t>2. Выбираем нужный макет, исходя </a:t>
            </a:r>
            <a:br>
              <a:rPr lang="ru-RU" sz="1100" baseline="0" dirty="0" smtClean="0"/>
            </a:br>
            <a:r>
              <a:rPr lang="ru-RU" sz="1100" baseline="0" dirty="0" smtClean="0"/>
              <a:t>из контента</a:t>
            </a:r>
            <a:endParaRPr lang="ru-RU" sz="1100" dirty="0" smtClean="0"/>
          </a:p>
        </p:txBody>
      </p:sp>
      <p:pic>
        <p:nvPicPr>
          <p:cNvPr id="30" name="Рисунок 2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4680" y="1045658"/>
            <a:ext cx="1524442" cy="1256709"/>
          </a:xfrm>
          <a:prstGeom prst="rect">
            <a:avLst/>
          </a:prstGeom>
        </p:spPr>
      </p:pic>
      <p:sp>
        <p:nvSpPr>
          <p:cNvPr id="31" name="TextBox 30"/>
          <p:cNvSpPr txBox="1"/>
          <p:nvPr userDrawn="1"/>
        </p:nvSpPr>
        <p:spPr>
          <a:xfrm>
            <a:off x="9437666" y="0"/>
            <a:ext cx="1362807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buClr>
                <a:schemeClr val="accent1"/>
              </a:buClr>
            </a:pPr>
            <a:r>
              <a:rPr lang="ru-RU" sz="1100" b="1" dirty="0" err="1" smtClean="0"/>
              <a:t>Кадрировать</a:t>
            </a:r>
            <a:r>
              <a:rPr lang="ru-RU" sz="1100" b="1" dirty="0" smtClean="0"/>
              <a:t> изображение </a:t>
            </a:r>
            <a:r>
              <a:rPr lang="ru-RU" sz="1100" dirty="0" smtClean="0"/>
              <a:t>(увеличить, подвинуть</a:t>
            </a:r>
            <a:r>
              <a:rPr lang="ru-RU" sz="1100" baseline="0" dirty="0" smtClean="0"/>
              <a:t> для оптимального вписывания)</a:t>
            </a:r>
            <a:endParaRPr lang="ru-RU" sz="1100" dirty="0" smtClean="0"/>
          </a:p>
        </p:txBody>
      </p:sp>
      <p:cxnSp>
        <p:nvCxnSpPr>
          <p:cNvPr id="32" name="Прямая соединительная линия 31"/>
          <p:cNvCxnSpPr/>
          <p:nvPr userDrawn="1"/>
        </p:nvCxnSpPr>
        <p:spPr>
          <a:xfrm flipV="1">
            <a:off x="10742261" y="700461"/>
            <a:ext cx="0" cy="6351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 userDrawn="1"/>
        </p:nvCxnSpPr>
        <p:spPr>
          <a:xfrm>
            <a:off x="10355545" y="690936"/>
            <a:ext cx="38671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 userDrawn="1"/>
        </p:nvSpPr>
        <p:spPr>
          <a:xfrm>
            <a:off x="10466416" y="1285852"/>
            <a:ext cx="281941" cy="18067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39" name="TextBox 38"/>
          <p:cNvSpPr txBox="1"/>
          <p:nvPr userDrawn="1"/>
        </p:nvSpPr>
        <p:spPr>
          <a:xfrm>
            <a:off x="9437666" y="2408500"/>
            <a:ext cx="1742796" cy="3416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1" dirty="0" smtClean="0">
                <a:solidFill>
                  <a:schemeClr val="tx1"/>
                </a:solidFill>
              </a:rPr>
              <a:t>Два варианта замены изображения </a:t>
            </a:r>
            <a:br>
              <a:rPr lang="ru-RU" sz="1100" b="1" dirty="0" smtClean="0">
                <a:solidFill>
                  <a:schemeClr val="tx1"/>
                </a:solidFill>
              </a:rPr>
            </a:br>
            <a:r>
              <a:rPr lang="ru-RU" sz="1100" b="1" dirty="0" smtClean="0">
                <a:solidFill>
                  <a:schemeClr val="tx1"/>
                </a:solidFill>
              </a:rPr>
              <a:t>в заполнителе</a:t>
            </a: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0" dirty="0" smtClean="0">
                <a:solidFill>
                  <a:schemeClr val="tx1"/>
                </a:solidFill>
              </a:rPr>
              <a:t>1.Удаляем </a:t>
            </a:r>
            <a:r>
              <a:rPr lang="ru-RU" sz="1100" b="0" baseline="0" dirty="0" smtClean="0">
                <a:solidFill>
                  <a:schemeClr val="tx1"/>
                </a:solidFill>
              </a:rPr>
              <a:t>ненужное,</a:t>
            </a:r>
            <a:r>
              <a:rPr lang="en-US" sz="1100" b="0" baseline="0" dirty="0" smtClean="0">
                <a:solidFill>
                  <a:schemeClr val="tx1"/>
                </a:solidFill>
              </a:rPr>
              <a:t/>
            </a:r>
            <a:br>
              <a:rPr lang="en-US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нажав на значок, выбираем новое.</a:t>
            </a: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0" baseline="0" dirty="0" smtClean="0">
                <a:solidFill>
                  <a:schemeClr val="tx1"/>
                </a:solidFill>
              </a:rPr>
              <a:t>2. </a:t>
            </a:r>
            <a:r>
              <a:rPr lang="ru-RU" sz="1100" b="0" dirty="0" smtClean="0">
                <a:solidFill>
                  <a:schemeClr val="tx1"/>
                </a:solidFill>
              </a:rPr>
              <a:t>Удаляем </a:t>
            </a:r>
            <a:r>
              <a:rPr lang="ru-RU" sz="1100" b="0" baseline="0" dirty="0" smtClean="0">
                <a:solidFill>
                  <a:schemeClr val="tx1"/>
                </a:solidFill>
              </a:rPr>
              <a:t>ненужное, копируем новое фото </a:t>
            </a:r>
            <a:r>
              <a:rPr lang="en-US" sz="1100" b="0" baseline="0" dirty="0" smtClean="0">
                <a:solidFill>
                  <a:schemeClr val="tx1"/>
                </a:solidFill>
              </a:rPr>
              <a:t> (</a:t>
            </a:r>
            <a:r>
              <a:rPr lang="en-US" sz="1100" b="0" baseline="0" dirty="0" err="1" smtClean="0">
                <a:solidFill>
                  <a:schemeClr val="tx1"/>
                </a:solidFill>
              </a:rPr>
              <a:t>Ctrl+C</a:t>
            </a:r>
            <a:r>
              <a:rPr lang="en-US" sz="1100" b="0" baseline="0" dirty="0" smtClean="0">
                <a:solidFill>
                  <a:schemeClr val="tx1"/>
                </a:solidFill>
              </a:rPr>
              <a:t>)</a:t>
            </a:r>
            <a:r>
              <a:rPr lang="ru-RU" sz="1100" b="0" baseline="0" dirty="0" smtClean="0">
                <a:solidFill>
                  <a:schemeClr val="tx1"/>
                </a:solidFill>
              </a:rPr>
              <a:t>, нажимаем на край области заполнителя </a:t>
            </a:r>
            <a:r>
              <a:rPr lang="en-US" sz="1100" b="0" baseline="0" dirty="0" smtClean="0">
                <a:solidFill>
                  <a:schemeClr val="tx1"/>
                </a:solidFill>
              </a:rPr>
              <a:t/>
            </a:r>
            <a:br>
              <a:rPr lang="en-US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и вставляем изображение </a:t>
            </a:r>
            <a:r>
              <a:rPr lang="en-US" sz="1100" b="0" baseline="0" dirty="0" smtClean="0">
                <a:solidFill>
                  <a:schemeClr val="tx1"/>
                </a:solidFill>
              </a:rPr>
              <a:t>(</a:t>
            </a:r>
            <a:r>
              <a:rPr lang="en-US" sz="1100" b="0" baseline="0" dirty="0" err="1" smtClean="0">
                <a:solidFill>
                  <a:schemeClr val="tx1"/>
                </a:solidFill>
              </a:rPr>
              <a:t>Ctrl+V</a:t>
            </a:r>
            <a:r>
              <a:rPr lang="en-US" sz="1100" b="0" baseline="0" dirty="0" smtClean="0">
                <a:solidFill>
                  <a:schemeClr val="tx1"/>
                </a:solidFill>
              </a:rPr>
              <a:t>)</a:t>
            </a:r>
            <a:r>
              <a:rPr lang="ru-RU" sz="1100" b="0" baseline="0" dirty="0" smtClean="0">
                <a:solidFill>
                  <a:schemeClr val="tx1"/>
                </a:solidFill>
              </a:rPr>
              <a:t>.</a:t>
            </a:r>
            <a:endParaRPr lang="en-US" sz="1100" b="0" baseline="0" dirty="0" smtClean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en-US" sz="2000" b="1" baseline="0" dirty="0" smtClean="0">
                <a:solidFill>
                  <a:schemeClr val="tx1"/>
                </a:solidFill>
              </a:rPr>
              <a:t>! </a:t>
            </a:r>
            <a:r>
              <a:rPr lang="ru-RU" sz="1100" b="0" baseline="0" dirty="0" smtClean="0">
                <a:solidFill>
                  <a:schemeClr val="tx1"/>
                </a:solidFill>
              </a:rPr>
              <a:t>Если фото </a:t>
            </a:r>
            <a:br>
              <a:rPr lang="ru-RU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не обрезается </a:t>
            </a:r>
            <a:br>
              <a:rPr lang="ru-RU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по форме заполнителя, нажмите кнопку «Восстановить/Сбросить» на вкладке «Главная»</a:t>
            </a:r>
            <a:endParaRPr lang="ru-RU" sz="1100" b="1" dirty="0" smtClean="0"/>
          </a:p>
        </p:txBody>
      </p:sp>
      <p:pic>
        <p:nvPicPr>
          <p:cNvPr id="40" name="Рисунок 3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57" t="51784" r="59151" b="23605"/>
          <a:stretch/>
        </p:blipFill>
        <p:spPr>
          <a:xfrm>
            <a:off x="10624904" y="3244047"/>
            <a:ext cx="351137" cy="33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0109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orient="horz" pos="235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1085338" y="1385156"/>
            <a:ext cx="7915413" cy="21229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ru-RU" sz="2400" b="1" dirty="0" smtClean="0">
                <a:solidFill>
                  <a:schemeClr val="accent1"/>
                </a:solidFill>
              </a:rPr>
              <a:t>Штаб-квартира</a:t>
            </a:r>
          </a:p>
          <a:p>
            <a:pPr lvl="0" indent="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</a:pPr>
            <a:r>
              <a:rPr lang="ru-RU" sz="2400" dirty="0" smtClean="0"/>
              <a:t>Республика Казахстан, 050051</a:t>
            </a:r>
            <a:br>
              <a:rPr lang="ru-RU" sz="2400" dirty="0" smtClean="0"/>
            </a:br>
            <a:r>
              <a:rPr lang="ru-RU" sz="2400" dirty="0" smtClean="0"/>
              <a:t>г. Алматы, пр. </a:t>
            </a:r>
            <a:r>
              <a:rPr lang="ru-RU" sz="2400" dirty="0" err="1" smtClean="0"/>
              <a:t>Достык</a:t>
            </a:r>
            <a:r>
              <a:rPr lang="ru-RU" sz="2400" dirty="0" smtClean="0"/>
              <a:t>, д. 220</a:t>
            </a:r>
            <a:br>
              <a:rPr lang="ru-RU" sz="2400" dirty="0" smtClean="0"/>
            </a:br>
            <a:r>
              <a:rPr lang="ru-RU" sz="2400" dirty="0" smtClean="0"/>
              <a:t>Телефон: +7 (727) 244 40 44</a:t>
            </a:r>
            <a:br>
              <a:rPr lang="ru-RU" sz="2400" dirty="0" smtClean="0"/>
            </a:br>
            <a:r>
              <a:rPr lang="ru-RU" sz="2400" dirty="0" smtClean="0"/>
              <a:t>Факс: +7 (727) 244 65 70</a:t>
            </a:r>
            <a:endParaRPr lang="ru-RU" sz="2400" dirty="0"/>
          </a:p>
        </p:txBody>
      </p:sp>
      <p:grpSp>
        <p:nvGrpSpPr>
          <p:cNvPr id="10" name="Группа 9"/>
          <p:cNvGrpSpPr/>
          <p:nvPr userDrawn="1"/>
        </p:nvGrpSpPr>
        <p:grpSpPr>
          <a:xfrm>
            <a:off x="250825" y="1420545"/>
            <a:ext cx="426059" cy="426059"/>
            <a:chOff x="609076" y="4151667"/>
            <a:chExt cx="393700" cy="393700"/>
          </a:xfrm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17014" y="4151667"/>
              <a:ext cx="385762" cy="339725"/>
            </a:xfrm>
            <a:custGeom>
              <a:avLst/>
              <a:gdLst>
                <a:gd name="T0" fmla="*/ 170 w 1698"/>
                <a:gd name="T1" fmla="*/ 303 h 1496"/>
                <a:gd name="T2" fmla="*/ 225 w 1698"/>
                <a:gd name="T3" fmla="*/ 245 h 1496"/>
                <a:gd name="T4" fmla="*/ 460 w 1698"/>
                <a:gd name="T5" fmla="*/ 83 h 1496"/>
                <a:gd name="T6" fmla="*/ 785 w 1698"/>
                <a:gd name="T7" fmla="*/ 1 h 1496"/>
                <a:gd name="T8" fmla="*/ 1128 w 1698"/>
                <a:gd name="T9" fmla="*/ 53 h 1496"/>
                <a:gd name="T10" fmla="*/ 1414 w 1698"/>
                <a:gd name="T11" fmla="*/ 226 h 1496"/>
                <a:gd name="T12" fmla="*/ 1612 w 1698"/>
                <a:gd name="T13" fmla="*/ 493 h 1496"/>
                <a:gd name="T14" fmla="*/ 1697 w 1698"/>
                <a:gd name="T15" fmla="*/ 824 h 1496"/>
                <a:gd name="T16" fmla="*/ 1684 w 1698"/>
                <a:gd name="T17" fmla="*/ 1026 h 1496"/>
                <a:gd name="T18" fmla="*/ 1566 w 1698"/>
                <a:gd name="T19" fmla="*/ 1331 h 1496"/>
                <a:gd name="T20" fmla="*/ 1484 w 1698"/>
                <a:gd name="T21" fmla="*/ 1429 h 1496"/>
                <a:gd name="T22" fmla="*/ 1579 w 1698"/>
                <a:gd name="T23" fmla="*/ 1218 h 1496"/>
                <a:gd name="T24" fmla="*/ 1590 w 1698"/>
                <a:gd name="T25" fmla="*/ 981 h 1496"/>
                <a:gd name="T26" fmla="*/ 1521 w 1698"/>
                <a:gd name="T27" fmla="*/ 768 h 1496"/>
                <a:gd name="T28" fmla="*/ 1400 w 1698"/>
                <a:gd name="T29" fmla="*/ 558 h 1496"/>
                <a:gd name="T30" fmla="*/ 1217 w 1698"/>
                <a:gd name="T31" fmla="*/ 348 h 1496"/>
                <a:gd name="T32" fmla="*/ 979 w 1698"/>
                <a:gd name="T33" fmla="*/ 237 h 1496"/>
                <a:gd name="T34" fmla="*/ 728 w 1698"/>
                <a:gd name="T35" fmla="*/ 228 h 1496"/>
                <a:gd name="T36" fmla="*/ 482 w 1698"/>
                <a:gd name="T37" fmla="*/ 320 h 1496"/>
                <a:gd name="T38" fmla="*/ 342 w 1698"/>
                <a:gd name="T39" fmla="*/ 438 h 1496"/>
                <a:gd name="T40" fmla="*/ 246 w 1698"/>
                <a:gd name="T41" fmla="*/ 622 h 1496"/>
                <a:gd name="T42" fmla="*/ 246 w 1698"/>
                <a:gd name="T43" fmla="*/ 804 h 1496"/>
                <a:gd name="T44" fmla="*/ 303 w 1698"/>
                <a:gd name="T45" fmla="*/ 935 h 1496"/>
                <a:gd name="T46" fmla="*/ 433 w 1698"/>
                <a:gd name="T47" fmla="*/ 1061 h 1496"/>
                <a:gd name="T48" fmla="*/ 598 w 1698"/>
                <a:gd name="T49" fmla="*/ 1115 h 1496"/>
                <a:gd name="T50" fmla="*/ 746 w 1698"/>
                <a:gd name="T51" fmla="*/ 1104 h 1496"/>
                <a:gd name="T52" fmla="*/ 893 w 1698"/>
                <a:gd name="T53" fmla="*/ 1030 h 1496"/>
                <a:gd name="T54" fmla="*/ 966 w 1698"/>
                <a:gd name="T55" fmla="*/ 953 h 1496"/>
                <a:gd name="T56" fmla="*/ 974 w 1698"/>
                <a:gd name="T57" fmla="*/ 940 h 1496"/>
                <a:gd name="T58" fmla="*/ 980 w 1698"/>
                <a:gd name="T59" fmla="*/ 926 h 1496"/>
                <a:gd name="T60" fmla="*/ 988 w 1698"/>
                <a:gd name="T61" fmla="*/ 897 h 1496"/>
                <a:gd name="T62" fmla="*/ 989 w 1698"/>
                <a:gd name="T63" fmla="*/ 853 h 1496"/>
                <a:gd name="T64" fmla="*/ 931 w 1698"/>
                <a:gd name="T65" fmla="*/ 745 h 1496"/>
                <a:gd name="T66" fmla="*/ 816 w 1698"/>
                <a:gd name="T67" fmla="*/ 709 h 1496"/>
                <a:gd name="T68" fmla="*/ 728 w 1698"/>
                <a:gd name="T69" fmla="*/ 745 h 1496"/>
                <a:gd name="T70" fmla="*/ 753 w 1698"/>
                <a:gd name="T71" fmla="*/ 724 h 1496"/>
                <a:gd name="T72" fmla="*/ 761 w 1698"/>
                <a:gd name="T73" fmla="*/ 718 h 1496"/>
                <a:gd name="T74" fmla="*/ 775 w 1698"/>
                <a:gd name="T75" fmla="*/ 710 h 1496"/>
                <a:gd name="T76" fmla="*/ 781 w 1698"/>
                <a:gd name="T77" fmla="*/ 707 h 1496"/>
                <a:gd name="T78" fmla="*/ 800 w 1698"/>
                <a:gd name="T79" fmla="*/ 697 h 1496"/>
                <a:gd name="T80" fmla="*/ 816 w 1698"/>
                <a:gd name="T81" fmla="*/ 688 h 1496"/>
                <a:gd name="T82" fmla="*/ 835 w 1698"/>
                <a:gd name="T83" fmla="*/ 680 h 1496"/>
                <a:gd name="T84" fmla="*/ 853 w 1698"/>
                <a:gd name="T85" fmla="*/ 673 h 1496"/>
                <a:gd name="T86" fmla="*/ 872 w 1698"/>
                <a:gd name="T87" fmla="*/ 668 h 1496"/>
                <a:gd name="T88" fmla="*/ 923 w 1698"/>
                <a:gd name="T89" fmla="*/ 656 h 1496"/>
                <a:gd name="T90" fmla="*/ 1014 w 1698"/>
                <a:gd name="T91" fmla="*/ 653 h 1496"/>
                <a:gd name="T92" fmla="*/ 1156 w 1698"/>
                <a:gd name="T93" fmla="*/ 690 h 1496"/>
                <a:gd name="T94" fmla="*/ 1220 w 1698"/>
                <a:gd name="T95" fmla="*/ 805 h 1496"/>
                <a:gd name="T96" fmla="*/ 1208 w 1698"/>
                <a:gd name="T97" fmla="*/ 985 h 1496"/>
                <a:gd name="T98" fmla="*/ 1089 w 1698"/>
                <a:gd name="T99" fmla="*/ 1170 h 1496"/>
                <a:gd name="T100" fmla="*/ 907 w 1698"/>
                <a:gd name="T101" fmla="*/ 1301 h 1496"/>
                <a:gd name="T102" fmla="*/ 703 w 1698"/>
                <a:gd name="T103" fmla="*/ 1357 h 1496"/>
                <a:gd name="T104" fmla="*/ 488 w 1698"/>
                <a:gd name="T105" fmla="*/ 1341 h 1496"/>
                <a:gd name="T106" fmla="*/ 331 w 1698"/>
                <a:gd name="T107" fmla="*/ 1284 h 1496"/>
                <a:gd name="T108" fmla="*/ 196 w 1698"/>
                <a:gd name="T109" fmla="*/ 1186 h 1496"/>
                <a:gd name="T110" fmla="*/ 92 w 1698"/>
                <a:gd name="T111" fmla="*/ 1056 h 1496"/>
                <a:gd name="T112" fmla="*/ 23 w 1698"/>
                <a:gd name="T113" fmla="*/ 901 h 1496"/>
                <a:gd name="T114" fmla="*/ 0 w 1698"/>
                <a:gd name="T115" fmla="*/ 729 h 1496"/>
                <a:gd name="T116" fmla="*/ 42 w 1698"/>
                <a:gd name="T117" fmla="*/ 503 h 1496"/>
                <a:gd name="T118" fmla="*/ 79 w 1698"/>
                <a:gd name="T119" fmla="*/ 432 h 1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98" h="1496">
                  <a:moveTo>
                    <a:pt x="100" y="398"/>
                  </a:moveTo>
                  <a:lnTo>
                    <a:pt x="110" y="382"/>
                  </a:lnTo>
                  <a:lnTo>
                    <a:pt x="122" y="366"/>
                  </a:lnTo>
                  <a:lnTo>
                    <a:pt x="133" y="349"/>
                  </a:lnTo>
                  <a:lnTo>
                    <a:pt x="145" y="333"/>
                  </a:lnTo>
                  <a:lnTo>
                    <a:pt x="152" y="326"/>
                  </a:lnTo>
                  <a:lnTo>
                    <a:pt x="158" y="318"/>
                  </a:lnTo>
                  <a:lnTo>
                    <a:pt x="170" y="303"/>
                  </a:lnTo>
                  <a:lnTo>
                    <a:pt x="183" y="288"/>
                  </a:lnTo>
                  <a:lnTo>
                    <a:pt x="197" y="274"/>
                  </a:lnTo>
                  <a:lnTo>
                    <a:pt x="211" y="259"/>
                  </a:lnTo>
                  <a:lnTo>
                    <a:pt x="218" y="252"/>
                  </a:lnTo>
                  <a:lnTo>
                    <a:pt x="225" y="246"/>
                  </a:lnTo>
                  <a:lnTo>
                    <a:pt x="225" y="245"/>
                  </a:lnTo>
                  <a:lnTo>
                    <a:pt x="225" y="245"/>
                  </a:lnTo>
                  <a:lnTo>
                    <a:pt x="225" y="245"/>
                  </a:lnTo>
                  <a:lnTo>
                    <a:pt x="225" y="245"/>
                  </a:lnTo>
                  <a:lnTo>
                    <a:pt x="255" y="217"/>
                  </a:lnTo>
                  <a:lnTo>
                    <a:pt x="286" y="191"/>
                  </a:lnTo>
                  <a:lnTo>
                    <a:pt x="319" y="167"/>
                  </a:lnTo>
                  <a:lnTo>
                    <a:pt x="352" y="143"/>
                  </a:lnTo>
                  <a:lnTo>
                    <a:pt x="387" y="121"/>
                  </a:lnTo>
                  <a:lnTo>
                    <a:pt x="423" y="102"/>
                  </a:lnTo>
                  <a:lnTo>
                    <a:pt x="460" y="83"/>
                  </a:lnTo>
                  <a:lnTo>
                    <a:pt x="498" y="66"/>
                  </a:lnTo>
                  <a:lnTo>
                    <a:pt x="536" y="51"/>
                  </a:lnTo>
                  <a:lnTo>
                    <a:pt x="576" y="38"/>
                  </a:lnTo>
                  <a:lnTo>
                    <a:pt x="616" y="27"/>
                  </a:lnTo>
                  <a:lnTo>
                    <a:pt x="658" y="17"/>
                  </a:lnTo>
                  <a:lnTo>
                    <a:pt x="700" y="10"/>
                  </a:lnTo>
                  <a:lnTo>
                    <a:pt x="743" y="5"/>
                  </a:lnTo>
                  <a:lnTo>
                    <a:pt x="785" y="1"/>
                  </a:lnTo>
                  <a:lnTo>
                    <a:pt x="829" y="0"/>
                  </a:lnTo>
                  <a:lnTo>
                    <a:pt x="875" y="1"/>
                  </a:lnTo>
                  <a:lnTo>
                    <a:pt x="919" y="5"/>
                  </a:lnTo>
                  <a:lnTo>
                    <a:pt x="961" y="10"/>
                  </a:lnTo>
                  <a:lnTo>
                    <a:pt x="1004" y="18"/>
                  </a:lnTo>
                  <a:lnTo>
                    <a:pt x="1047" y="28"/>
                  </a:lnTo>
                  <a:lnTo>
                    <a:pt x="1088" y="39"/>
                  </a:lnTo>
                  <a:lnTo>
                    <a:pt x="1128" y="53"/>
                  </a:lnTo>
                  <a:lnTo>
                    <a:pt x="1168" y="68"/>
                  </a:lnTo>
                  <a:lnTo>
                    <a:pt x="1206" y="86"/>
                  </a:lnTo>
                  <a:lnTo>
                    <a:pt x="1244" y="105"/>
                  </a:lnTo>
                  <a:lnTo>
                    <a:pt x="1280" y="126"/>
                  </a:lnTo>
                  <a:lnTo>
                    <a:pt x="1316" y="149"/>
                  </a:lnTo>
                  <a:lnTo>
                    <a:pt x="1349" y="173"/>
                  </a:lnTo>
                  <a:lnTo>
                    <a:pt x="1382" y="199"/>
                  </a:lnTo>
                  <a:lnTo>
                    <a:pt x="1414" y="226"/>
                  </a:lnTo>
                  <a:lnTo>
                    <a:pt x="1444" y="254"/>
                  </a:lnTo>
                  <a:lnTo>
                    <a:pt x="1473" y="285"/>
                  </a:lnTo>
                  <a:lnTo>
                    <a:pt x="1500" y="317"/>
                  </a:lnTo>
                  <a:lnTo>
                    <a:pt x="1525" y="349"/>
                  </a:lnTo>
                  <a:lnTo>
                    <a:pt x="1550" y="383"/>
                  </a:lnTo>
                  <a:lnTo>
                    <a:pt x="1573" y="419"/>
                  </a:lnTo>
                  <a:lnTo>
                    <a:pt x="1594" y="455"/>
                  </a:lnTo>
                  <a:lnTo>
                    <a:pt x="1612" y="493"/>
                  </a:lnTo>
                  <a:lnTo>
                    <a:pt x="1631" y="531"/>
                  </a:lnTo>
                  <a:lnTo>
                    <a:pt x="1646" y="570"/>
                  </a:lnTo>
                  <a:lnTo>
                    <a:pt x="1660" y="611"/>
                  </a:lnTo>
                  <a:lnTo>
                    <a:pt x="1671" y="651"/>
                  </a:lnTo>
                  <a:lnTo>
                    <a:pt x="1681" y="694"/>
                  </a:lnTo>
                  <a:lnTo>
                    <a:pt x="1689" y="737"/>
                  </a:lnTo>
                  <a:lnTo>
                    <a:pt x="1695" y="780"/>
                  </a:lnTo>
                  <a:lnTo>
                    <a:pt x="1697" y="824"/>
                  </a:lnTo>
                  <a:lnTo>
                    <a:pt x="1698" y="869"/>
                  </a:lnTo>
                  <a:lnTo>
                    <a:pt x="1698" y="892"/>
                  </a:lnTo>
                  <a:lnTo>
                    <a:pt x="1697" y="915"/>
                  </a:lnTo>
                  <a:lnTo>
                    <a:pt x="1696" y="937"/>
                  </a:lnTo>
                  <a:lnTo>
                    <a:pt x="1693" y="960"/>
                  </a:lnTo>
                  <a:lnTo>
                    <a:pt x="1691" y="982"/>
                  </a:lnTo>
                  <a:lnTo>
                    <a:pt x="1688" y="1004"/>
                  </a:lnTo>
                  <a:lnTo>
                    <a:pt x="1684" y="1026"/>
                  </a:lnTo>
                  <a:lnTo>
                    <a:pt x="1679" y="1048"/>
                  </a:lnTo>
                  <a:lnTo>
                    <a:pt x="1669" y="1092"/>
                  </a:lnTo>
                  <a:lnTo>
                    <a:pt x="1657" y="1134"/>
                  </a:lnTo>
                  <a:lnTo>
                    <a:pt x="1642" y="1176"/>
                  </a:lnTo>
                  <a:lnTo>
                    <a:pt x="1626" y="1216"/>
                  </a:lnTo>
                  <a:lnTo>
                    <a:pt x="1608" y="1255"/>
                  </a:lnTo>
                  <a:lnTo>
                    <a:pt x="1588" y="1294"/>
                  </a:lnTo>
                  <a:lnTo>
                    <a:pt x="1566" y="1331"/>
                  </a:lnTo>
                  <a:lnTo>
                    <a:pt x="1542" y="1367"/>
                  </a:lnTo>
                  <a:lnTo>
                    <a:pt x="1516" y="1401"/>
                  </a:lnTo>
                  <a:lnTo>
                    <a:pt x="1490" y="1434"/>
                  </a:lnTo>
                  <a:lnTo>
                    <a:pt x="1461" y="1466"/>
                  </a:lnTo>
                  <a:lnTo>
                    <a:pt x="1430" y="1496"/>
                  </a:lnTo>
                  <a:lnTo>
                    <a:pt x="1449" y="1474"/>
                  </a:lnTo>
                  <a:lnTo>
                    <a:pt x="1468" y="1452"/>
                  </a:lnTo>
                  <a:lnTo>
                    <a:pt x="1484" y="1429"/>
                  </a:lnTo>
                  <a:lnTo>
                    <a:pt x="1500" y="1405"/>
                  </a:lnTo>
                  <a:lnTo>
                    <a:pt x="1515" y="1380"/>
                  </a:lnTo>
                  <a:lnTo>
                    <a:pt x="1528" y="1355"/>
                  </a:lnTo>
                  <a:lnTo>
                    <a:pt x="1540" y="1328"/>
                  </a:lnTo>
                  <a:lnTo>
                    <a:pt x="1552" y="1302"/>
                  </a:lnTo>
                  <a:lnTo>
                    <a:pt x="1562" y="1275"/>
                  </a:lnTo>
                  <a:lnTo>
                    <a:pt x="1571" y="1246"/>
                  </a:lnTo>
                  <a:lnTo>
                    <a:pt x="1579" y="1218"/>
                  </a:lnTo>
                  <a:lnTo>
                    <a:pt x="1584" y="1189"/>
                  </a:lnTo>
                  <a:lnTo>
                    <a:pt x="1590" y="1159"/>
                  </a:lnTo>
                  <a:lnTo>
                    <a:pt x="1594" y="1129"/>
                  </a:lnTo>
                  <a:lnTo>
                    <a:pt x="1596" y="1099"/>
                  </a:lnTo>
                  <a:lnTo>
                    <a:pt x="1596" y="1069"/>
                  </a:lnTo>
                  <a:lnTo>
                    <a:pt x="1596" y="1039"/>
                  </a:lnTo>
                  <a:lnTo>
                    <a:pt x="1594" y="1010"/>
                  </a:lnTo>
                  <a:lnTo>
                    <a:pt x="1590" y="981"/>
                  </a:lnTo>
                  <a:lnTo>
                    <a:pt x="1586" y="953"/>
                  </a:lnTo>
                  <a:lnTo>
                    <a:pt x="1580" y="926"/>
                  </a:lnTo>
                  <a:lnTo>
                    <a:pt x="1573" y="898"/>
                  </a:lnTo>
                  <a:lnTo>
                    <a:pt x="1565" y="871"/>
                  </a:lnTo>
                  <a:lnTo>
                    <a:pt x="1556" y="845"/>
                  </a:lnTo>
                  <a:lnTo>
                    <a:pt x="1545" y="818"/>
                  </a:lnTo>
                  <a:lnTo>
                    <a:pt x="1534" y="794"/>
                  </a:lnTo>
                  <a:lnTo>
                    <a:pt x="1521" y="768"/>
                  </a:lnTo>
                  <a:lnTo>
                    <a:pt x="1507" y="745"/>
                  </a:lnTo>
                  <a:lnTo>
                    <a:pt x="1493" y="721"/>
                  </a:lnTo>
                  <a:lnTo>
                    <a:pt x="1477" y="699"/>
                  </a:lnTo>
                  <a:lnTo>
                    <a:pt x="1461" y="677"/>
                  </a:lnTo>
                  <a:lnTo>
                    <a:pt x="1443" y="655"/>
                  </a:lnTo>
                  <a:lnTo>
                    <a:pt x="1430" y="622"/>
                  </a:lnTo>
                  <a:lnTo>
                    <a:pt x="1417" y="590"/>
                  </a:lnTo>
                  <a:lnTo>
                    <a:pt x="1400" y="558"/>
                  </a:lnTo>
                  <a:lnTo>
                    <a:pt x="1382" y="528"/>
                  </a:lnTo>
                  <a:lnTo>
                    <a:pt x="1363" y="499"/>
                  </a:lnTo>
                  <a:lnTo>
                    <a:pt x="1342" y="470"/>
                  </a:lnTo>
                  <a:lnTo>
                    <a:pt x="1320" y="443"/>
                  </a:lnTo>
                  <a:lnTo>
                    <a:pt x="1296" y="418"/>
                  </a:lnTo>
                  <a:lnTo>
                    <a:pt x="1272" y="393"/>
                  </a:lnTo>
                  <a:lnTo>
                    <a:pt x="1245" y="370"/>
                  </a:lnTo>
                  <a:lnTo>
                    <a:pt x="1217" y="348"/>
                  </a:lnTo>
                  <a:lnTo>
                    <a:pt x="1188" y="327"/>
                  </a:lnTo>
                  <a:lnTo>
                    <a:pt x="1159" y="309"/>
                  </a:lnTo>
                  <a:lnTo>
                    <a:pt x="1128" y="293"/>
                  </a:lnTo>
                  <a:lnTo>
                    <a:pt x="1096" y="276"/>
                  </a:lnTo>
                  <a:lnTo>
                    <a:pt x="1063" y="263"/>
                  </a:lnTo>
                  <a:lnTo>
                    <a:pt x="1036" y="253"/>
                  </a:lnTo>
                  <a:lnTo>
                    <a:pt x="1008" y="244"/>
                  </a:lnTo>
                  <a:lnTo>
                    <a:pt x="979" y="237"/>
                  </a:lnTo>
                  <a:lnTo>
                    <a:pt x="950" y="231"/>
                  </a:lnTo>
                  <a:lnTo>
                    <a:pt x="921" y="226"/>
                  </a:lnTo>
                  <a:lnTo>
                    <a:pt x="891" y="222"/>
                  </a:lnTo>
                  <a:lnTo>
                    <a:pt x="861" y="221"/>
                  </a:lnTo>
                  <a:lnTo>
                    <a:pt x="829" y="220"/>
                  </a:lnTo>
                  <a:lnTo>
                    <a:pt x="795" y="221"/>
                  </a:lnTo>
                  <a:lnTo>
                    <a:pt x="761" y="223"/>
                  </a:lnTo>
                  <a:lnTo>
                    <a:pt x="728" y="228"/>
                  </a:lnTo>
                  <a:lnTo>
                    <a:pt x="694" y="234"/>
                  </a:lnTo>
                  <a:lnTo>
                    <a:pt x="662" y="242"/>
                  </a:lnTo>
                  <a:lnTo>
                    <a:pt x="630" y="251"/>
                  </a:lnTo>
                  <a:lnTo>
                    <a:pt x="599" y="261"/>
                  </a:lnTo>
                  <a:lnTo>
                    <a:pt x="569" y="274"/>
                  </a:lnTo>
                  <a:lnTo>
                    <a:pt x="539" y="288"/>
                  </a:lnTo>
                  <a:lnTo>
                    <a:pt x="510" y="303"/>
                  </a:lnTo>
                  <a:lnTo>
                    <a:pt x="482" y="320"/>
                  </a:lnTo>
                  <a:lnTo>
                    <a:pt x="455" y="338"/>
                  </a:lnTo>
                  <a:lnTo>
                    <a:pt x="430" y="357"/>
                  </a:lnTo>
                  <a:lnTo>
                    <a:pt x="404" y="378"/>
                  </a:lnTo>
                  <a:lnTo>
                    <a:pt x="380" y="400"/>
                  </a:lnTo>
                  <a:lnTo>
                    <a:pt x="358" y="422"/>
                  </a:lnTo>
                  <a:lnTo>
                    <a:pt x="357" y="423"/>
                  </a:lnTo>
                  <a:lnTo>
                    <a:pt x="357" y="423"/>
                  </a:lnTo>
                  <a:lnTo>
                    <a:pt x="342" y="438"/>
                  </a:lnTo>
                  <a:lnTo>
                    <a:pt x="328" y="455"/>
                  </a:lnTo>
                  <a:lnTo>
                    <a:pt x="315" y="472"/>
                  </a:lnTo>
                  <a:lnTo>
                    <a:pt x="303" y="489"/>
                  </a:lnTo>
                  <a:lnTo>
                    <a:pt x="287" y="514"/>
                  </a:lnTo>
                  <a:lnTo>
                    <a:pt x="275" y="540"/>
                  </a:lnTo>
                  <a:lnTo>
                    <a:pt x="263" y="567"/>
                  </a:lnTo>
                  <a:lnTo>
                    <a:pt x="253" y="595"/>
                  </a:lnTo>
                  <a:lnTo>
                    <a:pt x="246" y="622"/>
                  </a:lnTo>
                  <a:lnTo>
                    <a:pt x="240" y="651"/>
                  </a:lnTo>
                  <a:lnTo>
                    <a:pt x="237" y="681"/>
                  </a:lnTo>
                  <a:lnTo>
                    <a:pt x="235" y="713"/>
                  </a:lnTo>
                  <a:lnTo>
                    <a:pt x="237" y="731"/>
                  </a:lnTo>
                  <a:lnTo>
                    <a:pt x="238" y="750"/>
                  </a:lnTo>
                  <a:lnTo>
                    <a:pt x="240" y="768"/>
                  </a:lnTo>
                  <a:lnTo>
                    <a:pt x="242" y="787"/>
                  </a:lnTo>
                  <a:lnTo>
                    <a:pt x="246" y="804"/>
                  </a:lnTo>
                  <a:lnTo>
                    <a:pt x="250" y="823"/>
                  </a:lnTo>
                  <a:lnTo>
                    <a:pt x="256" y="839"/>
                  </a:lnTo>
                  <a:lnTo>
                    <a:pt x="262" y="856"/>
                  </a:lnTo>
                  <a:lnTo>
                    <a:pt x="269" y="872"/>
                  </a:lnTo>
                  <a:lnTo>
                    <a:pt x="276" y="889"/>
                  </a:lnTo>
                  <a:lnTo>
                    <a:pt x="284" y="905"/>
                  </a:lnTo>
                  <a:lnTo>
                    <a:pt x="293" y="920"/>
                  </a:lnTo>
                  <a:lnTo>
                    <a:pt x="303" y="935"/>
                  </a:lnTo>
                  <a:lnTo>
                    <a:pt x="313" y="950"/>
                  </a:lnTo>
                  <a:lnTo>
                    <a:pt x="323" y="964"/>
                  </a:lnTo>
                  <a:lnTo>
                    <a:pt x="335" y="978"/>
                  </a:lnTo>
                  <a:lnTo>
                    <a:pt x="352" y="996"/>
                  </a:lnTo>
                  <a:lnTo>
                    <a:pt x="371" y="1015"/>
                  </a:lnTo>
                  <a:lnTo>
                    <a:pt x="391" y="1031"/>
                  </a:lnTo>
                  <a:lnTo>
                    <a:pt x="411" y="1046"/>
                  </a:lnTo>
                  <a:lnTo>
                    <a:pt x="433" y="1061"/>
                  </a:lnTo>
                  <a:lnTo>
                    <a:pt x="457" y="1074"/>
                  </a:lnTo>
                  <a:lnTo>
                    <a:pt x="481" y="1084"/>
                  </a:lnTo>
                  <a:lnTo>
                    <a:pt x="505" y="1095"/>
                  </a:lnTo>
                  <a:lnTo>
                    <a:pt x="524" y="1100"/>
                  </a:lnTo>
                  <a:lnTo>
                    <a:pt x="543" y="1106"/>
                  </a:lnTo>
                  <a:lnTo>
                    <a:pt x="563" y="1110"/>
                  </a:lnTo>
                  <a:lnTo>
                    <a:pt x="584" y="1113"/>
                  </a:lnTo>
                  <a:lnTo>
                    <a:pt x="598" y="1115"/>
                  </a:lnTo>
                  <a:lnTo>
                    <a:pt x="612" y="1117"/>
                  </a:lnTo>
                  <a:lnTo>
                    <a:pt x="627" y="1117"/>
                  </a:lnTo>
                  <a:lnTo>
                    <a:pt x="641" y="1118"/>
                  </a:lnTo>
                  <a:lnTo>
                    <a:pt x="663" y="1117"/>
                  </a:lnTo>
                  <a:lnTo>
                    <a:pt x="684" y="1115"/>
                  </a:lnTo>
                  <a:lnTo>
                    <a:pt x="706" y="1112"/>
                  </a:lnTo>
                  <a:lnTo>
                    <a:pt x="726" y="1108"/>
                  </a:lnTo>
                  <a:lnTo>
                    <a:pt x="746" y="1104"/>
                  </a:lnTo>
                  <a:lnTo>
                    <a:pt x="767" y="1097"/>
                  </a:lnTo>
                  <a:lnTo>
                    <a:pt x="787" y="1090"/>
                  </a:lnTo>
                  <a:lnTo>
                    <a:pt x="805" y="1083"/>
                  </a:lnTo>
                  <a:lnTo>
                    <a:pt x="824" y="1074"/>
                  </a:lnTo>
                  <a:lnTo>
                    <a:pt x="842" y="1064"/>
                  </a:lnTo>
                  <a:lnTo>
                    <a:pt x="860" y="1053"/>
                  </a:lnTo>
                  <a:lnTo>
                    <a:pt x="877" y="1041"/>
                  </a:lnTo>
                  <a:lnTo>
                    <a:pt x="893" y="1030"/>
                  </a:lnTo>
                  <a:lnTo>
                    <a:pt x="908" y="1016"/>
                  </a:lnTo>
                  <a:lnTo>
                    <a:pt x="923" y="1002"/>
                  </a:lnTo>
                  <a:lnTo>
                    <a:pt x="937" y="988"/>
                  </a:lnTo>
                  <a:lnTo>
                    <a:pt x="945" y="980"/>
                  </a:lnTo>
                  <a:lnTo>
                    <a:pt x="953" y="972"/>
                  </a:lnTo>
                  <a:lnTo>
                    <a:pt x="960" y="963"/>
                  </a:lnTo>
                  <a:lnTo>
                    <a:pt x="966" y="953"/>
                  </a:lnTo>
                  <a:lnTo>
                    <a:pt x="966" y="953"/>
                  </a:lnTo>
                  <a:lnTo>
                    <a:pt x="967" y="952"/>
                  </a:lnTo>
                  <a:lnTo>
                    <a:pt x="968" y="950"/>
                  </a:lnTo>
                  <a:lnTo>
                    <a:pt x="970" y="949"/>
                  </a:lnTo>
                  <a:lnTo>
                    <a:pt x="971" y="946"/>
                  </a:lnTo>
                  <a:lnTo>
                    <a:pt x="972" y="945"/>
                  </a:lnTo>
                  <a:lnTo>
                    <a:pt x="972" y="943"/>
                  </a:lnTo>
                  <a:lnTo>
                    <a:pt x="973" y="942"/>
                  </a:lnTo>
                  <a:lnTo>
                    <a:pt x="974" y="940"/>
                  </a:lnTo>
                  <a:lnTo>
                    <a:pt x="974" y="938"/>
                  </a:lnTo>
                  <a:lnTo>
                    <a:pt x="975" y="936"/>
                  </a:lnTo>
                  <a:lnTo>
                    <a:pt x="977" y="934"/>
                  </a:lnTo>
                  <a:lnTo>
                    <a:pt x="978" y="931"/>
                  </a:lnTo>
                  <a:lnTo>
                    <a:pt x="979" y="929"/>
                  </a:lnTo>
                  <a:lnTo>
                    <a:pt x="979" y="928"/>
                  </a:lnTo>
                  <a:lnTo>
                    <a:pt x="979" y="928"/>
                  </a:lnTo>
                  <a:lnTo>
                    <a:pt x="980" y="926"/>
                  </a:lnTo>
                  <a:lnTo>
                    <a:pt x="981" y="923"/>
                  </a:lnTo>
                  <a:lnTo>
                    <a:pt x="981" y="921"/>
                  </a:lnTo>
                  <a:lnTo>
                    <a:pt x="982" y="919"/>
                  </a:lnTo>
                  <a:lnTo>
                    <a:pt x="983" y="916"/>
                  </a:lnTo>
                  <a:lnTo>
                    <a:pt x="985" y="913"/>
                  </a:lnTo>
                  <a:lnTo>
                    <a:pt x="986" y="907"/>
                  </a:lnTo>
                  <a:lnTo>
                    <a:pt x="987" y="901"/>
                  </a:lnTo>
                  <a:lnTo>
                    <a:pt x="988" y="897"/>
                  </a:lnTo>
                  <a:lnTo>
                    <a:pt x="989" y="892"/>
                  </a:lnTo>
                  <a:lnTo>
                    <a:pt x="989" y="886"/>
                  </a:lnTo>
                  <a:lnTo>
                    <a:pt x="990" y="880"/>
                  </a:lnTo>
                  <a:lnTo>
                    <a:pt x="990" y="878"/>
                  </a:lnTo>
                  <a:lnTo>
                    <a:pt x="990" y="876"/>
                  </a:lnTo>
                  <a:lnTo>
                    <a:pt x="990" y="872"/>
                  </a:lnTo>
                  <a:lnTo>
                    <a:pt x="990" y="869"/>
                  </a:lnTo>
                  <a:lnTo>
                    <a:pt x="989" y="853"/>
                  </a:lnTo>
                  <a:lnTo>
                    <a:pt x="987" y="837"/>
                  </a:lnTo>
                  <a:lnTo>
                    <a:pt x="983" y="821"/>
                  </a:lnTo>
                  <a:lnTo>
                    <a:pt x="978" y="806"/>
                  </a:lnTo>
                  <a:lnTo>
                    <a:pt x="971" y="793"/>
                  </a:lnTo>
                  <a:lnTo>
                    <a:pt x="963" y="779"/>
                  </a:lnTo>
                  <a:lnTo>
                    <a:pt x="953" y="767"/>
                  </a:lnTo>
                  <a:lnTo>
                    <a:pt x="943" y="756"/>
                  </a:lnTo>
                  <a:lnTo>
                    <a:pt x="931" y="745"/>
                  </a:lnTo>
                  <a:lnTo>
                    <a:pt x="920" y="736"/>
                  </a:lnTo>
                  <a:lnTo>
                    <a:pt x="906" y="728"/>
                  </a:lnTo>
                  <a:lnTo>
                    <a:pt x="892" y="721"/>
                  </a:lnTo>
                  <a:lnTo>
                    <a:pt x="877" y="715"/>
                  </a:lnTo>
                  <a:lnTo>
                    <a:pt x="862" y="712"/>
                  </a:lnTo>
                  <a:lnTo>
                    <a:pt x="846" y="709"/>
                  </a:lnTo>
                  <a:lnTo>
                    <a:pt x="829" y="708"/>
                  </a:lnTo>
                  <a:lnTo>
                    <a:pt x="816" y="709"/>
                  </a:lnTo>
                  <a:lnTo>
                    <a:pt x="802" y="710"/>
                  </a:lnTo>
                  <a:lnTo>
                    <a:pt x="788" y="714"/>
                  </a:lnTo>
                  <a:lnTo>
                    <a:pt x="774" y="718"/>
                  </a:lnTo>
                  <a:lnTo>
                    <a:pt x="762" y="723"/>
                  </a:lnTo>
                  <a:lnTo>
                    <a:pt x="750" y="729"/>
                  </a:lnTo>
                  <a:lnTo>
                    <a:pt x="738" y="737"/>
                  </a:lnTo>
                  <a:lnTo>
                    <a:pt x="728" y="745"/>
                  </a:lnTo>
                  <a:lnTo>
                    <a:pt x="728" y="745"/>
                  </a:lnTo>
                  <a:lnTo>
                    <a:pt x="731" y="740"/>
                  </a:lnTo>
                  <a:lnTo>
                    <a:pt x="736" y="737"/>
                  </a:lnTo>
                  <a:lnTo>
                    <a:pt x="739" y="735"/>
                  </a:lnTo>
                  <a:lnTo>
                    <a:pt x="741" y="732"/>
                  </a:lnTo>
                  <a:lnTo>
                    <a:pt x="747" y="729"/>
                  </a:lnTo>
                  <a:lnTo>
                    <a:pt x="752" y="725"/>
                  </a:lnTo>
                  <a:lnTo>
                    <a:pt x="753" y="724"/>
                  </a:lnTo>
                  <a:lnTo>
                    <a:pt x="753" y="724"/>
                  </a:lnTo>
                  <a:lnTo>
                    <a:pt x="754" y="724"/>
                  </a:lnTo>
                  <a:lnTo>
                    <a:pt x="754" y="723"/>
                  </a:lnTo>
                  <a:lnTo>
                    <a:pt x="756" y="722"/>
                  </a:lnTo>
                  <a:lnTo>
                    <a:pt x="759" y="721"/>
                  </a:lnTo>
                  <a:lnTo>
                    <a:pt x="760" y="720"/>
                  </a:lnTo>
                  <a:lnTo>
                    <a:pt x="760" y="720"/>
                  </a:lnTo>
                  <a:lnTo>
                    <a:pt x="761" y="720"/>
                  </a:lnTo>
                  <a:lnTo>
                    <a:pt x="761" y="718"/>
                  </a:lnTo>
                  <a:lnTo>
                    <a:pt x="762" y="718"/>
                  </a:lnTo>
                  <a:lnTo>
                    <a:pt x="762" y="718"/>
                  </a:lnTo>
                  <a:lnTo>
                    <a:pt x="765" y="717"/>
                  </a:lnTo>
                  <a:lnTo>
                    <a:pt x="767" y="715"/>
                  </a:lnTo>
                  <a:lnTo>
                    <a:pt x="769" y="714"/>
                  </a:lnTo>
                  <a:lnTo>
                    <a:pt x="770" y="713"/>
                  </a:lnTo>
                  <a:lnTo>
                    <a:pt x="773" y="712"/>
                  </a:lnTo>
                  <a:lnTo>
                    <a:pt x="775" y="710"/>
                  </a:lnTo>
                  <a:lnTo>
                    <a:pt x="776" y="709"/>
                  </a:lnTo>
                  <a:lnTo>
                    <a:pt x="777" y="709"/>
                  </a:lnTo>
                  <a:lnTo>
                    <a:pt x="777" y="709"/>
                  </a:lnTo>
                  <a:lnTo>
                    <a:pt x="777" y="708"/>
                  </a:lnTo>
                  <a:lnTo>
                    <a:pt x="778" y="708"/>
                  </a:lnTo>
                  <a:lnTo>
                    <a:pt x="780" y="708"/>
                  </a:lnTo>
                  <a:lnTo>
                    <a:pt x="781" y="707"/>
                  </a:lnTo>
                  <a:lnTo>
                    <a:pt x="781" y="707"/>
                  </a:lnTo>
                  <a:lnTo>
                    <a:pt x="783" y="706"/>
                  </a:lnTo>
                  <a:lnTo>
                    <a:pt x="785" y="703"/>
                  </a:lnTo>
                  <a:lnTo>
                    <a:pt x="785" y="703"/>
                  </a:lnTo>
                  <a:lnTo>
                    <a:pt x="787" y="703"/>
                  </a:lnTo>
                  <a:lnTo>
                    <a:pt x="790" y="701"/>
                  </a:lnTo>
                  <a:lnTo>
                    <a:pt x="795" y="699"/>
                  </a:lnTo>
                  <a:lnTo>
                    <a:pt x="797" y="698"/>
                  </a:lnTo>
                  <a:lnTo>
                    <a:pt x="800" y="697"/>
                  </a:lnTo>
                  <a:lnTo>
                    <a:pt x="803" y="695"/>
                  </a:lnTo>
                  <a:lnTo>
                    <a:pt x="805" y="693"/>
                  </a:lnTo>
                  <a:lnTo>
                    <a:pt x="806" y="693"/>
                  </a:lnTo>
                  <a:lnTo>
                    <a:pt x="807" y="693"/>
                  </a:lnTo>
                  <a:lnTo>
                    <a:pt x="811" y="691"/>
                  </a:lnTo>
                  <a:lnTo>
                    <a:pt x="814" y="690"/>
                  </a:lnTo>
                  <a:lnTo>
                    <a:pt x="814" y="690"/>
                  </a:lnTo>
                  <a:lnTo>
                    <a:pt x="816" y="688"/>
                  </a:lnTo>
                  <a:lnTo>
                    <a:pt x="818" y="687"/>
                  </a:lnTo>
                  <a:lnTo>
                    <a:pt x="820" y="686"/>
                  </a:lnTo>
                  <a:lnTo>
                    <a:pt x="822" y="686"/>
                  </a:lnTo>
                  <a:lnTo>
                    <a:pt x="825" y="685"/>
                  </a:lnTo>
                  <a:lnTo>
                    <a:pt x="827" y="684"/>
                  </a:lnTo>
                  <a:lnTo>
                    <a:pt x="829" y="683"/>
                  </a:lnTo>
                  <a:lnTo>
                    <a:pt x="832" y="681"/>
                  </a:lnTo>
                  <a:lnTo>
                    <a:pt x="835" y="680"/>
                  </a:lnTo>
                  <a:lnTo>
                    <a:pt x="836" y="679"/>
                  </a:lnTo>
                  <a:lnTo>
                    <a:pt x="839" y="679"/>
                  </a:lnTo>
                  <a:lnTo>
                    <a:pt x="841" y="678"/>
                  </a:lnTo>
                  <a:lnTo>
                    <a:pt x="843" y="677"/>
                  </a:lnTo>
                  <a:lnTo>
                    <a:pt x="846" y="677"/>
                  </a:lnTo>
                  <a:lnTo>
                    <a:pt x="848" y="676"/>
                  </a:lnTo>
                  <a:lnTo>
                    <a:pt x="850" y="675"/>
                  </a:lnTo>
                  <a:lnTo>
                    <a:pt x="853" y="673"/>
                  </a:lnTo>
                  <a:lnTo>
                    <a:pt x="855" y="673"/>
                  </a:lnTo>
                  <a:lnTo>
                    <a:pt x="857" y="672"/>
                  </a:lnTo>
                  <a:lnTo>
                    <a:pt x="862" y="671"/>
                  </a:lnTo>
                  <a:lnTo>
                    <a:pt x="866" y="669"/>
                  </a:lnTo>
                  <a:lnTo>
                    <a:pt x="868" y="669"/>
                  </a:lnTo>
                  <a:lnTo>
                    <a:pt x="868" y="669"/>
                  </a:lnTo>
                  <a:lnTo>
                    <a:pt x="870" y="668"/>
                  </a:lnTo>
                  <a:lnTo>
                    <a:pt x="872" y="668"/>
                  </a:lnTo>
                  <a:lnTo>
                    <a:pt x="875" y="668"/>
                  </a:lnTo>
                  <a:lnTo>
                    <a:pt x="876" y="666"/>
                  </a:lnTo>
                  <a:lnTo>
                    <a:pt x="880" y="665"/>
                  </a:lnTo>
                  <a:lnTo>
                    <a:pt x="885" y="664"/>
                  </a:lnTo>
                  <a:lnTo>
                    <a:pt x="888" y="663"/>
                  </a:lnTo>
                  <a:lnTo>
                    <a:pt x="892" y="662"/>
                  </a:lnTo>
                  <a:lnTo>
                    <a:pt x="908" y="659"/>
                  </a:lnTo>
                  <a:lnTo>
                    <a:pt x="923" y="656"/>
                  </a:lnTo>
                  <a:lnTo>
                    <a:pt x="939" y="654"/>
                  </a:lnTo>
                  <a:lnTo>
                    <a:pt x="955" y="653"/>
                  </a:lnTo>
                  <a:lnTo>
                    <a:pt x="964" y="653"/>
                  </a:lnTo>
                  <a:lnTo>
                    <a:pt x="973" y="651"/>
                  </a:lnTo>
                  <a:lnTo>
                    <a:pt x="979" y="651"/>
                  </a:lnTo>
                  <a:lnTo>
                    <a:pt x="985" y="651"/>
                  </a:lnTo>
                  <a:lnTo>
                    <a:pt x="1000" y="651"/>
                  </a:lnTo>
                  <a:lnTo>
                    <a:pt x="1014" y="653"/>
                  </a:lnTo>
                  <a:lnTo>
                    <a:pt x="1027" y="654"/>
                  </a:lnTo>
                  <a:lnTo>
                    <a:pt x="1041" y="656"/>
                  </a:lnTo>
                  <a:lnTo>
                    <a:pt x="1062" y="659"/>
                  </a:lnTo>
                  <a:lnTo>
                    <a:pt x="1082" y="663"/>
                  </a:lnTo>
                  <a:lnTo>
                    <a:pt x="1100" y="669"/>
                  </a:lnTo>
                  <a:lnTo>
                    <a:pt x="1120" y="675"/>
                  </a:lnTo>
                  <a:lnTo>
                    <a:pt x="1137" y="681"/>
                  </a:lnTo>
                  <a:lnTo>
                    <a:pt x="1156" y="690"/>
                  </a:lnTo>
                  <a:lnTo>
                    <a:pt x="1173" y="698"/>
                  </a:lnTo>
                  <a:lnTo>
                    <a:pt x="1191" y="708"/>
                  </a:lnTo>
                  <a:lnTo>
                    <a:pt x="1191" y="708"/>
                  </a:lnTo>
                  <a:lnTo>
                    <a:pt x="1199" y="727"/>
                  </a:lnTo>
                  <a:lnTo>
                    <a:pt x="1206" y="746"/>
                  </a:lnTo>
                  <a:lnTo>
                    <a:pt x="1212" y="765"/>
                  </a:lnTo>
                  <a:lnTo>
                    <a:pt x="1216" y="786"/>
                  </a:lnTo>
                  <a:lnTo>
                    <a:pt x="1220" y="805"/>
                  </a:lnTo>
                  <a:lnTo>
                    <a:pt x="1223" y="826"/>
                  </a:lnTo>
                  <a:lnTo>
                    <a:pt x="1224" y="848"/>
                  </a:lnTo>
                  <a:lnTo>
                    <a:pt x="1225" y="869"/>
                  </a:lnTo>
                  <a:lnTo>
                    <a:pt x="1224" y="893"/>
                  </a:lnTo>
                  <a:lnTo>
                    <a:pt x="1222" y="916"/>
                  </a:lnTo>
                  <a:lnTo>
                    <a:pt x="1219" y="940"/>
                  </a:lnTo>
                  <a:lnTo>
                    <a:pt x="1214" y="961"/>
                  </a:lnTo>
                  <a:lnTo>
                    <a:pt x="1208" y="985"/>
                  </a:lnTo>
                  <a:lnTo>
                    <a:pt x="1200" y="1005"/>
                  </a:lnTo>
                  <a:lnTo>
                    <a:pt x="1192" y="1026"/>
                  </a:lnTo>
                  <a:lnTo>
                    <a:pt x="1183" y="1047"/>
                  </a:lnTo>
                  <a:lnTo>
                    <a:pt x="1165" y="1074"/>
                  </a:lnTo>
                  <a:lnTo>
                    <a:pt x="1148" y="1100"/>
                  </a:lnTo>
                  <a:lnTo>
                    <a:pt x="1128" y="1125"/>
                  </a:lnTo>
                  <a:lnTo>
                    <a:pt x="1109" y="1149"/>
                  </a:lnTo>
                  <a:lnTo>
                    <a:pt x="1089" y="1170"/>
                  </a:lnTo>
                  <a:lnTo>
                    <a:pt x="1069" y="1189"/>
                  </a:lnTo>
                  <a:lnTo>
                    <a:pt x="1048" y="1208"/>
                  </a:lnTo>
                  <a:lnTo>
                    <a:pt x="1026" y="1226"/>
                  </a:lnTo>
                  <a:lnTo>
                    <a:pt x="1004" y="1243"/>
                  </a:lnTo>
                  <a:lnTo>
                    <a:pt x="981" y="1259"/>
                  </a:lnTo>
                  <a:lnTo>
                    <a:pt x="957" y="1274"/>
                  </a:lnTo>
                  <a:lnTo>
                    <a:pt x="933" y="1288"/>
                  </a:lnTo>
                  <a:lnTo>
                    <a:pt x="907" y="1301"/>
                  </a:lnTo>
                  <a:lnTo>
                    <a:pt x="880" y="1312"/>
                  </a:lnTo>
                  <a:lnTo>
                    <a:pt x="854" y="1323"/>
                  </a:lnTo>
                  <a:lnTo>
                    <a:pt x="827" y="1332"/>
                  </a:lnTo>
                  <a:lnTo>
                    <a:pt x="799" y="1340"/>
                  </a:lnTo>
                  <a:lnTo>
                    <a:pt x="770" y="1347"/>
                  </a:lnTo>
                  <a:lnTo>
                    <a:pt x="743" y="1353"/>
                  </a:lnTo>
                  <a:lnTo>
                    <a:pt x="712" y="1357"/>
                  </a:lnTo>
                  <a:lnTo>
                    <a:pt x="703" y="1357"/>
                  </a:lnTo>
                  <a:lnTo>
                    <a:pt x="675" y="1358"/>
                  </a:lnTo>
                  <a:lnTo>
                    <a:pt x="656" y="1358"/>
                  </a:lnTo>
                  <a:lnTo>
                    <a:pt x="633" y="1358"/>
                  </a:lnTo>
                  <a:lnTo>
                    <a:pt x="607" y="1357"/>
                  </a:lnTo>
                  <a:lnTo>
                    <a:pt x="580" y="1355"/>
                  </a:lnTo>
                  <a:lnTo>
                    <a:pt x="550" y="1351"/>
                  </a:lnTo>
                  <a:lnTo>
                    <a:pt x="520" y="1347"/>
                  </a:lnTo>
                  <a:lnTo>
                    <a:pt x="488" y="1341"/>
                  </a:lnTo>
                  <a:lnTo>
                    <a:pt x="457" y="1334"/>
                  </a:lnTo>
                  <a:lnTo>
                    <a:pt x="424" y="1325"/>
                  </a:lnTo>
                  <a:lnTo>
                    <a:pt x="393" y="1313"/>
                  </a:lnTo>
                  <a:lnTo>
                    <a:pt x="377" y="1306"/>
                  </a:lnTo>
                  <a:lnTo>
                    <a:pt x="362" y="1299"/>
                  </a:lnTo>
                  <a:lnTo>
                    <a:pt x="347" y="1292"/>
                  </a:lnTo>
                  <a:lnTo>
                    <a:pt x="331" y="1283"/>
                  </a:lnTo>
                  <a:lnTo>
                    <a:pt x="331" y="1284"/>
                  </a:lnTo>
                  <a:lnTo>
                    <a:pt x="313" y="1274"/>
                  </a:lnTo>
                  <a:lnTo>
                    <a:pt x="294" y="1264"/>
                  </a:lnTo>
                  <a:lnTo>
                    <a:pt x="277" y="1252"/>
                  </a:lnTo>
                  <a:lnTo>
                    <a:pt x="261" y="1240"/>
                  </a:lnTo>
                  <a:lnTo>
                    <a:pt x="243" y="1228"/>
                  </a:lnTo>
                  <a:lnTo>
                    <a:pt x="227" y="1214"/>
                  </a:lnTo>
                  <a:lnTo>
                    <a:pt x="211" y="1201"/>
                  </a:lnTo>
                  <a:lnTo>
                    <a:pt x="196" y="1186"/>
                  </a:lnTo>
                  <a:lnTo>
                    <a:pt x="181" y="1172"/>
                  </a:lnTo>
                  <a:lnTo>
                    <a:pt x="167" y="1157"/>
                  </a:lnTo>
                  <a:lnTo>
                    <a:pt x="153" y="1141"/>
                  </a:lnTo>
                  <a:lnTo>
                    <a:pt x="139" y="1125"/>
                  </a:lnTo>
                  <a:lnTo>
                    <a:pt x="126" y="1108"/>
                  </a:lnTo>
                  <a:lnTo>
                    <a:pt x="115" y="1091"/>
                  </a:lnTo>
                  <a:lnTo>
                    <a:pt x="103" y="1075"/>
                  </a:lnTo>
                  <a:lnTo>
                    <a:pt x="92" y="1056"/>
                  </a:lnTo>
                  <a:lnTo>
                    <a:pt x="81" y="1039"/>
                  </a:lnTo>
                  <a:lnTo>
                    <a:pt x="71" y="1021"/>
                  </a:lnTo>
                  <a:lnTo>
                    <a:pt x="62" y="1001"/>
                  </a:lnTo>
                  <a:lnTo>
                    <a:pt x="52" y="982"/>
                  </a:lnTo>
                  <a:lnTo>
                    <a:pt x="44" y="963"/>
                  </a:lnTo>
                  <a:lnTo>
                    <a:pt x="37" y="943"/>
                  </a:lnTo>
                  <a:lnTo>
                    <a:pt x="30" y="922"/>
                  </a:lnTo>
                  <a:lnTo>
                    <a:pt x="23" y="901"/>
                  </a:lnTo>
                  <a:lnTo>
                    <a:pt x="19" y="880"/>
                  </a:lnTo>
                  <a:lnTo>
                    <a:pt x="14" y="860"/>
                  </a:lnTo>
                  <a:lnTo>
                    <a:pt x="10" y="839"/>
                  </a:lnTo>
                  <a:lnTo>
                    <a:pt x="6" y="817"/>
                  </a:lnTo>
                  <a:lnTo>
                    <a:pt x="4" y="795"/>
                  </a:lnTo>
                  <a:lnTo>
                    <a:pt x="1" y="773"/>
                  </a:lnTo>
                  <a:lnTo>
                    <a:pt x="0" y="751"/>
                  </a:lnTo>
                  <a:lnTo>
                    <a:pt x="0" y="729"/>
                  </a:lnTo>
                  <a:lnTo>
                    <a:pt x="0" y="699"/>
                  </a:lnTo>
                  <a:lnTo>
                    <a:pt x="3" y="670"/>
                  </a:lnTo>
                  <a:lnTo>
                    <a:pt x="6" y="641"/>
                  </a:lnTo>
                  <a:lnTo>
                    <a:pt x="11" y="612"/>
                  </a:lnTo>
                  <a:lnTo>
                    <a:pt x="16" y="584"/>
                  </a:lnTo>
                  <a:lnTo>
                    <a:pt x="23" y="556"/>
                  </a:lnTo>
                  <a:lnTo>
                    <a:pt x="32" y="530"/>
                  </a:lnTo>
                  <a:lnTo>
                    <a:pt x="42" y="503"/>
                  </a:lnTo>
                  <a:lnTo>
                    <a:pt x="45" y="494"/>
                  </a:lnTo>
                  <a:lnTo>
                    <a:pt x="50" y="485"/>
                  </a:lnTo>
                  <a:lnTo>
                    <a:pt x="55" y="475"/>
                  </a:lnTo>
                  <a:lnTo>
                    <a:pt x="59" y="467"/>
                  </a:lnTo>
                  <a:lnTo>
                    <a:pt x="64" y="458"/>
                  </a:lnTo>
                  <a:lnTo>
                    <a:pt x="69" y="450"/>
                  </a:lnTo>
                  <a:lnTo>
                    <a:pt x="74" y="441"/>
                  </a:lnTo>
                  <a:lnTo>
                    <a:pt x="79" y="432"/>
                  </a:lnTo>
                  <a:lnTo>
                    <a:pt x="85" y="422"/>
                  </a:lnTo>
                  <a:lnTo>
                    <a:pt x="91" y="413"/>
                  </a:lnTo>
                  <a:lnTo>
                    <a:pt x="95" y="406"/>
                  </a:lnTo>
                  <a:lnTo>
                    <a:pt x="100" y="398"/>
                  </a:lnTo>
                  <a:close/>
                </a:path>
              </a:pathLst>
            </a:custGeom>
            <a:solidFill>
              <a:srgbClr val="FBC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7"/>
            <p:cNvSpPr>
              <a:spLocks noEditPoints="1"/>
            </p:cNvSpPr>
            <p:nvPr/>
          </p:nvSpPr>
          <p:spPr bwMode="auto">
            <a:xfrm>
              <a:off x="609076" y="4250092"/>
              <a:ext cx="369887" cy="295275"/>
            </a:xfrm>
            <a:custGeom>
              <a:avLst/>
              <a:gdLst>
                <a:gd name="T0" fmla="*/ 762 w 1635"/>
                <a:gd name="T1" fmla="*/ 312 h 1302"/>
                <a:gd name="T2" fmla="*/ 732 w 1635"/>
                <a:gd name="T3" fmla="*/ 349 h 1302"/>
                <a:gd name="T4" fmla="*/ 711 w 1635"/>
                <a:gd name="T5" fmla="*/ 466 h 1302"/>
                <a:gd name="T6" fmla="*/ 767 w 1635"/>
                <a:gd name="T7" fmla="*/ 558 h 1302"/>
                <a:gd name="T8" fmla="*/ 868 w 1635"/>
                <a:gd name="T9" fmla="*/ 595 h 1302"/>
                <a:gd name="T10" fmla="*/ 966 w 1635"/>
                <a:gd name="T11" fmla="*/ 562 h 1302"/>
                <a:gd name="T12" fmla="*/ 881 w 1635"/>
                <a:gd name="T13" fmla="*/ 629 h 1302"/>
                <a:gd name="T14" fmla="*/ 745 w 1635"/>
                <a:gd name="T15" fmla="*/ 677 h 1302"/>
                <a:gd name="T16" fmla="*/ 623 w 1635"/>
                <a:gd name="T17" fmla="*/ 678 h 1302"/>
                <a:gd name="T18" fmla="*/ 502 w 1635"/>
                <a:gd name="T19" fmla="*/ 582 h 1302"/>
                <a:gd name="T20" fmla="*/ 474 w 1635"/>
                <a:gd name="T21" fmla="*/ 434 h 1302"/>
                <a:gd name="T22" fmla="*/ 504 w 1635"/>
                <a:gd name="T23" fmla="*/ 282 h 1302"/>
                <a:gd name="T24" fmla="*/ 585 w 1635"/>
                <a:gd name="T25" fmla="*/ 159 h 1302"/>
                <a:gd name="T26" fmla="*/ 717 w 1635"/>
                <a:gd name="T27" fmla="*/ 67 h 1302"/>
                <a:gd name="T28" fmla="*/ 897 w 1635"/>
                <a:gd name="T29" fmla="*/ 8 h 1302"/>
                <a:gd name="T30" fmla="*/ 1035 w 1635"/>
                <a:gd name="T31" fmla="*/ 0 h 1302"/>
                <a:gd name="T32" fmla="*/ 1261 w 1635"/>
                <a:gd name="T33" fmla="*/ 54 h 1302"/>
                <a:gd name="T34" fmla="*/ 1457 w 1635"/>
                <a:gd name="T35" fmla="*/ 193 h 1302"/>
                <a:gd name="T36" fmla="*/ 1546 w 1635"/>
                <a:gd name="T37" fmla="*/ 310 h 1302"/>
                <a:gd name="T38" fmla="*/ 1619 w 1635"/>
                <a:gd name="T39" fmla="*/ 491 h 1302"/>
                <a:gd name="T40" fmla="*/ 1633 w 1635"/>
                <a:gd name="T41" fmla="*/ 694 h 1302"/>
                <a:gd name="T42" fmla="*/ 1579 w 1635"/>
                <a:gd name="T43" fmla="*/ 893 h 1302"/>
                <a:gd name="T44" fmla="*/ 1469 w 1635"/>
                <a:gd name="T45" fmla="*/ 1061 h 1302"/>
                <a:gd name="T46" fmla="*/ 1318 w 1635"/>
                <a:gd name="T47" fmla="*/ 1178 h 1302"/>
                <a:gd name="T48" fmla="*/ 1132 w 1635"/>
                <a:gd name="T49" fmla="*/ 1261 h 1302"/>
                <a:gd name="T50" fmla="*/ 892 w 1635"/>
                <a:gd name="T51" fmla="*/ 1302 h 1302"/>
                <a:gd name="T52" fmla="*/ 610 w 1635"/>
                <a:gd name="T53" fmla="*/ 1264 h 1302"/>
                <a:gd name="T54" fmla="*/ 348 w 1635"/>
                <a:gd name="T55" fmla="*/ 1129 h 1302"/>
                <a:gd name="T56" fmla="*/ 148 w 1635"/>
                <a:gd name="T57" fmla="*/ 920 h 1302"/>
                <a:gd name="T58" fmla="*/ 28 w 1635"/>
                <a:gd name="T59" fmla="*/ 651 h 1302"/>
                <a:gd name="T60" fmla="*/ 1 w 1635"/>
                <a:gd name="T61" fmla="*/ 385 h 1302"/>
                <a:gd name="T62" fmla="*/ 27 w 1635"/>
                <a:gd name="T63" fmla="*/ 221 h 1302"/>
                <a:gd name="T64" fmla="*/ 81 w 1635"/>
                <a:gd name="T65" fmla="*/ 68 h 1302"/>
                <a:gd name="T66" fmla="*/ 39 w 1635"/>
                <a:gd name="T67" fmla="*/ 264 h 1302"/>
                <a:gd name="T68" fmla="*/ 53 w 1635"/>
                <a:gd name="T69" fmla="*/ 425 h 1302"/>
                <a:gd name="T70" fmla="*/ 101 w 1635"/>
                <a:gd name="T71" fmla="*/ 566 h 1302"/>
                <a:gd name="T72" fmla="*/ 178 w 1635"/>
                <a:gd name="T73" fmla="*/ 690 h 1302"/>
                <a:gd name="T74" fmla="*/ 282 w 1635"/>
                <a:gd name="T75" fmla="*/ 793 h 1302"/>
                <a:gd name="T76" fmla="*/ 401 w 1635"/>
                <a:gd name="T77" fmla="*/ 884 h 1302"/>
                <a:gd name="T78" fmla="*/ 551 w 1635"/>
                <a:gd name="T79" fmla="*/ 1000 h 1302"/>
                <a:gd name="T80" fmla="*/ 746 w 1635"/>
                <a:gd name="T81" fmla="*/ 1072 h 1302"/>
                <a:gd name="T82" fmla="*/ 955 w 1635"/>
                <a:gd name="T83" fmla="*/ 1077 h 1302"/>
                <a:gd name="T84" fmla="*/ 1143 w 1635"/>
                <a:gd name="T85" fmla="*/ 1023 h 1302"/>
                <a:gd name="T86" fmla="*/ 1281 w 1635"/>
                <a:gd name="T87" fmla="*/ 935 h 1302"/>
                <a:gd name="T88" fmla="*/ 1379 w 1635"/>
                <a:gd name="T89" fmla="*/ 817 h 1302"/>
                <a:gd name="T90" fmla="*/ 1427 w 1635"/>
                <a:gd name="T91" fmla="*/ 668 h 1302"/>
                <a:gd name="T92" fmla="*/ 1416 w 1635"/>
                <a:gd name="T93" fmla="*/ 518 h 1302"/>
                <a:gd name="T94" fmla="*/ 1357 w 1635"/>
                <a:gd name="T95" fmla="*/ 392 h 1302"/>
                <a:gd name="T96" fmla="*/ 1251 w 1635"/>
                <a:gd name="T97" fmla="*/ 286 h 1302"/>
                <a:gd name="T98" fmla="*/ 1159 w 1635"/>
                <a:gd name="T99" fmla="*/ 240 h 1302"/>
                <a:gd name="T100" fmla="*/ 1039 w 1635"/>
                <a:gd name="T101" fmla="*/ 216 h 1302"/>
                <a:gd name="T102" fmla="*/ 962 w 1635"/>
                <a:gd name="T103" fmla="*/ 221 h 1302"/>
                <a:gd name="T104" fmla="*/ 914 w 1635"/>
                <a:gd name="T105" fmla="*/ 233 h 1302"/>
                <a:gd name="T106" fmla="*/ 896 w 1635"/>
                <a:gd name="T107" fmla="*/ 237 h 1302"/>
                <a:gd name="T108" fmla="*/ 880 w 1635"/>
                <a:gd name="T109" fmla="*/ 243 h 1302"/>
                <a:gd name="T110" fmla="*/ 864 w 1635"/>
                <a:gd name="T111" fmla="*/ 250 h 1302"/>
                <a:gd name="T112" fmla="*/ 850 w 1635"/>
                <a:gd name="T113" fmla="*/ 256 h 1302"/>
                <a:gd name="T114" fmla="*/ 834 w 1635"/>
                <a:gd name="T115" fmla="*/ 264 h 1302"/>
                <a:gd name="T116" fmla="*/ 820 w 1635"/>
                <a:gd name="T117" fmla="*/ 272 h 1302"/>
                <a:gd name="T118" fmla="*/ 814 w 1635"/>
                <a:gd name="T119" fmla="*/ 275 h 1302"/>
                <a:gd name="T120" fmla="*/ 801 w 1635"/>
                <a:gd name="T121" fmla="*/ 283 h 1302"/>
                <a:gd name="T122" fmla="*/ 793 w 1635"/>
                <a:gd name="T123" fmla="*/ 288 h 1302"/>
                <a:gd name="T124" fmla="*/ 778 w 1635"/>
                <a:gd name="T125" fmla="*/ 300 h 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35" h="1302">
                  <a:moveTo>
                    <a:pt x="756" y="318"/>
                  </a:moveTo>
                  <a:lnTo>
                    <a:pt x="755" y="318"/>
                  </a:lnTo>
                  <a:lnTo>
                    <a:pt x="754" y="319"/>
                  </a:lnTo>
                  <a:lnTo>
                    <a:pt x="755" y="319"/>
                  </a:lnTo>
                  <a:lnTo>
                    <a:pt x="756" y="318"/>
                  </a:lnTo>
                  <a:close/>
                  <a:moveTo>
                    <a:pt x="760" y="315"/>
                  </a:moveTo>
                  <a:lnTo>
                    <a:pt x="762" y="312"/>
                  </a:lnTo>
                  <a:lnTo>
                    <a:pt x="765" y="310"/>
                  </a:lnTo>
                  <a:lnTo>
                    <a:pt x="762" y="312"/>
                  </a:lnTo>
                  <a:lnTo>
                    <a:pt x="760" y="315"/>
                  </a:lnTo>
                  <a:close/>
                  <a:moveTo>
                    <a:pt x="767" y="310"/>
                  </a:moveTo>
                  <a:lnTo>
                    <a:pt x="754" y="322"/>
                  </a:lnTo>
                  <a:lnTo>
                    <a:pt x="742" y="334"/>
                  </a:lnTo>
                  <a:lnTo>
                    <a:pt x="732" y="349"/>
                  </a:lnTo>
                  <a:lnTo>
                    <a:pt x="724" y="364"/>
                  </a:lnTo>
                  <a:lnTo>
                    <a:pt x="717" y="381"/>
                  </a:lnTo>
                  <a:lnTo>
                    <a:pt x="712" y="398"/>
                  </a:lnTo>
                  <a:lnTo>
                    <a:pt x="709" y="415"/>
                  </a:lnTo>
                  <a:lnTo>
                    <a:pt x="707" y="434"/>
                  </a:lnTo>
                  <a:lnTo>
                    <a:pt x="709" y="450"/>
                  </a:lnTo>
                  <a:lnTo>
                    <a:pt x="711" y="466"/>
                  </a:lnTo>
                  <a:lnTo>
                    <a:pt x="716" y="481"/>
                  </a:lnTo>
                  <a:lnTo>
                    <a:pt x="720" y="496"/>
                  </a:lnTo>
                  <a:lnTo>
                    <a:pt x="727" y="510"/>
                  </a:lnTo>
                  <a:lnTo>
                    <a:pt x="735" y="524"/>
                  </a:lnTo>
                  <a:lnTo>
                    <a:pt x="745" y="536"/>
                  </a:lnTo>
                  <a:lnTo>
                    <a:pt x="755" y="547"/>
                  </a:lnTo>
                  <a:lnTo>
                    <a:pt x="767" y="558"/>
                  </a:lnTo>
                  <a:lnTo>
                    <a:pt x="779" y="567"/>
                  </a:lnTo>
                  <a:lnTo>
                    <a:pt x="792" y="575"/>
                  </a:lnTo>
                  <a:lnTo>
                    <a:pt x="806" y="582"/>
                  </a:lnTo>
                  <a:lnTo>
                    <a:pt x="821" y="588"/>
                  </a:lnTo>
                  <a:lnTo>
                    <a:pt x="836" y="591"/>
                  </a:lnTo>
                  <a:lnTo>
                    <a:pt x="852" y="594"/>
                  </a:lnTo>
                  <a:lnTo>
                    <a:pt x="868" y="595"/>
                  </a:lnTo>
                  <a:lnTo>
                    <a:pt x="883" y="594"/>
                  </a:lnTo>
                  <a:lnTo>
                    <a:pt x="899" y="591"/>
                  </a:lnTo>
                  <a:lnTo>
                    <a:pt x="914" y="588"/>
                  </a:lnTo>
                  <a:lnTo>
                    <a:pt x="927" y="583"/>
                  </a:lnTo>
                  <a:lnTo>
                    <a:pt x="940" y="577"/>
                  </a:lnTo>
                  <a:lnTo>
                    <a:pt x="953" y="570"/>
                  </a:lnTo>
                  <a:lnTo>
                    <a:pt x="966" y="562"/>
                  </a:lnTo>
                  <a:lnTo>
                    <a:pt x="976" y="553"/>
                  </a:lnTo>
                  <a:lnTo>
                    <a:pt x="962" y="567"/>
                  </a:lnTo>
                  <a:lnTo>
                    <a:pt x="947" y="581"/>
                  </a:lnTo>
                  <a:lnTo>
                    <a:pt x="932" y="595"/>
                  </a:lnTo>
                  <a:lnTo>
                    <a:pt x="916" y="606"/>
                  </a:lnTo>
                  <a:lnTo>
                    <a:pt x="899" y="618"/>
                  </a:lnTo>
                  <a:lnTo>
                    <a:pt x="881" y="629"/>
                  </a:lnTo>
                  <a:lnTo>
                    <a:pt x="863" y="639"/>
                  </a:lnTo>
                  <a:lnTo>
                    <a:pt x="844" y="648"/>
                  </a:lnTo>
                  <a:lnTo>
                    <a:pt x="826" y="655"/>
                  </a:lnTo>
                  <a:lnTo>
                    <a:pt x="806" y="662"/>
                  </a:lnTo>
                  <a:lnTo>
                    <a:pt x="785" y="669"/>
                  </a:lnTo>
                  <a:lnTo>
                    <a:pt x="765" y="673"/>
                  </a:lnTo>
                  <a:lnTo>
                    <a:pt x="745" y="677"/>
                  </a:lnTo>
                  <a:lnTo>
                    <a:pt x="723" y="680"/>
                  </a:lnTo>
                  <a:lnTo>
                    <a:pt x="702" y="682"/>
                  </a:lnTo>
                  <a:lnTo>
                    <a:pt x="680" y="683"/>
                  </a:lnTo>
                  <a:lnTo>
                    <a:pt x="666" y="682"/>
                  </a:lnTo>
                  <a:lnTo>
                    <a:pt x="651" y="682"/>
                  </a:lnTo>
                  <a:lnTo>
                    <a:pt x="637" y="680"/>
                  </a:lnTo>
                  <a:lnTo>
                    <a:pt x="623" y="678"/>
                  </a:lnTo>
                  <a:lnTo>
                    <a:pt x="602" y="675"/>
                  </a:lnTo>
                  <a:lnTo>
                    <a:pt x="582" y="671"/>
                  </a:lnTo>
                  <a:lnTo>
                    <a:pt x="563" y="665"/>
                  </a:lnTo>
                  <a:lnTo>
                    <a:pt x="544" y="660"/>
                  </a:lnTo>
                  <a:lnTo>
                    <a:pt x="528" y="634"/>
                  </a:lnTo>
                  <a:lnTo>
                    <a:pt x="514" y="609"/>
                  </a:lnTo>
                  <a:lnTo>
                    <a:pt x="502" y="582"/>
                  </a:lnTo>
                  <a:lnTo>
                    <a:pt x="492" y="554"/>
                  </a:lnTo>
                  <a:lnTo>
                    <a:pt x="484" y="525"/>
                  </a:lnTo>
                  <a:lnTo>
                    <a:pt x="478" y="495"/>
                  </a:lnTo>
                  <a:lnTo>
                    <a:pt x="476" y="480"/>
                  </a:lnTo>
                  <a:lnTo>
                    <a:pt x="475" y="465"/>
                  </a:lnTo>
                  <a:lnTo>
                    <a:pt x="474" y="450"/>
                  </a:lnTo>
                  <a:lnTo>
                    <a:pt x="474" y="434"/>
                  </a:lnTo>
                  <a:lnTo>
                    <a:pt x="475" y="411"/>
                  </a:lnTo>
                  <a:lnTo>
                    <a:pt x="476" y="389"/>
                  </a:lnTo>
                  <a:lnTo>
                    <a:pt x="479" y="367"/>
                  </a:lnTo>
                  <a:lnTo>
                    <a:pt x="484" y="345"/>
                  </a:lnTo>
                  <a:lnTo>
                    <a:pt x="489" y="324"/>
                  </a:lnTo>
                  <a:lnTo>
                    <a:pt x="496" y="303"/>
                  </a:lnTo>
                  <a:lnTo>
                    <a:pt x="504" y="282"/>
                  </a:lnTo>
                  <a:lnTo>
                    <a:pt x="512" y="263"/>
                  </a:lnTo>
                  <a:lnTo>
                    <a:pt x="522" y="244"/>
                  </a:lnTo>
                  <a:lnTo>
                    <a:pt x="533" y="226"/>
                  </a:lnTo>
                  <a:lnTo>
                    <a:pt x="544" y="207"/>
                  </a:lnTo>
                  <a:lnTo>
                    <a:pt x="557" y="191"/>
                  </a:lnTo>
                  <a:lnTo>
                    <a:pt x="571" y="174"/>
                  </a:lnTo>
                  <a:lnTo>
                    <a:pt x="585" y="159"/>
                  </a:lnTo>
                  <a:lnTo>
                    <a:pt x="601" y="143"/>
                  </a:lnTo>
                  <a:lnTo>
                    <a:pt x="616" y="130"/>
                  </a:lnTo>
                  <a:lnTo>
                    <a:pt x="633" y="118"/>
                  </a:lnTo>
                  <a:lnTo>
                    <a:pt x="650" y="106"/>
                  </a:lnTo>
                  <a:lnTo>
                    <a:pt x="667" y="95"/>
                  </a:lnTo>
                  <a:lnTo>
                    <a:pt x="684" y="84"/>
                  </a:lnTo>
                  <a:lnTo>
                    <a:pt x="717" y="67"/>
                  </a:lnTo>
                  <a:lnTo>
                    <a:pt x="751" y="51"/>
                  </a:lnTo>
                  <a:lnTo>
                    <a:pt x="786" y="37"/>
                  </a:lnTo>
                  <a:lnTo>
                    <a:pt x="822" y="25"/>
                  </a:lnTo>
                  <a:lnTo>
                    <a:pt x="841" y="20"/>
                  </a:lnTo>
                  <a:lnTo>
                    <a:pt x="859" y="16"/>
                  </a:lnTo>
                  <a:lnTo>
                    <a:pt x="878" y="12"/>
                  </a:lnTo>
                  <a:lnTo>
                    <a:pt x="897" y="8"/>
                  </a:lnTo>
                  <a:lnTo>
                    <a:pt x="916" y="6"/>
                  </a:lnTo>
                  <a:lnTo>
                    <a:pt x="936" y="3"/>
                  </a:lnTo>
                  <a:lnTo>
                    <a:pt x="955" y="1"/>
                  </a:lnTo>
                  <a:lnTo>
                    <a:pt x="975" y="0"/>
                  </a:lnTo>
                  <a:lnTo>
                    <a:pt x="988" y="0"/>
                  </a:lnTo>
                  <a:lnTo>
                    <a:pt x="1002" y="0"/>
                  </a:lnTo>
                  <a:lnTo>
                    <a:pt x="1035" y="0"/>
                  </a:lnTo>
                  <a:lnTo>
                    <a:pt x="1070" y="3"/>
                  </a:lnTo>
                  <a:lnTo>
                    <a:pt x="1104" y="8"/>
                  </a:lnTo>
                  <a:lnTo>
                    <a:pt x="1136" y="14"/>
                  </a:lnTo>
                  <a:lnTo>
                    <a:pt x="1168" y="22"/>
                  </a:lnTo>
                  <a:lnTo>
                    <a:pt x="1200" y="31"/>
                  </a:lnTo>
                  <a:lnTo>
                    <a:pt x="1231" y="43"/>
                  </a:lnTo>
                  <a:lnTo>
                    <a:pt x="1261" y="54"/>
                  </a:lnTo>
                  <a:lnTo>
                    <a:pt x="1292" y="71"/>
                  </a:lnTo>
                  <a:lnTo>
                    <a:pt x="1322" y="87"/>
                  </a:lnTo>
                  <a:lnTo>
                    <a:pt x="1351" y="105"/>
                  </a:lnTo>
                  <a:lnTo>
                    <a:pt x="1379" y="125"/>
                  </a:lnTo>
                  <a:lnTo>
                    <a:pt x="1407" y="146"/>
                  </a:lnTo>
                  <a:lnTo>
                    <a:pt x="1432" y="169"/>
                  </a:lnTo>
                  <a:lnTo>
                    <a:pt x="1457" y="193"/>
                  </a:lnTo>
                  <a:lnTo>
                    <a:pt x="1480" y="218"/>
                  </a:lnTo>
                  <a:lnTo>
                    <a:pt x="1481" y="219"/>
                  </a:lnTo>
                  <a:lnTo>
                    <a:pt x="1482" y="220"/>
                  </a:lnTo>
                  <a:lnTo>
                    <a:pt x="1500" y="242"/>
                  </a:lnTo>
                  <a:lnTo>
                    <a:pt x="1516" y="264"/>
                  </a:lnTo>
                  <a:lnTo>
                    <a:pt x="1532" y="286"/>
                  </a:lnTo>
                  <a:lnTo>
                    <a:pt x="1546" y="310"/>
                  </a:lnTo>
                  <a:lnTo>
                    <a:pt x="1560" y="333"/>
                  </a:lnTo>
                  <a:lnTo>
                    <a:pt x="1573" y="359"/>
                  </a:lnTo>
                  <a:lnTo>
                    <a:pt x="1584" y="383"/>
                  </a:lnTo>
                  <a:lnTo>
                    <a:pt x="1595" y="410"/>
                  </a:lnTo>
                  <a:lnTo>
                    <a:pt x="1604" y="436"/>
                  </a:lnTo>
                  <a:lnTo>
                    <a:pt x="1612" y="463"/>
                  </a:lnTo>
                  <a:lnTo>
                    <a:pt x="1619" y="491"/>
                  </a:lnTo>
                  <a:lnTo>
                    <a:pt x="1625" y="518"/>
                  </a:lnTo>
                  <a:lnTo>
                    <a:pt x="1629" y="546"/>
                  </a:lnTo>
                  <a:lnTo>
                    <a:pt x="1633" y="575"/>
                  </a:lnTo>
                  <a:lnTo>
                    <a:pt x="1635" y="604"/>
                  </a:lnTo>
                  <a:lnTo>
                    <a:pt x="1635" y="634"/>
                  </a:lnTo>
                  <a:lnTo>
                    <a:pt x="1635" y="664"/>
                  </a:lnTo>
                  <a:lnTo>
                    <a:pt x="1633" y="694"/>
                  </a:lnTo>
                  <a:lnTo>
                    <a:pt x="1629" y="724"/>
                  </a:lnTo>
                  <a:lnTo>
                    <a:pt x="1623" y="754"/>
                  </a:lnTo>
                  <a:lnTo>
                    <a:pt x="1618" y="783"/>
                  </a:lnTo>
                  <a:lnTo>
                    <a:pt x="1610" y="811"/>
                  </a:lnTo>
                  <a:lnTo>
                    <a:pt x="1601" y="839"/>
                  </a:lnTo>
                  <a:lnTo>
                    <a:pt x="1591" y="867"/>
                  </a:lnTo>
                  <a:lnTo>
                    <a:pt x="1579" y="893"/>
                  </a:lnTo>
                  <a:lnTo>
                    <a:pt x="1567" y="920"/>
                  </a:lnTo>
                  <a:lnTo>
                    <a:pt x="1554" y="945"/>
                  </a:lnTo>
                  <a:lnTo>
                    <a:pt x="1539" y="970"/>
                  </a:lnTo>
                  <a:lnTo>
                    <a:pt x="1523" y="994"/>
                  </a:lnTo>
                  <a:lnTo>
                    <a:pt x="1507" y="1017"/>
                  </a:lnTo>
                  <a:lnTo>
                    <a:pt x="1488" y="1039"/>
                  </a:lnTo>
                  <a:lnTo>
                    <a:pt x="1469" y="1061"/>
                  </a:lnTo>
                  <a:lnTo>
                    <a:pt x="1469" y="1061"/>
                  </a:lnTo>
                  <a:lnTo>
                    <a:pt x="1469" y="1061"/>
                  </a:lnTo>
                  <a:lnTo>
                    <a:pt x="1441" y="1088"/>
                  </a:lnTo>
                  <a:lnTo>
                    <a:pt x="1412" y="1112"/>
                  </a:lnTo>
                  <a:lnTo>
                    <a:pt x="1381" y="1135"/>
                  </a:lnTo>
                  <a:lnTo>
                    <a:pt x="1350" y="1157"/>
                  </a:lnTo>
                  <a:lnTo>
                    <a:pt x="1318" y="1178"/>
                  </a:lnTo>
                  <a:lnTo>
                    <a:pt x="1284" y="1197"/>
                  </a:lnTo>
                  <a:lnTo>
                    <a:pt x="1249" y="1215"/>
                  </a:lnTo>
                  <a:lnTo>
                    <a:pt x="1215" y="1231"/>
                  </a:lnTo>
                  <a:lnTo>
                    <a:pt x="1215" y="1231"/>
                  </a:lnTo>
                  <a:lnTo>
                    <a:pt x="1214" y="1231"/>
                  </a:lnTo>
                  <a:lnTo>
                    <a:pt x="1174" y="1247"/>
                  </a:lnTo>
                  <a:lnTo>
                    <a:pt x="1132" y="1261"/>
                  </a:lnTo>
                  <a:lnTo>
                    <a:pt x="1091" y="1274"/>
                  </a:lnTo>
                  <a:lnTo>
                    <a:pt x="1048" y="1283"/>
                  </a:lnTo>
                  <a:lnTo>
                    <a:pt x="1004" y="1291"/>
                  </a:lnTo>
                  <a:lnTo>
                    <a:pt x="960" y="1297"/>
                  </a:lnTo>
                  <a:lnTo>
                    <a:pt x="937" y="1299"/>
                  </a:lnTo>
                  <a:lnTo>
                    <a:pt x="915" y="1301"/>
                  </a:lnTo>
                  <a:lnTo>
                    <a:pt x="892" y="1302"/>
                  </a:lnTo>
                  <a:lnTo>
                    <a:pt x="868" y="1302"/>
                  </a:lnTo>
                  <a:lnTo>
                    <a:pt x="824" y="1301"/>
                  </a:lnTo>
                  <a:lnTo>
                    <a:pt x="779" y="1298"/>
                  </a:lnTo>
                  <a:lnTo>
                    <a:pt x="736" y="1293"/>
                  </a:lnTo>
                  <a:lnTo>
                    <a:pt x="694" y="1284"/>
                  </a:lnTo>
                  <a:lnTo>
                    <a:pt x="652" y="1275"/>
                  </a:lnTo>
                  <a:lnTo>
                    <a:pt x="610" y="1264"/>
                  </a:lnTo>
                  <a:lnTo>
                    <a:pt x="570" y="1250"/>
                  </a:lnTo>
                  <a:lnTo>
                    <a:pt x="530" y="1234"/>
                  </a:lnTo>
                  <a:lnTo>
                    <a:pt x="492" y="1216"/>
                  </a:lnTo>
                  <a:lnTo>
                    <a:pt x="455" y="1198"/>
                  </a:lnTo>
                  <a:lnTo>
                    <a:pt x="418" y="1177"/>
                  </a:lnTo>
                  <a:lnTo>
                    <a:pt x="383" y="1154"/>
                  </a:lnTo>
                  <a:lnTo>
                    <a:pt x="348" y="1129"/>
                  </a:lnTo>
                  <a:lnTo>
                    <a:pt x="316" y="1104"/>
                  </a:lnTo>
                  <a:lnTo>
                    <a:pt x="285" y="1077"/>
                  </a:lnTo>
                  <a:lnTo>
                    <a:pt x="255" y="1048"/>
                  </a:lnTo>
                  <a:lnTo>
                    <a:pt x="226" y="1018"/>
                  </a:lnTo>
                  <a:lnTo>
                    <a:pt x="198" y="986"/>
                  </a:lnTo>
                  <a:lnTo>
                    <a:pt x="172" y="953"/>
                  </a:lnTo>
                  <a:lnTo>
                    <a:pt x="148" y="920"/>
                  </a:lnTo>
                  <a:lnTo>
                    <a:pt x="126" y="884"/>
                  </a:lnTo>
                  <a:lnTo>
                    <a:pt x="104" y="848"/>
                  </a:lnTo>
                  <a:lnTo>
                    <a:pt x="86" y="810"/>
                  </a:lnTo>
                  <a:lnTo>
                    <a:pt x="68" y="772"/>
                  </a:lnTo>
                  <a:lnTo>
                    <a:pt x="52" y="732"/>
                  </a:lnTo>
                  <a:lnTo>
                    <a:pt x="39" y="692"/>
                  </a:lnTo>
                  <a:lnTo>
                    <a:pt x="28" y="651"/>
                  </a:lnTo>
                  <a:lnTo>
                    <a:pt x="17" y="609"/>
                  </a:lnTo>
                  <a:lnTo>
                    <a:pt x="10" y="566"/>
                  </a:lnTo>
                  <a:lnTo>
                    <a:pt x="5" y="523"/>
                  </a:lnTo>
                  <a:lnTo>
                    <a:pt x="1" y="479"/>
                  </a:lnTo>
                  <a:lnTo>
                    <a:pt x="0" y="434"/>
                  </a:lnTo>
                  <a:lnTo>
                    <a:pt x="0" y="410"/>
                  </a:lnTo>
                  <a:lnTo>
                    <a:pt x="1" y="385"/>
                  </a:lnTo>
                  <a:lnTo>
                    <a:pt x="3" y="361"/>
                  </a:lnTo>
                  <a:lnTo>
                    <a:pt x="6" y="337"/>
                  </a:lnTo>
                  <a:lnTo>
                    <a:pt x="8" y="314"/>
                  </a:lnTo>
                  <a:lnTo>
                    <a:pt x="11" y="290"/>
                  </a:lnTo>
                  <a:lnTo>
                    <a:pt x="16" y="266"/>
                  </a:lnTo>
                  <a:lnTo>
                    <a:pt x="21" y="243"/>
                  </a:lnTo>
                  <a:lnTo>
                    <a:pt x="27" y="221"/>
                  </a:lnTo>
                  <a:lnTo>
                    <a:pt x="32" y="198"/>
                  </a:lnTo>
                  <a:lnTo>
                    <a:pt x="39" y="176"/>
                  </a:lnTo>
                  <a:lnTo>
                    <a:pt x="46" y="154"/>
                  </a:lnTo>
                  <a:lnTo>
                    <a:pt x="54" y="132"/>
                  </a:lnTo>
                  <a:lnTo>
                    <a:pt x="62" y="110"/>
                  </a:lnTo>
                  <a:lnTo>
                    <a:pt x="72" y="89"/>
                  </a:lnTo>
                  <a:lnTo>
                    <a:pt x="81" y="68"/>
                  </a:lnTo>
                  <a:lnTo>
                    <a:pt x="71" y="95"/>
                  </a:lnTo>
                  <a:lnTo>
                    <a:pt x="62" y="121"/>
                  </a:lnTo>
                  <a:lnTo>
                    <a:pt x="55" y="149"/>
                  </a:lnTo>
                  <a:lnTo>
                    <a:pt x="50" y="177"/>
                  </a:lnTo>
                  <a:lnTo>
                    <a:pt x="45" y="206"/>
                  </a:lnTo>
                  <a:lnTo>
                    <a:pt x="42" y="235"/>
                  </a:lnTo>
                  <a:lnTo>
                    <a:pt x="39" y="264"/>
                  </a:lnTo>
                  <a:lnTo>
                    <a:pt x="39" y="294"/>
                  </a:lnTo>
                  <a:lnTo>
                    <a:pt x="39" y="316"/>
                  </a:lnTo>
                  <a:lnTo>
                    <a:pt x="40" y="338"/>
                  </a:lnTo>
                  <a:lnTo>
                    <a:pt x="43" y="360"/>
                  </a:lnTo>
                  <a:lnTo>
                    <a:pt x="45" y="382"/>
                  </a:lnTo>
                  <a:lnTo>
                    <a:pt x="49" y="404"/>
                  </a:lnTo>
                  <a:lnTo>
                    <a:pt x="53" y="425"/>
                  </a:lnTo>
                  <a:lnTo>
                    <a:pt x="58" y="445"/>
                  </a:lnTo>
                  <a:lnTo>
                    <a:pt x="62" y="466"/>
                  </a:lnTo>
                  <a:lnTo>
                    <a:pt x="69" y="487"/>
                  </a:lnTo>
                  <a:lnTo>
                    <a:pt x="76" y="508"/>
                  </a:lnTo>
                  <a:lnTo>
                    <a:pt x="83" y="528"/>
                  </a:lnTo>
                  <a:lnTo>
                    <a:pt x="91" y="547"/>
                  </a:lnTo>
                  <a:lnTo>
                    <a:pt x="101" y="566"/>
                  </a:lnTo>
                  <a:lnTo>
                    <a:pt x="110" y="586"/>
                  </a:lnTo>
                  <a:lnTo>
                    <a:pt x="120" y="603"/>
                  </a:lnTo>
                  <a:lnTo>
                    <a:pt x="131" y="621"/>
                  </a:lnTo>
                  <a:lnTo>
                    <a:pt x="142" y="639"/>
                  </a:lnTo>
                  <a:lnTo>
                    <a:pt x="154" y="656"/>
                  </a:lnTo>
                  <a:lnTo>
                    <a:pt x="165" y="673"/>
                  </a:lnTo>
                  <a:lnTo>
                    <a:pt x="178" y="690"/>
                  </a:lnTo>
                  <a:lnTo>
                    <a:pt x="192" y="706"/>
                  </a:lnTo>
                  <a:lnTo>
                    <a:pt x="206" y="722"/>
                  </a:lnTo>
                  <a:lnTo>
                    <a:pt x="220" y="737"/>
                  </a:lnTo>
                  <a:lnTo>
                    <a:pt x="235" y="751"/>
                  </a:lnTo>
                  <a:lnTo>
                    <a:pt x="250" y="766"/>
                  </a:lnTo>
                  <a:lnTo>
                    <a:pt x="266" y="779"/>
                  </a:lnTo>
                  <a:lnTo>
                    <a:pt x="282" y="793"/>
                  </a:lnTo>
                  <a:lnTo>
                    <a:pt x="300" y="805"/>
                  </a:lnTo>
                  <a:lnTo>
                    <a:pt x="316" y="817"/>
                  </a:lnTo>
                  <a:lnTo>
                    <a:pt x="335" y="829"/>
                  </a:lnTo>
                  <a:lnTo>
                    <a:pt x="352" y="839"/>
                  </a:lnTo>
                  <a:lnTo>
                    <a:pt x="370" y="849"/>
                  </a:lnTo>
                  <a:lnTo>
                    <a:pt x="386" y="867"/>
                  </a:lnTo>
                  <a:lnTo>
                    <a:pt x="401" y="884"/>
                  </a:lnTo>
                  <a:lnTo>
                    <a:pt x="417" y="899"/>
                  </a:lnTo>
                  <a:lnTo>
                    <a:pt x="433" y="915"/>
                  </a:lnTo>
                  <a:lnTo>
                    <a:pt x="455" y="934"/>
                  </a:lnTo>
                  <a:lnTo>
                    <a:pt x="478" y="952"/>
                  </a:lnTo>
                  <a:lnTo>
                    <a:pt x="501" y="970"/>
                  </a:lnTo>
                  <a:lnTo>
                    <a:pt x="526" y="986"/>
                  </a:lnTo>
                  <a:lnTo>
                    <a:pt x="551" y="1000"/>
                  </a:lnTo>
                  <a:lnTo>
                    <a:pt x="577" y="1014"/>
                  </a:lnTo>
                  <a:lnTo>
                    <a:pt x="603" y="1026"/>
                  </a:lnTo>
                  <a:lnTo>
                    <a:pt x="631" y="1038"/>
                  </a:lnTo>
                  <a:lnTo>
                    <a:pt x="659" y="1048"/>
                  </a:lnTo>
                  <a:lnTo>
                    <a:pt x="688" y="1058"/>
                  </a:lnTo>
                  <a:lnTo>
                    <a:pt x="717" y="1065"/>
                  </a:lnTo>
                  <a:lnTo>
                    <a:pt x="746" y="1072"/>
                  </a:lnTo>
                  <a:lnTo>
                    <a:pt x="776" y="1076"/>
                  </a:lnTo>
                  <a:lnTo>
                    <a:pt x="806" y="1080"/>
                  </a:lnTo>
                  <a:lnTo>
                    <a:pt x="837" y="1082"/>
                  </a:lnTo>
                  <a:lnTo>
                    <a:pt x="868" y="1083"/>
                  </a:lnTo>
                  <a:lnTo>
                    <a:pt x="897" y="1082"/>
                  </a:lnTo>
                  <a:lnTo>
                    <a:pt x="926" y="1081"/>
                  </a:lnTo>
                  <a:lnTo>
                    <a:pt x="955" y="1077"/>
                  </a:lnTo>
                  <a:lnTo>
                    <a:pt x="983" y="1073"/>
                  </a:lnTo>
                  <a:lnTo>
                    <a:pt x="1011" y="1067"/>
                  </a:lnTo>
                  <a:lnTo>
                    <a:pt x="1039" y="1061"/>
                  </a:lnTo>
                  <a:lnTo>
                    <a:pt x="1065" y="1053"/>
                  </a:lnTo>
                  <a:lnTo>
                    <a:pt x="1092" y="1044"/>
                  </a:lnTo>
                  <a:lnTo>
                    <a:pt x="1117" y="1033"/>
                  </a:lnTo>
                  <a:lnTo>
                    <a:pt x="1143" y="1023"/>
                  </a:lnTo>
                  <a:lnTo>
                    <a:pt x="1167" y="1010"/>
                  </a:lnTo>
                  <a:lnTo>
                    <a:pt x="1192" y="997"/>
                  </a:lnTo>
                  <a:lnTo>
                    <a:pt x="1215" y="984"/>
                  </a:lnTo>
                  <a:lnTo>
                    <a:pt x="1238" y="969"/>
                  </a:lnTo>
                  <a:lnTo>
                    <a:pt x="1260" y="952"/>
                  </a:lnTo>
                  <a:lnTo>
                    <a:pt x="1282" y="935"/>
                  </a:lnTo>
                  <a:lnTo>
                    <a:pt x="1281" y="935"/>
                  </a:lnTo>
                  <a:lnTo>
                    <a:pt x="1298" y="920"/>
                  </a:lnTo>
                  <a:lnTo>
                    <a:pt x="1313" y="905"/>
                  </a:lnTo>
                  <a:lnTo>
                    <a:pt x="1328" y="889"/>
                  </a:lnTo>
                  <a:lnTo>
                    <a:pt x="1342" y="872"/>
                  </a:lnTo>
                  <a:lnTo>
                    <a:pt x="1356" y="854"/>
                  </a:lnTo>
                  <a:lnTo>
                    <a:pt x="1368" y="837"/>
                  </a:lnTo>
                  <a:lnTo>
                    <a:pt x="1379" y="817"/>
                  </a:lnTo>
                  <a:lnTo>
                    <a:pt x="1388" y="797"/>
                  </a:lnTo>
                  <a:lnTo>
                    <a:pt x="1398" y="778"/>
                  </a:lnTo>
                  <a:lnTo>
                    <a:pt x="1406" y="757"/>
                  </a:lnTo>
                  <a:lnTo>
                    <a:pt x="1413" y="735"/>
                  </a:lnTo>
                  <a:lnTo>
                    <a:pt x="1419" y="713"/>
                  </a:lnTo>
                  <a:lnTo>
                    <a:pt x="1423" y="691"/>
                  </a:lnTo>
                  <a:lnTo>
                    <a:pt x="1427" y="668"/>
                  </a:lnTo>
                  <a:lnTo>
                    <a:pt x="1429" y="645"/>
                  </a:lnTo>
                  <a:lnTo>
                    <a:pt x="1429" y="621"/>
                  </a:lnTo>
                  <a:lnTo>
                    <a:pt x="1429" y="601"/>
                  </a:lnTo>
                  <a:lnTo>
                    <a:pt x="1427" y="580"/>
                  </a:lnTo>
                  <a:lnTo>
                    <a:pt x="1424" y="559"/>
                  </a:lnTo>
                  <a:lnTo>
                    <a:pt x="1421" y="538"/>
                  </a:lnTo>
                  <a:lnTo>
                    <a:pt x="1416" y="518"/>
                  </a:lnTo>
                  <a:lnTo>
                    <a:pt x="1410" y="499"/>
                  </a:lnTo>
                  <a:lnTo>
                    <a:pt x="1403" y="480"/>
                  </a:lnTo>
                  <a:lnTo>
                    <a:pt x="1397" y="462"/>
                  </a:lnTo>
                  <a:lnTo>
                    <a:pt x="1387" y="443"/>
                  </a:lnTo>
                  <a:lnTo>
                    <a:pt x="1378" y="426"/>
                  </a:lnTo>
                  <a:lnTo>
                    <a:pt x="1369" y="408"/>
                  </a:lnTo>
                  <a:lnTo>
                    <a:pt x="1357" y="392"/>
                  </a:lnTo>
                  <a:lnTo>
                    <a:pt x="1346" y="376"/>
                  </a:lnTo>
                  <a:lnTo>
                    <a:pt x="1333" y="360"/>
                  </a:lnTo>
                  <a:lnTo>
                    <a:pt x="1320" y="346"/>
                  </a:lnTo>
                  <a:lnTo>
                    <a:pt x="1306" y="331"/>
                  </a:lnTo>
                  <a:lnTo>
                    <a:pt x="1289" y="315"/>
                  </a:lnTo>
                  <a:lnTo>
                    <a:pt x="1270" y="300"/>
                  </a:lnTo>
                  <a:lnTo>
                    <a:pt x="1251" y="286"/>
                  </a:lnTo>
                  <a:lnTo>
                    <a:pt x="1230" y="273"/>
                  </a:lnTo>
                  <a:lnTo>
                    <a:pt x="1230" y="273"/>
                  </a:lnTo>
                  <a:lnTo>
                    <a:pt x="1230" y="273"/>
                  </a:lnTo>
                  <a:lnTo>
                    <a:pt x="1212" y="263"/>
                  </a:lnTo>
                  <a:lnTo>
                    <a:pt x="1195" y="255"/>
                  </a:lnTo>
                  <a:lnTo>
                    <a:pt x="1178" y="246"/>
                  </a:lnTo>
                  <a:lnTo>
                    <a:pt x="1159" y="240"/>
                  </a:lnTo>
                  <a:lnTo>
                    <a:pt x="1139" y="234"/>
                  </a:lnTo>
                  <a:lnTo>
                    <a:pt x="1121" y="228"/>
                  </a:lnTo>
                  <a:lnTo>
                    <a:pt x="1101" y="224"/>
                  </a:lnTo>
                  <a:lnTo>
                    <a:pt x="1080" y="221"/>
                  </a:lnTo>
                  <a:lnTo>
                    <a:pt x="1066" y="219"/>
                  </a:lnTo>
                  <a:lnTo>
                    <a:pt x="1053" y="218"/>
                  </a:lnTo>
                  <a:lnTo>
                    <a:pt x="1039" y="216"/>
                  </a:lnTo>
                  <a:lnTo>
                    <a:pt x="1024" y="216"/>
                  </a:lnTo>
                  <a:lnTo>
                    <a:pt x="1018" y="216"/>
                  </a:lnTo>
                  <a:lnTo>
                    <a:pt x="1012" y="216"/>
                  </a:lnTo>
                  <a:lnTo>
                    <a:pt x="1003" y="218"/>
                  </a:lnTo>
                  <a:lnTo>
                    <a:pt x="994" y="218"/>
                  </a:lnTo>
                  <a:lnTo>
                    <a:pt x="978" y="219"/>
                  </a:lnTo>
                  <a:lnTo>
                    <a:pt x="962" y="221"/>
                  </a:lnTo>
                  <a:lnTo>
                    <a:pt x="947" y="224"/>
                  </a:lnTo>
                  <a:lnTo>
                    <a:pt x="931" y="227"/>
                  </a:lnTo>
                  <a:lnTo>
                    <a:pt x="927" y="228"/>
                  </a:lnTo>
                  <a:lnTo>
                    <a:pt x="924" y="229"/>
                  </a:lnTo>
                  <a:lnTo>
                    <a:pt x="919" y="230"/>
                  </a:lnTo>
                  <a:lnTo>
                    <a:pt x="915" y="231"/>
                  </a:lnTo>
                  <a:lnTo>
                    <a:pt x="914" y="233"/>
                  </a:lnTo>
                  <a:lnTo>
                    <a:pt x="911" y="233"/>
                  </a:lnTo>
                  <a:lnTo>
                    <a:pt x="909" y="233"/>
                  </a:lnTo>
                  <a:lnTo>
                    <a:pt x="908" y="234"/>
                  </a:lnTo>
                  <a:lnTo>
                    <a:pt x="907" y="234"/>
                  </a:lnTo>
                  <a:lnTo>
                    <a:pt x="905" y="234"/>
                  </a:lnTo>
                  <a:lnTo>
                    <a:pt x="901" y="236"/>
                  </a:lnTo>
                  <a:lnTo>
                    <a:pt x="896" y="237"/>
                  </a:lnTo>
                  <a:lnTo>
                    <a:pt x="894" y="238"/>
                  </a:lnTo>
                  <a:lnTo>
                    <a:pt x="892" y="238"/>
                  </a:lnTo>
                  <a:lnTo>
                    <a:pt x="889" y="240"/>
                  </a:lnTo>
                  <a:lnTo>
                    <a:pt x="887" y="241"/>
                  </a:lnTo>
                  <a:lnTo>
                    <a:pt x="885" y="242"/>
                  </a:lnTo>
                  <a:lnTo>
                    <a:pt x="882" y="242"/>
                  </a:lnTo>
                  <a:lnTo>
                    <a:pt x="880" y="243"/>
                  </a:lnTo>
                  <a:lnTo>
                    <a:pt x="878" y="244"/>
                  </a:lnTo>
                  <a:lnTo>
                    <a:pt x="875" y="244"/>
                  </a:lnTo>
                  <a:lnTo>
                    <a:pt x="874" y="245"/>
                  </a:lnTo>
                  <a:lnTo>
                    <a:pt x="871" y="246"/>
                  </a:lnTo>
                  <a:lnTo>
                    <a:pt x="868" y="248"/>
                  </a:lnTo>
                  <a:lnTo>
                    <a:pt x="866" y="249"/>
                  </a:lnTo>
                  <a:lnTo>
                    <a:pt x="864" y="250"/>
                  </a:lnTo>
                  <a:lnTo>
                    <a:pt x="861" y="251"/>
                  </a:lnTo>
                  <a:lnTo>
                    <a:pt x="859" y="251"/>
                  </a:lnTo>
                  <a:lnTo>
                    <a:pt x="857" y="252"/>
                  </a:lnTo>
                  <a:lnTo>
                    <a:pt x="855" y="253"/>
                  </a:lnTo>
                  <a:lnTo>
                    <a:pt x="853" y="255"/>
                  </a:lnTo>
                  <a:lnTo>
                    <a:pt x="853" y="255"/>
                  </a:lnTo>
                  <a:lnTo>
                    <a:pt x="850" y="256"/>
                  </a:lnTo>
                  <a:lnTo>
                    <a:pt x="846" y="258"/>
                  </a:lnTo>
                  <a:lnTo>
                    <a:pt x="845" y="258"/>
                  </a:lnTo>
                  <a:lnTo>
                    <a:pt x="844" y="258"/>
                  </a:lnTo>
                  <a:lnTo>
                    <a:pt x="842" y="260"/>
                  </a:lnTo>
                  <a:lnTo>
                    <a:pt x="839" y="262"/>
                  </a:lnTo>
                  <a:lnTo>
                    <a:pt x="836" y="263"/>
                  </a:lnTo>
                  <a:lnTo>
                    <a:pt x="834" y="264"/>
                  </a:lnTo>
                  <a:lnTo>
                    <a:pt x="829" y="266"/>
                  </a:lnTo>
                  <a:lnTo>
                    <a:pt x="826" y="268"/>
                  </a:lnTo>
                  <a:lnTo>
                    <a:pt x="826" y="268"/>
                  </a:lnTo>
                  <a:lnTo>
                    <a:pt x="824" y="268"/>
                  </a:lnTo>
                  <a:lnTo>
                    <a:pt x="822" y="271"/>
                  </a:lnTo>
                  <a:lnTo>
                    <a:pt x="820" y="272"/>
                  </a:lnTo>
                  <a:lnTo>
                    <a:pt x="820" y="272"/>
                  </a:lnTo>
                  <a:lnTo>
                    <a:pt x="819" y="273"/>
                  </a:lnTo>
                  <a:lnTo>
                    <a:pt x="817" y="273"/>
                  </a:lnTo>
                  <a:lnTo>
                    <a:pt x="816" y="273"/>
                  </a:lnTo>
                  <a:lnTo>
                    <a:pt x="816" y="274"/>
                  </a:lnTo>
                  <a:lnTo>
                    <a:pt x="816" y="274"/>
                  </a:lnTo>
                  <a:lnTo>
                    <a:pt x="815" y="274"/>
                  </a:lnTo>
                  <a:lnTo>
                    <a:pt x="814" y="275"/>
                  </a:lnTo>
                  <a:lnTo>
                    <a:pt x="812" y="277"/>
                  </a:lnTo>
                  <a:lnTo>
                    <a:pt x="809" y="278"/>
                  </a:lnTo>
                  <a:lnTo>
                    <a:pt x="808" y="279"/>
                  </a:lnTo>
                  <a:lnTo>
                    <a:pt x="806" y="280"/>
                  </a:lnTo>
                  <a:lnTo>
                    <a:pt x="804" y="281"/>
                  </a:lnTo>
                  <a:lnTo>
                    <a:pt x="801" y="283"/>
                  </a:lnTo>
                  <a:lnTo>
                    <a:pt x="801" y="283"/>
                  </a:lnTo>
                  <a:lnTo>
                    <a:pt x="800" y="283"/>
                  </a:lnTo>
                  <a:lnTo>
                    <a:pt x="800" y="285"/>
                  </a:lnTo>
                  <a:lnTo>
                    <a:pt x="799" y="285"/>
                  </a:lnTo>
                  <a:lnTo>
                    <a:pt x="799" y="285"/>
                  </a:lnTo>
                  <a:lnTo>
                    <a:pt x="799" y="286"/>
                  </a:lnTo>
                  <a:lnTo>
                    <a:pt x="795" y="287"/>
                  </a:lnTo>
                  <a:lnTo>
                    <a:pt x="793" y="288"/>
                  </a:lnTo>
                  <a:lnTo>
                    <a:pt x="793" y="289"/>
                  </a:lnTo>
                  <a:lnTo>
                    <a:pt x="792" y="289"/>
                  </a:lnTo>
                  <a:lnTo>
                    <a:pt x="792" y="289"/>
                  </a:lnTo>
                  <a:lnTo>
                    <a:pt x="791" y="290"/>
                  </a:lnTo>
                  <a:lnTo>
                    <a:pt x="786" y="294"/>
                  </a:lnTo>
                  <a:lnTo>
                    <a:pt x="780" y="297"/>
                  </a:lnTo>
                  <a:lnTo>
                    <a:pt x="778" y="300"/>
                  </a:lnTo>
                  <a:lnTo>
                    <a:pt x="775" y="302"/>
                  </a:lnTo>
                  <a:lnTo>
                    <a:pt x="770" y="305"/>
                  </a:lnTo>
                  <a:lnTo>
                    <a:pt x="767" y="309"/>
                  </a:lnTo>
                  <a:lnTo>
                    <a:pt x="767" y="310"/>
                  </a:lnTo>
                  <a:close/>
                </a:path>
              </a:pathLst>
            </a:custGeom>
            <a:solidFill>
              <a:srgbClr val="005C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cxnSp>
        <p:nvCxnSpPr>
          <p:cNvPr id="18" name="Прямая соединительная линия 17"/>
          <p:cNvCxnSpPr/>
          <p:nvPr userDrawn="1"/>
        </p:nvCxnSpPr>
        <p:spPr>
          <a:xfrm>
            <a:off x="909641" y="1385155"/>
            <a:ext cx="0" cy="496839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 userDrawn="1"/>
        </p:nvCxnSpPr>
        <p:spPr>
          <a:xfrm>
            <a:off x="2210112" y="3640156"/>
            <a:ext cx="0" cy="701025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Группа 14"/>
          <p:cNvGrpSpPr/>
          <p:nvPr userDrawn="1"/>
        </p:nvGrpSpPr>
        <p:grpSpPr>
          <a:xfrm>
            <a:off x="1802764" y="3856913"/>
            <a:ext cx="267510" cy="267510"/>
            <a:chOff x="609076" y="4151667"/>
            <a:chExt cx="393700" cy="393700"/>
          </a:xfrm>
        </p:grpSpPr>
        <p:sp>
          <p:nvSpPr>
            <p:cNvPr id="20" name="Freeform 6"/>
            <p:cNvSpPr>
              <a:spLocks/>
            </p:cNvSpPr>
            <p:nvPr/>
          </p:nvSpPr>
          <p:spPr bwMode="auto">
            <a:xfrm>
              <a:off x="617014" y="4151667"/>
              <a:ext cx="385762" cy="339725"/>
            </a:xfrm>
            <a:custGeom>
              <a:avLst/>
              <a:gdLst>
                <a:gd name="T0" fmla="*/ 170 w 1698"/>
                <a:gd name="T1" fmla="*/ 303 h 1496"/>
                <a:gd name="T2" fmla="*/ 225 w 1698"/>
                <a:gd name="T3" fmla="*/ 245 h 1496"/>
                <a:gd name="T4" fmla="*/ 460 w 1698"/>
                <a:gd name="T5" fmla="*/ 83 h 1496"/>
                <a:gd name="T6" fmla="*/ 785 w 1698"/>
                <a:gd name="T7" fmla="*/ 1 h 1496"/>
                <a:gd name="T8" fmla="*/ 1128 w 1698"/>
                <a:gd name="T9" fmla="*/ 53 h 1496"/>
                <a:gd name="T10" fmla="*/ 1414 w 1698"/>
                <a:gd name="T11" fmla="*/ 226 h 1496"/>
                <a:gd name="T12" fmla="*/ 1612 w 1698"/>
                <a:gd name="T13" fmla="*/ 493 h 1496"/>
                <a:gd name="T14" fmla="*/ 1697 w 1698"/>
                <a:gd name="T15" fmla="*/ 824 h 1496"/>
                <a:gd name="T16" fmla="*/ 1684 w 1698"/>
                <a:gd name="T17" fmla="*/ 1026 h 1496"/>
                <a:gd name="T18" fmla="*/ 1566 w 1698"/>
                <a:gd name="T19" fmla="*/ 1331 h 1496"/>
                <a:gd name="T20" fmla="*/ 1484 w 1698"/>
                <a:gd name="T21" fmla="*/ 1429 h 1496"/>
                <a:gd name="T22" fmla="*/ 1579 w 1698"/>
                <a:gd name="T23" fmla="*/ 1218 h 1496"/>
                <a:gd name="T24" fmla="*/ 1590 w 1698"/>
                <a:gd name="T25" fmla="*/ 981 h 1496"/>
                <a:gd name="T26" fmla="*/ 1521 w 1698"/>
                <a:gd name="T27" fmla="*/ 768 h 1496"/>
                <a:gd name="T28" fmla="*/ 1400 w 1698"/>
                <a:gd name="T29" fmla="*/ 558 h 1496"/>
                <a:gd name="T30" fmla="*/ 1217 w 1698"/>
                <a:gd name="T31" fmla="*/ 348 h 1496"/>
                <a:gd name="T32" fmla="*/ 979 w 1698"/>
                <a:gd name="T33" fmla="*/ 237 h 1496"/>
                <a:gd name="T34" fmla="*/ 728 w 1698"/>
                <a:gd name="T35" fmla="*/ 228 h 1496"/>
                <a:gd name="T36" fmla="*/ 482 w 1698"/>
                <a:gd name="T37" fmla="*/ 320 h 1496"/>
                <a:gd name="T38" fmla="*/ 342 w 1698"/>
                <a:gd name="T39" fmla="*/ 438 h 1496"/>
                <a:gd name="T40" fmla="*/ 246 w 1698"/>
                <a:gd name="T41" fmla="*/ 622 h 1496"/>
                <a:gd name="T42" fmla="*/ 246 w 1698"/>
                <a:gd name="T43" fmla="*/ 804 h 1496"/>
                <a:gd name="T44" fmla="*/ 303 w 1698"/>
                <a:gd name="T45" fmla="*/ 935 h 1496"/>
                <a:gd name="T46" fmla="*/ 433 w 1698"/>
                <a:gd name="T47" fmla="*/ 1061 h 1496"/>
                <a:gd name="T48" fmla="*/ 598 w 1698"/>
                <a:gd name="T49" fmla="*/ 1115 h 1496"/>
                <a:gd name="T50" fmla="*/ 746 w 1698"/>
                <a:gd name="T51" fmla="*/ 1104 h 1496"/>
                <a:gd name="T52" fmla="*/ 893 w 1698"/>
                <a:gd name="T53" fmla="*/ 1030 h 1496"/>
                <a:gd name="T54" fmla="*/ 966 w 1698"/>
                <a:gd name="T55" fmla="*/ 953 h 1496"/>
                <a:gd name="T56" fmla="*/ 974 w 1698"/>
                <a:gd name="T57" fmla="*/ 940 h 1496"/>
                <a:gd name="T58" fmla="*/ 980 w 1698"/>
                <a:gd name="T59" fmla="*/ 926 h 1496"/>
                <a:gd name="T60" fmla="*/ 988 w 1698"/>
                <a:gd name="T61" fmla="*/ 897 h 1496"/>
                <a:gd name="T62" fmla="*/ 989 w 1698"/>
                <a:gd name="T63" fmla="*/ 853 h 1496"/>
                <a:gd name="T64" fmla="*/ 931 w 1698"/>
                <a:gd name="T65" fmla="*/ 745 h 1496"/>
                <a:gd name="T66" fmla="*/ 816 w 1698"/>
                <a:gd name="T67" fmla="*/ 709 h 1496"/>
                <a:gd name="T68" fmla="*/ 728 w 1698"/>
                <a:gd name="T69" fmla="*/ 745 h 1496"/>
                <a:gd name="T70" fmla="*/ 753 w 1698"/>
                <a:gd name="T71" fmla="*/ 724 h 1496"/>
                <a:gd name="T72" fmla="*/ 761 w 1698"/>
                <a:gd name="T73" fmla="*/ 718 h 1496"/>
                <a:gd name="T74" fmla="*/ 775 w 1698"/>
                <a:gd name="T75" fmla="*/ 710 h 1496"/>
                <a:gd name="T76" fmla="*/ 781 w 1698"/>
                <a:gd name="T77" fmla="*/ 707 h 1496"/>
                <a:gd name="T78" fmla="*/ 800 w 1698"/>
                <a:gd name="T79" fmla="*/ 697 h 1496"/>
                <a:gd name="T80" fmla="*/ 816 w 1698"/>
                <a:gd name="T81" fmla="*/ 688 h 1496"/>
                <a:gd name="T82" fmla="*/ 835 w 1698"/>
                <a:gd name="T83" fmla="*/ 680 h 1496"/>
                <a:gd name="T84" fmla="*/ 853 w 1698"/>
                <a:gd name="T85" fmla="*/ 673 h 1496"/>
                <a:gd name="T86" fmla="*/ 872 w 1698"/>
                <a:gd name="T87" fmla="*/ 668 h 1496"/>
                <a:gd name="T88" fmla="*/ 923 w 1698"/>
                <a:gd name="T89" fmla="*/ 656 h 1496"/>
                <a:gd name="T90" fmla="*/ 1014 w 1698"/>
                <a:gd name="T91" fmla="*/ 653 h 1496"/>
                <a:gd name="T92" fmla="*/ 1156 w 1698"/>
                <a:gd name="T93" fmla="*/ 690 h 1496"/>
                <a:gd name="T94" fmla="*/ 1220 w 1698"/>
                <a:gd name="T95" fmla="*/ 805 h 1496"/>
                <a:gd name="T96" fmla="*/ 1208 w 1698"/>
                <a:gd name="T97" fmla="*/ 985 h 1496"/>
                <a:gd name="T98" fmla="*/ 1089 w 1698"/>
                <a:gd name="T99" fmla="*/ 1170 h 1496"/>
                <a:gd name="T100" fmla="*/ 907 w 1698"/>
                <a:gd name="T101" fmla="*/ 1301 h 1496"/>
                <a:gd name="T102" fmla="*/ 703 w 1698"/>
                <a:gd name="T103" fmla="*/ 1357 h 1496"/>
                <a:gd name="T104" fmla="*/ 488 w 1698"/>
                <a:gd name="T105" fmla="*/ 1341 h 1496"/>
                <a:gd name="T106" fmla="*/ 331 w 1698"/>
                <a:gd name="T107" fmla="*/ 1284 h 1496"/>
                <a:gd name="T108" fmla="*/ 196 w 1698"/>
                <a:gd name="T109" fmla="*/ 1186 h 1496"/>
                <a:gd name="T110" fmla="*/ 92 w 1698"/>
                <a:gd name="T111" fmla="*/ 1056 h 1496"/>
                <a:gd name="T112" fmla="*/ 23 w 1698"/>
                <a:gd name="T113" fmla="*/ 901 h 1496"/>
                <a:gd name="T114" fmla="*/ 0 w 1698"/>
                <a:gd name="T115" fmla="*/ 729 h 1496"/>
                <a:gd name="T116" fmla="*/ 42 w 1698"/>
                <a:gd name="T117" fmla="*/ 503 h 1496"/>
                <a:gd name="T118" fmla="*/ 79 w 1698"/>
                <a:gd name="T119" fmla="*/ 432 h 1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98" h="1496">
                  <a:moveTo>
                    <a:pt x="100" y="398"/>
                  </a:moveTo>
                  <a:lnTo>
                    <a:pt x="110" y="382"/>
                  </a:lnTo>
                  <a:lnTo>
                    <a:pt x="122" y="366"/>
                  </a:lnTo>
                  <a:lnTo>
                    <a:pt x="133" y="349"/>
                  </a:lnTo>
                  <a:lnTo>
                    <a:pt x="145" y="333"/>
                  </a:lnTo>
                  <a:lnTo>
                    <a:pt x="152" y="326"/>
                  </a:lnTo>
                  <a:lnTo>
                    <a:pt x="158" y="318"/>
                  </a:lnTo>
                  <a:lnTo>
                    <a:pt x="170" y="303"/>
                  </a:lnTo>
                  <a:lnTo>
                    <a:pt x="183" y="288"/>
                  </a:lnTo>
                  <a:lnTo>
                    <a:pt x="197" y="274"/>
                  </a:lnTo>
                  <a:lnTo>
                    <a:pt x="211" y="259"/>
                  </a:lnTo>
                  <a:lnTo>
                    <a:pt x="218" y="252"/>
                  </a:lnTo>
                  <a:lnTo>
                    <a:pt x="225" y="246"/>
                  </a:lnTo>
                  <a:lnTo>
                    <a:pt x="225" y="245"/>
                  </a:lnTo>
                  <a:lnTo>
                    <a:pt x="225" y="245"/>
                  </a:lnTo>
                  <a:lnTo>
                    <a:pt x="225" y="245"/>
                  </a:lnTo>
                  <a:lnTo>
                    <a:pt x="225" y="245"/>
                  </a:lnTo>
                  <a:lnTo>
                    <a:pt x="255" y="217"/>
                  </a:lnTo>
                  <a:lnTo>
                    <a:pt x="286" y="191"/>
                  </a:lnTo>
                  <a:lnTo>
                    <a:pt x="319" y="167"/>
                  </a:lnTo>
                  <a:lnTo>
                    <a:pt x="352" y="143"/>
                  </a:lnTo>
                  <a:lnTo>
                    <a:pt x="387" y="121"/>
                  </a:lnTo>
                  <a:lnTo>
                    <a:pt x="423" y="102"/>
                  </a:lnTo>
                  <a:lnTo>
                    <a:pt x="460" y="83"/>
                  </a:lnTo>
                  <a:lnTo>
                    <a:pt x="498" y="66"/>
                  </a:lnTo>
                  <a:lnTo>
                    <a:pt x="536" y="51"/>
                  </a:lnTo>
                  <a:lnTo>
                    <a:pt x="576" y="38"/>
                  </a:lnTo>
                  <a:lnTo>
                    <a:pt x="616" y="27"/>
                  </a:lnTo>
                  <a:lnTo>
                    <a:pt x="658" y="17"/>
                  </a:lnTo>
                  <a:lnTo>
                    <a:pt x="700" y="10"/>
                  </a:lnTo>
                  <a:lnTo>
                    <a:pt x="743" y="5"/>
                  </a:lnTo>
                  <a:lnTo>
                    <a:pt x="785" y="1"/>
                  </a:lnTo>
                  <a:lnTo>
                    <a:pt x="829" y="0"/>
                  </a:lnTo>
                  <a:lnTo>
                    <a:pt x="875" y="1"/>
                  </a:lnTo>
                  <a:lnTo>
                    <a:pt x="919" y="5"/>
                  </a:lnTo>
                  <a:lnTo>
                    <a:pt x="961" y="10"/>
                  </a:lnTo>
                  <a:lnTo>
                    <a:pt x="1004" y="18"/>
                  </a:lnTo>
                  <a:lnTo>
                    <a:pt x="1047" y="28"/>
                  </a:lnTo>
                  <a:lnTo>
                    <a:pt x="1088" y="39"/>
                  </a:lnTo>
                  <a:lnTo>
                    <a:pt x="1128" y="53"/>
                  </a:lnTo>
                  <a:lnTo>
                    <a:pt x="1168" y="68"/>
                  </a:lnTo>
                  <a:lnTo>
                    <a:pt x="1206" y="86"/>
                  </a:lnTo>
                  <a:lnTo>
                    <a:pt x="1244" y="105"/>
                  </a:lnTo>
                  <a:lnTo>
                    <a:pt x="1280" y="126"/>
                  </a:lnTo>
                  <a:lnTo>
                    <a:pt x="1316" y="149"/>
                  </a:lnTo>
                  <a:lnTo>
                    <a:pt x="1349" y="173"/>
                  </a:lnTo>
                  <a:lnTo>
                    <a:pt x="1382" y="199"/>
                  </a:lnTo>
                  <a:lnTo>
                    <a:pt x="1414" y="226"/>
                  </a:lnTo>
                  <a:lnTo>
                    <a:pt x="1444" y="254"/>
                  </a:lnTo>
                  <a:lnTo>
                    <a:pt x="1473" y="285"/>
                  </a:lnTo>
                  <a:lnTo>
                    <a:pt x="1500" y="317"/>
                  </a:lnTo>
                  <a:lnTo>
                    <a:pt x="1525" y="349"/>
                  </a:lnTo>
                  <a:lnTo>
                    <a:pt x="1550" y="383"/>
                  </a:lnTo>
                  <a:lnTo>
                    <a:pt x="1573" y="419"/>
                  </a:lnTo>
                  <a:lnTo>
                    <a:pt x="1594" y="455"/>
                  </a:lnTo>
                  <a:lnTo>
                    <a:pt x="1612" y="493"/>
                  </a:lnTo>
                  <a:lnTo>
                    <a:pt x="1631" y="531"/>
                  </a:lnTo>
                  <a:lnTo>
                    <a:pt x="1646" y="570"/>
                  </a:lnTo>
                  <a:lnTo>
                    <a:pt x="1660" y="611"/>
                  </a:lnTo>
                  <a:lnTo>
                    <a:pt x="1671" y="651"/>
                  </a:lnTo>
                  <a:lnTo>
                    <a:pt x="1681" y="694"/>
                  </a:lnTo>
                  <a:lnTo>
                    <a:pt x="1689" y="737"/>
                  </a:lnTo>
                  <a:lnTo>
                    <a:pt x="1695" y="780"/>
                  </a:lnTo>
                  <a:lnTo>
                    <a:pt x="1697" y="824"/>
                  </a:lnTo>
                  <a:lnTo>
                    <a:pt x="1698" y="869"/>
                  </a:lnTo>
                  <a:lnTo>
                    <a:pt x="1698" y="892"/>
                  </a:lnTo>
                  <a:lnTo>
                    <a:pt x="1697" y="915"/>
                  </a:lnTo>
                  <a:lnTo>
                    <a:pt x="1696" y="937"/>
                  </a:lnTo>
                  <a:lnTo>
                    <a:pt x="1693" y="960"/>
                  </a:lnTo>
                  <a:lnTo>
                    <a:pt x="1691" y="982"/>
                  </a:lnTo>
                  <a:lnTo>
                    <a:pt x="1688" y="1004"/>
                  </a:lnTo>
                  <a:lnTo>
                    <a:pt x="1684" y="1026"/>
                  </a:lnTo>
                  <a:lnTo>
                    <a:pt x="1679" y="1048"/>
                  </a:lnTo>
                  <a:lnTo>
                    <a:pt x="1669" y="1092"/>
                  </a:lnTo>
                  <a:lnTo>
                    <a:pt x="1657" y="1134"/>
                  </a:lnTo>
                  <a:lnTo>
                    <a:pt x="1642" y="1176"/>
                  </a:lnTo>
                  <a:lnTo>
                    <a:pt x="1626" y="1216"/>
                  </a:lnTo>
                  <a:lnTo>
                    <a:pt x="1608" y="1255"/>
                  </a:lnTo>
                  <a:lnTo>
                    <a:pt x="1588" y="1294"/>
                  </a:lnTo>
                  <a:lnTo>
                    <a:pt x="1566" y="1331"/>
                  </a:lnTo>
                  <a:lnTo>
                    <a:pt x="1542" y="1367"/>
                  </a:lnTo>
                  <a:lnTo>
                    <a:pt x="1516" y="1401"/>
                  </a:lnTo>
                  <a:lnTo>
                    <a:pt x="1490" y="1434"/>
                  </a:lnTo>
                  <a:lnTo>
                    <a:pt x="1461" y="1466"/>
                  </a:lnTo>
                  <a:lnTo>
                    <a:pt x="1430" y="1496"/>
                  </a:lnTo>
                  <a:lnTo>
                    <a:pt x="1449" y="1474"/>
                  </a:lnTo>
                  <a:lnTo>
                    <a:pt x="1468" y="1452"/>
                  </a:lnTo>
                  <a:lnTo>
                    <a:pt x="1484" y="1429"/>
                  </a:lnTo>
                  <a:lnTo>
                    <a:pt x="1500" y="1405"/>
                  </a:lnTo>
                  <a:lnTo>
                    <a:pt x="1515" y="1380"/>
                  </a:lnTo>
                  <a:lnTo>
                    <a:pt x="1528" y="1355"/>
                  </a:lnTo>
                  <a:lnTo>
                    <a:pt x="1540" y="1328"/>
                  </a:lnTo>
                  <a:lnTo>
                    <a:pt x="1552" y="1302"/>
                  </a:lnTo>
                  <a:lnTo>
                    <a:pt x="1562" y="1275"/>
                  </a:lnTo>
                  <a:lnTo>
                    <a:pt x="1571" y="1246"/>
                  </a:lnTo>
                  <a:lnTo>
                    <a:pt x="1579" y="1218"/>
                  </a:lnTo>
                  <a:lnTo>
                    <a:pt x="1584" y="1189"/>
                  </a:lnTo>
                  <a:lnTo>
                    <a:pt x="1590" y="1159"/>
                  </a:lnTo>
                  <a:lnTo>
                    <a:pt x="1594" y="1129"/>
                  </a:lnTo>
                  <a:lnTo>
                    <a:pt x="1596" y="1099"/>
                  </a:lnTo>
                  <a:lnTo>
                    <a:pt x="1596" y="1069"/>
                  </a:lnTo>
                  <a:lnTo>
                    <a:pt x="1596" y="1039"/>
                  </a:lnTo>
                  <a:lnTo>
                    <a:pt x="1594" y="1010"/>
                  </a:lnTo>
                  <a:lnTo>
                    <a:pt x="1590" y="981"/>
                  </a:lnTo>
                  <a:lnTo>
                    <a:pt x="1586" y="953"/>
                  </a:lnTo>
                  <a:lnTo>
                    <a:pt x="1580" y="926"/>
                  </a:lnTo>
                  <a:lnTo>
                    <a:pt x="1573" y="898"/>
                  </a:lnTo>
                  <a:lnTo>
                    <a:pt x="1565" y="871"/>
                  </a:lnTo>
                  <a:lnTo>
                    <a:pt x="1556" y="845"/>
                  </a:lnTo>
                  <a:lnTo>
                    <a:pt x="1545" y="818"/>
                  </a:lnTo>
                  <a:lnTo>
                    <a:pt x="1534" y="794"/>
                  </a:lnTo>
                  <a:lnTo>
                    <a:pt x="1521" y="768"/>
                  </a:lnTo>
                  <a:lnTo>
                    <a:pt x="1507" y="745"/>
                  </a:lnTo>
                  <a:lnTo>
                    <a:pt x="1493" y="721"/>
                  </a:lnTo>
                  <a:lnTo>
                    <a:pt x="1477" y="699"/>
                  </a:lnTo>
                  <a:lnTo>
                    <a:pt x="1461" y="677"/>
                  </a:lnTo>
                  <a:lnTo>
                    <a:pt x="1443" y="655"/>
                  </a:lnTo>
                  <a:lnTo>
                    <a:pt x="1430" y="622"/>
                  </a:lnTo>
                  <a:lnTo>
                    <a:pt x="1417" y="590"/>
                  </a:lnTo>
                  <a:lnTo>
                    <a:pt x="1400" y="558"/>
                  </a:lnTo>
                  <a:lnTo>
                    <a:pt x="1382" y="528"/>
                  </a:lnTo>
                  <a:lnTo>
                    <a:pt x="1363" y="499"/>
                  </a:lnTo>
                  <a:lnTo>
                    <a:pt x="1342" y="470"/>
                  </a:lnTo>
                  <a:lnTo>
                    <a:pt x="1320" y="443"/>
                  </a:lnTo>
                  <a:lnTo>
                    <a:pt x="1296" y="418"/>
                  </a:lnTo>
                  <a:lnTo>
                    <a:pt x="1272" y="393"/>
                  </a:lnTo>
                  <a:lnTo>
                    <a:pt x="1245" y="370"/>
                  </a:lnTo>
                  <a:lnTo>
                    <a:pt x="1217" y="348"/>
                  </a:lnTo>
                  <a:lnTo>
                    <a:pt x="1188" y="327"/>
                  </a:lnTo>
                  <a:lnTo>
                    <a:pt x="1159" y="309"/>
                  </a:lnTo>
                  <a:lnTo>
                    <a:pt x="1128" y="293"/>
                  </a:lnTo>
                  <a:lnTo>
                    <a:pt x="1096" y="276"/>
                  </a:lnTo>
                  <a:lnTo>
                    <a:pt x="1063" y="263"/>
                  </a:lnTo>
                  <a:lnTo>
                    <a:pt x="1036" y="253"/>
                  </a:lnTo>
                  <a:lnTo>
                    <a:pt x="1008" y="244"/>
                  </a:lnTo>
                  <a:lnTo>
                    <a:pt x="979" y="237"/>
                  </a:lnTo>
                  <a:lnTo>
                    <a:pt x="950" y="231"/>
                  </a:lnTo>
                  <a:lnTo>
                    <a:pt x="921" y="226"/>
                  </a:lnTo>
                  <a:lnTo>
                    <a:pt x="891" y="222"/>
                  </a:lnTo>
                  <a:lnTo>
                    <a:pt x="861" y="221"/>
                  </a:lnTo>
                  <a:lnTo>
                    <a:pt x="829" y="220"/>
                  </a:lnTo>
                  <a:lnTo>
                    <a:pt x="795" y="221"/>
                  </a:lnTo>
                  <a:lnTo>
                    <a:pt x="761" y="223"/>
                  </a:lnTo>
                  <a:lnTo>
                    <a:pt x="728" y="228"/>
                  </a:lnTo>
                  <a:lnTo>
                    <a:pt x="694" y="234"/>
                  </a:lnTo>
                  <a:lnTo>
                    <a:pt x="662" y="242"/>
                  </a:lnTo>
                  <a:lnTo>
                    <a:pt x="630" y="251"/>
                  </a:lnTo>
                  <a:lnTo>
                    <a:pt x="599" y="261"/>
                  </a:lnTo>
                  <a:lnTo>
                    <a:pt x="569" y="274"/>
                  </a:lnTo>
                  <a:lnTo>
                    <a:pt x="539" y="288"/>
                  </a:lnTo>
                  <a:lnTo>
                    <a:pt x="510" y="303"/>
                  </a:lnTo>
                  <a:lnTo>
                    <a:pt x="482" y="320"/>
                  </a:lnTo>
                  <a:lnTo>
                    <a:pt x="455" y="338"/>
                  </a:lnTo>
                  <a:lnTo>
                    <a:pt x="430" y="357"/>
                  </a:lnTo>
                  <a:lnTo>
                    <a:pt x="404" y="378"/>
                  </a:lnTo>
                  <a:lnTo>
                    <a:pt x="380" y="400"/>
                  </a:lnTo>
                  <a:lnTo>
                    <a:pt x="358" y="422"/>
                  </a:lnTo>
                  <a:lnTo>
                    <a:pt x="357" y="423"/>
                  </a:lnTo>
                  <a:lnTo>
                    <a:pt x="357" y="423"/>
                  </a:lnTo>
                  <a:lnTo>
                    <a:pt x="342" y="438"/>
                  </a:lnTo>
                  <a:lnTo>
                    <a:pt x="328" y="455"/>
                  </a:lnTo>
                  <a:lnTo>
                    <a:pt x="315" y="472"/>
                  </a:lnTo>
                  <a:lnTo>
                    <a:pt x="303" y="489"/>
                  </a:lnTo>
                  <a:lnTo>
                    <a:pt x="287" y="514"/>
                  </a:lnTo>
                  <a:lnTo>
                    <a:pt x="275" y="540"/>
                  </a:lnTo>
                  <a:lnTo>
                    <a:pt x="263" y="567"/>
                  </a:lnTo>
                  <a:lnTo>
                    <a:pt x="253" y="595"/>
                  </a:lnTo>
                  <a:lnTo>
                    <a:pt x="246" y="622"/>
                  </a:lnTo>
                  <a:lnTo>
                    <a:pt x="240" y="651"/>
                  </a:lnTo>
                  <a:lnTo>
                    <a:pt x="237" y="681"/>
                  </a:lnTo>
                  <a:lnTo>
                    <a:pt x="235" y="713"/>
                  </a:lnTo>
                  <a:lnTo>
                    <a:pt x="237" y="731"/>
                  </a:lnTo>
                  <a:lnTo>
                    <a:pt x="238" y="750"/>
                  </a:lnTo>
                  <a:lnTo>
                    <a:pt x="240" y="768"/>
                  </a:lnTo>
                  <a:lnTo>
                    <a:pt x="242" y="787"/>
                  </a:lnTo>
                  <a:lnTo>
                    <a:pt x="246" y="804"/>
                  </a:lnTo>
                  <a:lnTo>
                    <a:pt x="250" y="823"/>
                  </a:lnTo>
                  <a:lnTo>
                    <a:pt x="256" y="839"/>
                  </a:lnTo>
                  <a:lnTo>
                    <a:pt x="262" y="856"/>
                  </a:lnTo>
                  <a:lnTo>
                    <a:pt x="269" y="872"/>
                  </a:lnTo>
                  <a:lnTo>
                    <a:pt x="276" y="889"/>
                  </a:lnTo>
                  <a:lnTo>
                    <a:pt x="284" y="905"/>
                  </a:lnTo>
                  <a:lnTo>
                    <a:pt x="293" y="920"/>
                  </a:lnTo>
                  <a:lnTo>
                    <a:pt x="303" y="935"/>
                  </a:lnTo>
                  <a:lnTo>
                    <a:pt x="313" y="950"/>
                  </a:lnTo>
                  <a:lnTo>
                    <a:pt x="323" y="964"/>
                  </a:lnTo>
                  <a:lnTo>
                    <a:pt x="335" y="978"/>
                  </a:lnTo>
                  <a:lnTo>
                    <a:pt x="352" y="996"/>
                  </a:lnTo>
                  <a:lnTo>
                    <a:pt x="371" y="1015"/>
                  </a:lnTo>
                  <a:lnTo>
                    <a:pt x="391" y="1031"/>
                  </a:lnTo>
                  <a:lnTo>
                    <a:pt x="411" y="1046"/>
                  </a:lnTo>
                  <a:lnTo>
                    <a:pt x="433" y="1061"/>
                  </a:lnTo>
                  <a:lnTo>
                    <a:pt x="457" y="1074"/>
                  </a:lnTo>
                  <a:lnTo>
                    <a:pt x="481" y="1084"/>
                  </a:lnTo>
                  <a:lnTo>
                    <a:pt x="505" y="1095"/>
                  </a:lnTo>
                  <a:lnTo>
                    <a:pt x="524" y="1100"/>
                  </a:lnTo>
                  <a:lnTo>
                    <a:pt x="543" y="1106"/>
                  </a:lnTo>
                  <a:lnTo>
                    <a:pt x="563" y="1110"/>
                  </a:lnTo>
                  <a:lnTo>
                    <a:pt x="584" y="1113"/>
                  </a:lnTo>
                  <a:lnTo>
                    <a:pt x="598" y="1115"/>
                  </a:lnTo>
                  <a:lnTo>
                    <a:pt x="612" y="1117"/>
                  </a:lnTo>
                  <a:lnTo>
                    <a:pt x="627" y="1117"/>
                  </a:lnTo>
                  <a:lnTo>
                    <a:pt x="641" y="1118"/>
                  </a:lnTo>
                  <a:lnTo>
                    <a:pt x="663" y="1117"/>
                  </a:lnTo>
                  <a:lnTo>
                    <a:pt x="684" y="1115"/>
                  </a:lnTo>
                  <a:lnTo>
                    <a:pt x="706" y="1112"/>
                  </a:lnTo>
                  <a:lnTo>
                    <a:pt x="726" y="1108"/>
                  </a:lnTo>
                  <a:lnTo>
                    <a:pt x="746" y="1104"/>
                  </a:lnTo>
                  <a:lnTo>
                    <a:pt x="767" y="1097"/>
                  </a:lnTo>
                  <a:lnTo>
                    <a:pt x="787" y="1090"/>
                  </a:lnTo>
                  <a:lnTo>
                    <a:pt x="805" y="1083"/>
                  </a:lnTo>
                  <a:lnTo>
                    <a:pt x="824" y="1074"/>
                  </a:lnTo>
                  <a:lnTo>
                    <a:pt x="842" y="1064"/>
                  </a:lnTo>
                  <a:lnTo>
                    <a:pt x="860" y="1053"/>
                  </a:lnTo>
                  <a:lnTo>
                    <a:pt x="877" y="1041"/>
                  </a:lnTo>
                  <a:lnTo>
                    <a:pt x="893" y="1030"/>
                  </a:lnTo>
                  <a:lnTo>
                    <a:pt x="908" y="1016"/>
                  </a:lnTo>
                  <a:lnTo>
                    <a:pt x="923" y="1002"/>
                  </a:lnTo>
                  <a:lnTo>
                    <a:pt x="937" y="988"/>
                  </a:lnTo>
                  <a:lnTo>
                    <a:pt x="945" y="980"/>
                  </a:lnTo>
                  <a:lnTo>
                    <a:pt x="953" y="972"/>
                  </a:lnTo>
                  <a:lnTo>
                    <a:pt x="960" y="963"/>
                  </a:lnTo>
                  <a:lnTo>
                    <a:pt x="966" y="953"/>
                  </a:lnTo>
                  <a:lnTo>
                    <a:pt x="966" y="953"/>
                  </a:lnTo>
                  <a:lnTo>
                    <a:pt x="967" y="952"/>
                  </a:lnTo>
                  <a:lnTo>
                    <a:pt x="968" y="950"/>
                  </a:lnTo>
                  <a:lnTo>
                    <a:pt x="970" y="949"/>
                  </a:lnTo>
                  <a:lnTo>
                    <a:pt x="971" y="946"/>
                  </a:lnTo>
                  <a:lnTo>
                    <a:pt x="972" y="945"/>
                  </a:lnTo>
                  <a:lnTo>
                    <a:pt x="972" y="943"/>
                  </a:lnTo>
                  <a:lnTo>
                    <a:pt x="973" y="942"/>
                  </a:lnTo>
                  <a:lnTo>
                    <a:pt x="974" y="940"/>
                  </a:lnTo>
                  <a:lnTo>
                    <a:pt x="974" y="938"/>
                  </a:lnTo>
                  <a:lnTo>
                    <a:pt x="975" y="936"/>
                  </a:lnTo>
                  <a:lnTo>
                    <a:pt x="977" y="934"/>
                  </a:lnTo>
                  <a:lnTo>
                    <a:pt x="978" y="931"/>
                  </a:lnTo>
                  <a:lnTo>
                    <a:pt x="979" y="929"/>
                  </a:lnTo>
                  <a:lnTo>
                    <a:pt x="979" y="928"/>
                  </a:lnTo>
                  <a:lnTo>
                    <a:pt x="979" y="928"/>
                  </a:lnTo>
                  <a:lnTo>
                    <a:pt x="980" y="926"/>
                  </a:lnTo>
                  <a:lnTo>
                    <a:pt x="981" y="923"/>
                  </a:lnTo>
                  <a:lnTo>
                    <a:pt x="981" y="921"/>
                  </a:lnTo>
                  <a:lnTo>
                    <a:pt x="982" y="919"/>
                  </a:lnTo>
                  <a:lnTo>
                    <a:pt x="983" y="916"/>
                  </a:lnTo>
                  <a:lnTo>
                    <a:pt x="985" y="913"/>
                  </a:lnTo>
                  <a:lnTo>
                    <a:pt x="986" y="907"/>
                  </a:lnTo>
                  <a:lnTo>
                    <a:pt x="987" y="901"/>
                  </a:lnTo>
                  <a:lnTo>
                    <a:pt x="988" y="897"/>
                  </a:lnTo>
                  <a:lnTo>
                    <a:pt x="989" y="892"/>
                  </a:lnTo>
                  <a:lnTo>
                    <a:pt x="989" y="886"/>
                  </a:lnTo>
                  <a:lnTo>
                    <a:pt x="990" y="880"/>
                  </a:lnTo>
                  <a:lnTo>
                    <a:pt x="990" y="878"/>
                  </a:lnTo>
                  <a:lnTo>
                    <a:pt x="990" y="876"/>
                  </a:lnTo>
                  <a:lnTo>
                    <a:pt x="990" y="872"/>
                  </a:lnTo>
                  <a:lnTo>
                    <a:pt x="990" y="869"/>
                  </a:lnTo>
                  <a:lnTo>
                    <a:pt x="989" y="853"/>
                  </a:lnTo>
                  <a:lnTo>
                    <a:pt x="987" y="837"/>
                  </a:lnTo>
                  <a:lnTo>
                    <a:pt x="983" y="821"/>
                  </a:lnTo>
                  <a:lnTo>
                    <a:pt x="978" y="806"/>
                  </a:lnTo>
                  <a:lnTo>
                    <a:pt x="971" y="793"/>
                  </a:lnTo>
                  <a:lnTo>
                    <a:pt x="963" y="779"/>
                  </a:lnTo>
                  <a:lnTo>
                    <a:pt x="953" y="767"/>
                  </a:lnTo>
                  <a:lnTo>
                    <a:pt x="943" y="756"/>
                  </a:lnTo>
                  <a:lnTo>
                    <a:pt x="931" y="745"/>
                  </a:lnTo>
                  <a:lnTo>
                    <a:pt x="920" y="736"/>
                  </a:lnTo>
                  <a:lnTo>
                    <a:pt x="906" y="728"/>
                  </a:lnTo>
                  <a:lnTo>
                    <a:pt x="892" y="721"/>
                  </a:lnTo>
                  <a:lnTo>
                    <a:pt x="877" y="715"/>
                  </a:lnTo>
                  <a:lnTo>
                    <a:pt x="862" y="712"/>
                  </a:lnTo>
                  <a:lnTo>
                    <a:pt x="846" y="709"/>
                  </a:lnTo>
                  <a:lnTo>
                    <a:pt x="829" y="708"/>
                  </a:lnTo>
                  <a:lnTo>
                    <a:pt x="816" y="709"/>
                  </a:lnTo>
                  <a:lnTo>
                    <a:pt x="802" y="710"/>
                  </a:lnTo>
                  <a:lnTo>
                    <a:pt x="788" y="714"/>
                  </a:lnTo>
                  <a:lnTo>
                    <a:pt x="774" y="718"/>
                  </a:lnTo>
                  <a:lnTo>
                    <a:pt x="762" y="723"/>
                  </a:lnTo>
                  <a:lnTo>
                    <a:pt x="750" y="729"/>
                  </a:lnTo>
                  <a:lnTo>
                    <a:pt x="738" y="737"/>
                  </a:lnTo>
                  <a:lnTo>
                    <a:pt x="728" y="745"/>
                  </a:lnTo>
                  <a:lnTo>
                    <a:pt x="728" y="745"/>
                  </a:lnTo>
                  <a:lnTo>
                    <a:pt x="731" y="740"/>
                  </a:lnTo>
                  <a:lnTo>
                    <a:pt x="736" y="737"/>
                  </a:lnTo>
                  <a:lnTo>
                    <a:pt x="739" y="735"/>
                  </a:lnTo>
                  <a:lnTo>
                    <a:pt x="741" y="732"/>
                  </a:lnTo>
                  <a:lnTo>
                    <a:pt x="747" y="729"/>
                  </a:lnTo>
                  <a:lnTo>
                    <a:pt x="752" y="725"/>
                  </a:lnTo>
                  <a:lnTo>
                    <a:pt x="753" y="724"/>
                  </a:lnTo>
                  <a:lnTo>
                    <a:pt x="753" y="724"/>
                  </a:lnTo>
                  <a:lnTo>
                    <a:pt x="754" y="724"/>
                  </a:lnTo>
                  <a:lnTo>
                    <a:pt x="754" y="723"/>
                  </a:lnTo>
                  <a:lnTo>
                    <a:pt x="756" y="722"/>
                  </a:lnTo>
                  <a:lnTo>
                    <a:pt x="759" y="721"/>
                  </a:lnTo>
                  <a:lnTo>
                    <a:pt x="760" y="720"/>
                  </a:lnTo>
                  <a:lnTo>
                    <a:pt x="760" y="720"/>
                  </a:lnTo>
                  <a:lnTo>
                    <a:pt x="761" y="720"/>
                  </a:lnTo>
                  <a:lnTo>
                    <a:pt x="761" y="718"/>
                  </a:lnTo>
                  <a:lnTo>
                    <a:pt x="762" y="718"/>
                  </a:lnTo>
                  <a:lnTo>
                    <a:pt x="762" y="718"/>
                  </a:lnTo>
                  <a:lnTo>
                    <a:pt x="765" y="717"/>
                  </a:lnTo>
                  <a:lnTo>
                    <a:pt x="767" y="715"/>
                  </a:lnTo>
                  <a:lnTo>
                    <a:pt x="769" y="714"/>
                  </a:lnTo>
                  <a:lnTo>
                    <a:pt x="770" y="713"/>
                  </a:lnTo>
                  <a:lnTo>
                    <a:pt x="773" y="712"/>
                  </a:lnTo>
                  <a:lnTo>
                    <a:pt x="775" y="710"/>
                  </a:lnTo>
                  <a:lnTo>
                    <a:pt x="776" y="709"/>
                  </a:lnTo>
                  <a:lnTo>
                    <a:pt x="777" y="709"/>
                  </a:lnTo>
                  <a:lnTo>
                    <a:pt x="777" y="709"/>
                  </a:lnTo>
                  <a:lnTo>
                    <a:pt x="777" y="708"/>
                  </a:lnTo>
                  <a:lnTo>
                    <a:pt x="778" y="708"/>
                  </a:lnTo>
                  <a:lnTo>
                    <a:pt x="780" y="708"/>
                  </a:lnTo>
                  <a:lnTo>
                    <a:pt x="781" y="707"/>
                  </a:lnTo>
                  <a:lnTo>
                    <a:pt x="781" y="707"/>
                  </a:lnTo>
                  <a:lnTo>
                    <a:pt x="783" y="706"/>
                  </a:lnTo>
                  <a:lnTo>
                    <a:pt x="785" y="703"/>
                  </a:lnTo>
                  <a:lnTo>
                    <a:pt x="785" y="703"/>
                  </a:lnTo>
                  <a:lnTo>
                    <a:pt x="787" y="703"/>
                  </a:lnTo>
                  <a:lnTo>
                    <a:pt x="790" y="701"/>
                  </a:lnTo>
                  <a:lnTo>
                    <a:pt x="795" y="699"/>
                  </a:lnTo>
                  <a:lnTo>
                    <a:pt x="797" y="698"/>
                  </a:lnTo>
                  <a:lnTo>
                    <a:pt x="800" y="697"/>
                  </a:lnTo>
                  <a:lnTo>
                    <a:pt x="803" y="695"/>
                  </a:lnTo>
                  <a:lnTo>
                    <a:pt x="805" y="693"/>
                  </a:lnTo>
                  <a:lnTo>
                    <a:pt x="806" y="693"/>
                  </a:lnTo>
                  <a:lnTo>
                    <a:pt x="807" y="693"/>
                  </a:lnTo>
                  <a:lnTo>
                    <a:pt x="811" y="691"/>
                  </a:lnTo>
                  <a:lnTo>
                    <a:pt x="814" y="690"/>
                  </a:lnTo>
                  <a:lnTo>
                    <a:pt x="814" y="690"/>
                  </a:lnTo>
                  <a:lnTo>
                    <a:pt x="816" y="688"/>
                  </a:lnTo>
                  <a:lnTo>
                    <a:pt x="818" y="687"/>
                  </a:lnTo>
                  <a:lnTo>
                    <a:pt x="820" y="686"/>
                  </a:lnTo>
                  <a:lnTo>
                    <a:pt x="822" y="686"/>
                  </a:lnTo>
                  <a:lnTo>
                    <a:pt x="825" y="685"/>
                  </a:lnTo>
                  <a:lnTo>
                    <a:pt x="827" y="684"/>
                  </a:lnTo>
                  <a:lnTo>
                    <a:pt x="829" y="683"/>
                  </a:lnTo>
                  <a:lnTo>
                    <a:pt x="832" y="681"/>
                  </a:lnTo>
                  <a:lnTo>
                    <a:pt x="835" y="680"/>
                  </a:lnTo>
                  <a:lnTo>
                    <a:pt x="836" y="679"/>
                  </a:lnTo>
                  <a:lnTo>
                    <a:pt x="839" y="679"/>
                  </a:lnTo>
                  <a:lnTo>
                    <a:pt x="841" y="678"/>
                  </a:lnTo>
                  <a:lnTo>
                    <a:pt x="843" y="677"/>
                  </a:lnTo>
                  <a:lnTo>
                    <a:pt x="846" y="677"/>
                  </a:lnTo>
                  <a:lnTo>
                    <a:pt x="848" y="676"/>
                  </a:lnTo>
                  <a:lnTo>
                    <a:pt x="850" y="675"/>
                  </a:lnTo>
                  <a:lnTo>
                    <a:pt x="853" y="673"/>
                  </a:lnTo>
                  <a:lnTo>
                    <a:pt x="855" y="673"/>
                  </a:lnTo>
                  <a:lnTo>
                    <a:pt x="857" y="672"/>
                  </a:lnTo>
                  <a:lnTo>
                    <a:pt x="862" y="671"/>
                  </a:lnTo>
                  <a:lnTo>
                    <a:pt x="866" y="669"/>
                  </a:lnTo>
                  <a:lnTo>
                    <a:pt x="868" y="669"/>
                  </a:lnTo>
                  <a:lnTo>
                    <a:pt x="868" y="669"/>
                  </a:lnTo>
                  <a:lnTo>
                    <a:pt x="870" y="668"/>
                  </a:lnTo>
                  <a:lnTo>
                    <a:pt x="872" y="668"/>
                  </a:lnTo>
                  <a:lnTo>
                    <a:pt x="875" y="668"/>
                  </a:lnTo>
                  <a:lnTo>
                    <a:pt x="876" y="666"/>
                  </a:lnTo>
                  <a:lnTo>
                    <a:pt x="880" y="665"/>
                  </a:lnTo>
                  <a:lnTo>
                    <a:pt x="885" y="664"/>
                  </a:lnTo>
                  <a:lnTo>
                    <a:pt x="888" y="663"/>
                  </a:lnTo>
                  <a:lnTo>
                    <a:pt x="892" y="662"/>
                  </a:lnTo>
                  <a:lnTo>
                    <a:pt x="908" y="659"/>
                  </a:lnTo>
                  <a:lnTo>
                    <a:pt x="923" y="656"/>
                  </a:lnTo>
                  <a:lnTo>
                    <a:pt x="939" y="654"/>
                  </a:lnTo>
                  <a:lnTo>
                    <a:pt x="955" y="653"/>
                  </a:lnTo>
                  <a:lnTo>
                    <a:pt x="964" y="653"/>
                  </a:lnTo>
                  <a:lnTo>
                    <a:pt x="973" y="651"/>
                  </a:lnTo>
                  <a:lnTo>
                    <a:pt x="979" y="651"/>
                  </a:lnTo>
                  <a:lnTo>
                    <a:pt x="985" y="651"/>
                  </a:lnTo>
                  <a:lnTo>
                    <a:pt x="1000" y="651"/>
                  </a:lnTo>
                  <a:lnTo>
                    <a:pt x="1014" y="653"/>
                  </a:lnTo>
                  <a:lnTo>
                    <a:pt x="1027" y="654"/>
                  </a:lnTo>
                  <a:lnTo>
                    <a:pt x="1041" y="656"/>
                  </a:lnTo>
                  <a:lnTo>
                    <a:pt x="1062" y="659"/>
                  </a:lnTo>
                  <a:lnTo>
                    <a:pt x="1082" y="663"/>
                  </a:lnTo>
                  <a:lnTo>
                    <a:pt x="1100" y="669"/>
                  </a:lnTo>
                  <a:lnTo>
                    <a:pt x="1120" y="675"/>
                  </a:lnTo>
                  <a:lnTo>
                    <a:pt x="1137" y="681"/>
                  </a:lnTo>
                  <a:lnTo>
                    <a:pt x="1156" y="690"/>
                  </a:lnTo>
                  <a:lnTo>
                    <a:pt x="1173" y="698"/>
                  </a:lnTo>
                  <a:lnTo>
                    <a:pt x="1191" y="708"/>
                  </a:lnTo>
                  <a:lnTo>
                    <a:pt x="1191" y="708"/>
                  </a:lnTo>
                  <a:lnTo>
                    <a:pt x="1199" y="727"/>
                  </a:lnTo>
                  <a:lnTo>
                    <a:pt x="1206" y="746"/>
                  </a:lnTo>
                  <a:lnTo>
                    <a:pt x="1212" y="765"/>
                  </a:lnTo>
                  <a:lnTo>
                    <a:pt x="1216" y="786"/>
                  </a:lnTo>
                  <a:lnTo>
                    <a:pt x="1220" y="805"/>
                  </a:lnTo>
                  <a:lnTo>
                    <a:pt x="1223" y="826"/>
                  </a:lnTo>
                  <a:lnTo>
                    <a:pt x="1224" y="848"/>
                  </a:lnTo>
                  <a:lnTo>
                    <a:pt x="1225" y="869"/>
                  </a:lnTo>
                  <a:lnTo>
                    <a:pt x="1224" y="893"/>
                  </a:lnTo>
                  <a:lnTo>
                    <a:pt x="1222" y="916"/>
                  </a:lnTo>
                  <a:lnTo>
                    <a:pt x="1219" y="940"/>
                  </a:lnTo>
                  <a:lnTo>
                    <a:pt x="1214" y="961"/>
                  </a:lnTo>
                  <a:lnTo>
                    <a:pt x="1208" y="985"/>
                  </a:lnTo>
                  <a:lnTo>
                    <a:pt x="1200" y="1005"/>
                  </a:lnTo>
                  <a:lnTo>
                    <a:pt x="1192" y="1026"/>
                  </a:lnTo>
                  <a:lnTo>
                    <a:pt x="1183" y="1047"/>
                  </a:lnTo>
                  <a:lnTo>
                    <a:pt x="1165" y="1074"/>
                  </a:lnTo>
                  <a:lnTo>
                    <a:pt x="1148" y="1100"/>
                  </a:lnTo>
                  <a:lnTo>
                    <a:pt x="1128" y="1125"/>
                  </a:lnTo>
                  <a:lnTo>
                    <a:pt x="1109" y="1149"/>
                  </a:lnTo>
                  <a:lnTo>
                    <a:pt x="1089" y="1170"/>
                  </a:lnTo>
                  <a:lnTo>
                    <a:pt x="1069" y="1189"/>
                  </a:lnTo>
                  <a:lnTo>
                    <a:pt x="1048" y="1208"/>
                  </a:lnTo>
                  <a:lnTo>
                    <a:pt x="1026" y="1226"/>
                  </a:lnTo>
                  <a:lnTo>
                    <a:pt x="1004" y="1243"/>
                  </a:lnTo>
                  <a:lnTo>
                    <a:pt x="981" y="1259"/>
                  </a:lnTo>
                  <a:lnTo>
                    <a:pt x="957" y="1274"/>
                  </a:lnTo>
                  <a:lnTo>
                    <a:pt x="933" y="1288"/>
                  </a:lnTo>
                  <a:lnTo>
                    <a:pt x="907" y="1301"/>
                  </a:lnTo>
                  <a:lnTo>
                    <a:pt x="880" y="1312"/>
                  </a:lnTo>
                  <a:lnTo>
                    <a:pt x="854" y="1323"/>
                  </a:lnTo>
                  <a:lnTo>
                    <a:pt x="827" y="1332"/>
                  </a:lnTo>
                  <a:lnTo>
                    <a:pt x="799" y="1340"/>
                  </a:lnTo>
                  <a:lnTo>
                    <a:pt x="770" y="1347"/>
                  </a:lnTo>
                  <a:lnTo>
                    <a:pt x="743" y="1353"/>
                  </a:lnTo>
                  <a:lnTo>
                    <a:pt x="712" y="1357"/>
                  </a:lnTo>
                  <a:lnTo>
                    <a:pt x="703" y="1357"/>
                  </a:lnTo>
                  <a:lnTo>
                    <a:pt x="675" y="1358"/>
                  </a:lnTo>
                  <a:lnTo>
                    <a:pt x="656" y="1358"/>
                  </a:lnTo>
                  <a:lnTo>
                    <a:pt x="633" y="1358"/>
                  </a:lnTo>
                  <a:lnTo>
                    <a:pt x="607" y="1357"/>
                  </a:lnTo>
                  <a:lnTo>
                    <a:pt x="580" y="1355"/>
                  </a:lnTo>
                  <a:lnTo>
                    <a:pt x="550" y="1351"/>
                  </a:lnTo>
                  <a:lnTo>
                    <a:pt x="520" y="1347"/>
                  </a:lnTo>
                  <a:lnTo>
                    <a:pt x="488" y="1341"/>
                  </a:lnTo>
                  <a:lnTo>
                    <a:pt x="457" y="1334"/>
                  </a:lnTo>
                  <a:lnTo>
                    <a:pt x="424" y="1325"/>
                  </a:lnTo>
                  <a:lnTo>
                    <a:pt x="393" y="1313"/>
                  </a:lnTo>
                  <a:lnTo>
                    <a:pt x="377" y="1306"/>
                  </a:lnTo>
                  <a:lnTo>
                    <a:pt x="362" y="1299"/>
                  </a:lnTo>
                  <a:lnTo>
                    <a:pt x="347" y="1292"/>
                  </a:lnTo>
                  <a:lnTo>
                    <a:pt x="331" y="1283"/>
                  </a:lnTo>
                  <a:lnTo>
                    <a:pt x="331" y="1284"/>
                  </a:lnTo>
                  <a:lnTo>
                    <a:pt x="313" y="1274"/>
                  </a:lnTo>
                  <a:lnTo>
                    <a:pt x="294" y="1264"/>
                  </a:lnTo>
                  <a:lnTo>
                    <a:pt x="277" y="1252"/>
                  </a:lnTo>
                  <a:lnTo>
                    <a:pt x="261" y="1240"/>
                  </a:lnTo>
                  <a:lnTo>
                    <a:pt x="243" y="1228"/>
                  </a:lnTo>
                  <a:lnTo>
                    <a:pt x="227" y="1214"/>
                  </a:lnTo>
                  <a:lnTo>
                    <a:pt x="211" y="1201"/>
                  </a:lnTo>
                  <a:lnTo>
                    <a:pt x="196" y="1186"/>
                  </a:lnTo>
                  <a:lnTo>
                    <a:pt x="181" y="1172"/>
                  </a:lnTo>
                  <a:lnTo>
                    <a:pt x="167" y="1157"/>
                  </a:lnTo>
                  <a:lnTo>
                    <a:pt x="153" y="1141"/>
                  </a:lnTo>
                  <a:lnTo>
                    <a:pt x="139" y="1125"/>
                  </a:lnTo>
                  <a:lnTo>
                    <a:pt x="126" y="1108"/>
                  </a:lnTo>
                  <a:lnTo>
                    <a:pt x="115" y="1091"/>
                  </a:lnTo>
                  <a:lnTo>
                    <a:pt x="103" y="1075"/>
                  </a:lnTo>
                  <a:lnTo>
                    <a:pt x="92" y="1056"/>
                  </a:lnTo>
                  <a:lnTo>
                    <a:pt x="81" y="1039"/>
                  </a:lnTo>
                  <a:lnTo>
                    <a:pt x="71" y="1021"/>
                  </a:lnTo>
                  <a:lnTo>
                    <a:pt x="62" y="1001"/>
                  </a:lnTo>
                  <a:lnTo>
                    <a:pt x="52" y="982"/>
                  </a:lnTo>
                  <a:lnTo>
                    <a:pt x="44" y="963"/>
                  </a:lnTo>
                  <a:lnTo>
                    <a:pt x="37" y="943"/>
                  </a:lnTo>
                  <a:lnTo>
                    <a:pt x="30" y="922"/>
                  </a:lnTo>
                  <a:lnTo>
                    <a:pt x="23" y="901"/>
                  </a:lnTo>
                  <a:lnTo>
                    <a:pt x="19" y="880"/>
                  </a:lnTo>
                  <a:lnTo>
                    <a:pt x="14" y="860"/>
                  </a:lnTo>
                  <a:lnTo>
                    <a:pt x="10" y="839"/>
                  </a:lnTo>
                  <a:lnTo>
                    <a:pt x="6" y="817"/>
                  </a:lnTo>
                  <a:lnTo>
                    <a:pt x="4" y="795"/>
                  </a:lnTo>
                  <a:lnTo>
                    <a:pt x="1" y="773"/>
                  </a:lnTo>
                  <a:lnTo>
                    <a:pt x="0" y="751"/>
                  </a:lnTo>
                  <a:lnTo>
                    <a:pt x="0" y="729"/>
                  </a:lnTo>
                  <a:lnTo>
                    <a:pt x="0" y="699"/>
                  </a:lnTo>
                  <a:lnTo>
                    <a:pt x="3" y="670"/>
                  </a:lnTo>
                  <a:lnTo>
                    <a:pt x="6" y="641"/>
                  </a:lnTo>
                  <a:lnTo>
                    <a:pt x="11" y="612"/>
                  </a:lnTo>
                  <a:lnTo>
                    <a:pt x="16" y="584"/>
                  </a:lnTo>
                  <a:lnTo>
                    <a:pt x="23" y="556"/>
                  </a:lnTo>
                  <a:lnTo>
                    <a:pt x="32" y="530"/>
                  </a:lnTo>
                  <a:lnTo>
                    <a:pt x="42" y="503"/>
                  </a:lnTo>
                  <a:lnTo>
                    <a:pt x="45" y="494"/>
                  </a:lnTo>
                  <a:lnTo>
                    <a:pt x="50" y="485"/>
                  </a:lnTo>
                  <a:lnTo>
                    <a:pt x="55" y="475"/>
                  </a:lnTo>
                  <a:lnTo>
                    <a:pt x="59" y="467"/>
                  </a:lnTo>
                  <a:lnTo>
                    <a:pt x="64" y="458"/>
                  </a:lnTo>
                  <a:lnTo>
                    <a:pt x="69" y="450"/>
                  </a:lnTo>
                  <a:lnTo>
                    <a:pt x="74" y="441"/>
                  </a:lnTo>
                  <a:lnTo>
                    <a:pt x="79" y="432"/>
                  </a:lnTo>
                  <a:lnTo>
                    <a:pt x="85" y="422"/>
                  </a:lnTo>
                  <a:lnTo>
                    <a:pt x="91" y="413"/>
                  </a:lnTo>
                  <a:lnTo>
                    <a:pt x="95" y="406"/>
                  </a:lnTo>
                  <a:lnTo>
                    <a:pt x="100" y="398"/>
                  </a:lnTo>
                  <a:close/>
                </a:path>
              </a:pathLst>
            </a:custGeom>
            <a:solidFill>
              <a:srgbClr val="FBC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Freeform 7"/>
            <p:cNvSpPr>
              <a:spLocks noEditPoints="1"/>
            </p:cNvSpPr>
            <p:nvPr/>
          </p:nvSpPr>
          <p:spPr bwMode="auto">
            <a:xfrm>
              <a:off x="609076" y="4250092"/>
              <a:ext cx="369887" cy="295275"/>
            </a:xfrm>
            <a:custGeom>
              <a:avLst/>
              <a:gdLst>
                <a:gd name="T0" fmla="*/ 762 w 1635"/>
                <a:gd name="T1" fmla="*/ 312 h 1302"/>
                <a:gd name="T2" fmla="*/ 732 w 1635"/>
                <a:gd name="T3" fmla="*/ 349 h 1302"/>
                <a:gd name="T4" fmla="*/ 711 w 1635"/>
                <a:gd name="T5" fmla="*/ 466 h 1302"/>
                <a:gd name="T6" fmla="*/ 767 w 1635"/>
                <a:gd name="T7" fmla="*/ 558 h 1302"/>
                <a:gd name="T8" fmla="*/ 868 w 1635"/>
                <a:gd name="T9" fmla="*/ 595 h 1302"/>
                <a:gd name="T10" fmla="*/ 966 w 1635"/>
                <a:gd name="T11" fmla="*/ 562 h 1302"/>
                <a:gd name="T12" fmla="*/ 881 w 1635"/>
                <a:gd name="T13" fmla="*/ 629 h 1302"/>
                <a:gd name="T14" fmla="*/ 745 w 1635"/>
                <a:gd name="T15" fmla="*/ 677 h 1302"/>
                <a:gd name="T16" fmla="*/ 623 w 1635"/>
                <a:gd name="T17" fmla="*/ 678 h 1302"/>
                <a:gd name="T18" fmla="*/ 502 w 1635"/>
                <a:gd name="T19" fmla="*/ 582 h 1302"/>
                <a:gd name="T20" fmla="*/ 474 w 1635"/>
                <a:gd name="T21" fmla="*/ 434 h 1302"/>
                <a:gd name="T22" fmla="*/ 504 w 1635"/>
                <a:gd name="T23" fmla="*/ 282 h 1302"/>
                <a:gd name="T24" fmla="*/ 585 w 1635"/>
                <a:gd name="T25" fmla="*/ 159 h 1302"/>
                <a:gd name="T26" fmla="*/ 717 w 1635"/>
                <a:gd name="T27" fmla="*/ 67 h 1302"/>
                <a:gd name="T28" fmla="*/ 897 w 1635"/>
                <a:gd name="T29" fmla="*/ 8 h 1302"/>
                <a:gd name="T30" fmla="*/ 1035 w 1635"/>
                <a:gd name="T31" fmla="*/ 0 h 1302"/>
                <a:gd name="T32" fmla="*/ 1261 w 1635"/>
                <a:gd name="T33" fmla="*/ 54 h 1302"/>
                <a:gd name="T34" fmla="*/ 1457 w 1635"/>
                <a:gd name="T35" fmla="*/ 193 h 1302"/>
                <a:gd name="T36" fmla="*/ 1546 w 1635"/>
                <a:gd name="T37" fmla="*/ 310 h 1302"/>
                <a:gd name="T38" fmla="*/ 1619 w 1635"/>
                <a:gd name="T39" fmla="*/ 491 h 1302"/>
                <a:gd name="T40" fmla="*/ 1633 w 1635"/>
                <a:gd name="T41" fmla="*/ 694 h 1302"/>
                <a:gd name="T42" fmla="*/ 1579 w 1635"/>
                <a:gd name="T43" fmla="*/ 893 h 1302"/>
                <a:gd name="T44" fmla="*/ 1469 w 1635"/>
                <a:gd name="T45" fmla="*/ 1061 h 1302"/>
                <a:gd name="T46" fmla="*/ 1318 w 1635"/>
                <a:gd name="T47" fmla="*/ 1178 h 1302"/>
                <a:gd name="T48" fmla="*/ 1132 w 1635"/>
                <a:gd name="T49" fmla="*/ 1261 h 1302"/>
                <a:gd name="T50" fmla="*/ 892 w 1635"/>
                <a:gd name="T51" fmla="*/ 1302 h 1302"/>
                <a:gd name="T52" fmla="*/ 610 w 1635"/>
                <a:gd name="T53" fmla="*/ 1264 h 1302"/>
                <a:gd name="T54" fmla="*/ 348 w 1635"/>
                <a:gd name="T55" fmla="*/ 1129 h 1302"/>
                <a:gd name="T56" fmla="*/ 148 w 1635"/>
                <a:gd name="T57" fmla="*/ 920 h 1302"/>
                <a:gd name="T58" fmla="*/ 28 w 1635"/>
                <a:gd name="T59" fmla="*/ 651 h 1302"/>
                <a:gd name="T60" fmla="*/ 1 w 1635"/>
                <a:gd name="T61" fmla="*/ 385 h 1302"/>
                <a:gd name="T62" fmla="*/ 27 w 1635"/>
                <a:gd name="T63" fmla="*/ 221 h 1302"/>
                <a:gd name="T64" fmla="*/ 81 w 1635"/>
                <a:gd name="T65" fmla="*/ 68 h 1302"/>
                <a:gd name="T66" fmla="*/ 39 w 1635"/>
                <a:gd name="T67" fmla="*/ 264 h 1302"/>
                <a:gd name="T68" fmla="*/ 53 w 1635"/>
                <a:gd name="T69" fmla="*/ 425 h 1302"/>
                <a:gd name="T70" fmla="*/ 101 w 1635"/>
                <a:gd name="T71" fmla="*/ 566 h 1302"/>
                <a:gd name="T72" fmla="*/ 178 w 1635"/>
                <a:gd name="T73" fmla="*/ 690 h 1302"/>
                <a:gd name="T74" fmla="*/ 282 w 1635"/>
                <a:gd name="T75" fmla="*/ 793 h 1302"/>
                <a:gd name="T76" fmla="*/ 401 w 1635"/>
                <a:gd name="T77" fmla="*/ 884 h 1302"/>
                <a:gd name="T78" fmla="*/ 551 w 1635"/>
                <a:gd name="T79" fmla="*/ 1000 h 1302"/>
                <a:gd name="T80" fmla="*/ 746 w 1635"/>
                <a:gd name="T81" fmla="*/ 1072 h 1302"/>
                <a:gd name="T82" fmla="*/ 955 w 1635"/>
                <a:gd name="T83" fmla="*/ 1077 h 1302"/>
                <a:gd name="T84" fmla="*/ 1143 w 1635"/>
                <a:gd name="T85" fmla="*/ 1023 h 1302"/>
                <a:gd name="T86" fmla="*/ 1281 w 1635"/>
                <a:gd name="T87" fmla="*/ 935 h 1302"/>
                <a:gd name="T88" fmla="*/ 1379 w 1635"/>
                <a:gd name="T89" fmla="*/ 817 h 1302"/>
                <a:gd name="T90" fmla="*/ 1427 w 1635"/>
                <a:gd name="T91" fmla="*/ 668 h 1302"/>
                <a:gd name="T92" fmla="*/ 1416 w 1635"/>
                <a:gd name="T93" fmla="*/ 518 h 1302"/>
                <a:gd name="T94" fmla="*/ 1357 w 1635"/>
                <a:gd name="T95" fmla="*/ 392 h 1302"/>
                <a:gd name="T96" fmla="*/ 1251 w 1635"/>
                <a:gd name="T97" fmla="*/ 286 h 1302"/>
                <a:gd name="T98" fmla="*/ 1159 w 1635"/>
                <a:gd name="T99" fmla="*/ 240 h 1302"/>
                <a:gd name="T100" fmla="*/ 1039 w 1635"/>
                <a:gd name="T101" fmla="*/ 216 h 1302"/>
                <a:gd name="T102" fmla="*/ 962 w 1635"/>
                <a:gd name="T103" fmla="*/ 221 h 1302"/>
                <a:gd name="T104" fmla="*/ 914 w 1635"/>
                <a:gd name="T105" fmla="*/ 233 h 1302"/>
                <a:gd name="T106" fmla="*/ 896 w 1635"/>
                <a:gd name="T107" fmla="*/ 237 h 1302"/>
                <a:gd name="T108" fmla="*/ 880 w 1635"/>
                <a:gd name="T109" fmla="*/ 243 h 1302"/>
                <a:gd name="T110" fmla="*/ 864 w 1635"/>
                <a:gd name="T111" fmla="*/ 250 h 1302"/>
                <a:gd name="T112" fmla="*/ 850 w 1635"/>
                <a:gd name="T113" fmla="*/ 256 h 1302"/>
                <a:gd name="T114" fmla="*/ 834 w 1635"/>
                <a:gd name="T115" fmla="*/ 264 h 1302"/>
                <a:gd name="T116" fmla="*/ 820 w 1635"/>
                <a:gd name="T117" fmla="*/ 272 h 1302"/>
                <a:gd name="T118" fmla="*/ 814 w 1635"/>
                <a:gd name="T119" fmla="*/ 275 h 1302"/>
                <a:gd name="T120" fmla="*/ 801 w 1635"/>
                <a:gd name="T121" fmla="*/ 283 h 1302"/>
                <a:gd name="T122" fmla="*/ 793 w 1635"/>
                <a:gd name="T123" fmla="*/ 288 h 1302"/>
                <a:gd name="T124" fmla="*/ 778 w 1635"/>
                <a:gd name="T125" fmla="*/ 300 h 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35" h="1302">
                  <a:moveTo>
                    <a:pt x="756" y="318"/>
                  </a:moveTo>
                  <a:lnTo>
                    <a:pt x="755" y="318"/>
                  </a:lnTo>
                  <a:lnTo>
                    <a:pt x="754" y="319"/>
                  </a:lnTo>
                  <a:lnTo>
                    <a:pt x="755" y="319"/>
                  </a:lnTo>
                  <a:lnTo>
                    <a:pt x="756" y="318"/>
                  </a:lnTo>
                  <a:close/>
                  <a:moveTo>
                    <a:pt x="760" y="315"/>
                  </a:moveTo>
                  <a:lnTo>
                    <a:pt x="762" y="312"/>
                  </a:lnTo>
                  <a:lnTo>
                    <a:pt x="765" y="310"/>
                  </a:lnTo>
                  <a:lnTo>
                    <a:pt x="762" y="312"/>
                  </a:lnTo>
                  <a:lnTo>
                    <a:pt x="760" y="315"/>
                  </a:lnTo>
                  <a:close/>
                  <a:moveTo>
                    <a:pt x="767" y="310"/>
                  </a:moveTo>
                  <a:lnTo>
                    <a:pt x="754" y="322"/>
                  </a:lnTo>
                  <a:lnTo>
                    <a:pt x="742" y="334"/>
                  </a:lnTo>
                  <a:lnTo>
                    <a:pt x="732" y="349"/>
                  </a:lnTo>
                  <a:lnTo>
                    <a:pt x="724" y="364"/>
                  </a:lnTo>
                  <a:lnTo>
                    <a:pt x="717" y="381"/>
                  </a:lnTo>
                  <a:lnTo>
                    <a:pt x="712" y="398"/>
                  </a:lnTo>
                  <a:lnTo>
                    <a:pt x="709" y="415"/>
                  </a:lnTo>
                  <a:lnTo>
                    <a:pt x="707" y="434"/>
                  </a:lnTo>
                  <a:lnTo>
                    <a:pt x="709" y="450"/>
                  </a:lnTo>
                  <a:lnTo>
                    <a:pt x="711" y="466"/>
                  </a:lnTo>
                  <a:lnTo>
                    <a:pt x="716" y="481"/>
                  </a:lnTo>
                  <a:lnTo>
                    <a:pt x="720" y="496"/>
                  </a:lnTo>
                  <a:lnTo>
                    <a:pt x="727" y="510"/>
                  </a:lnTo>
                  <a:lnTo>
                    <a:pt x="735" y="524"/>
                  </a:lnTo>
                  <a:lnTo>
                    <a:pt x="745" y="536"/>
                  </a:lnTo>
                  <a:lnTo>
                    <a:pt x="755" y="547"/>
                  </a:lnTo>
                  <a:lnTo>
                    <a:pt x="767" y="558"/>
                  </a:lnTo>
                  <a:lnTo>
                    <a:pt x="779" y="567"/>
                  </a:lnTo>
                  <a:lnTo>
                    <a:pt x="792" y="575"/>
                  </a:lnTo>
                  <a:lnTo>
                    <a:pt x="806" y="582"/>
                  </a:lnTo>
                  <a:lnTo>
                    <a:pt x="821" y="588"/>
                  </a:lnTo>
                  <a:lnTo>
                    <a:pt x="836" y="591"/>
                  </a:lnTo>
                  <a:lnTo>
                    <a:pt x="852" y="594"/>
                  </a:lnTo>
                  <a:lnTo>
                    <a:pt x="868" y="595"/>
                  </a:lnTo>
                  <a:lnTo>
                    <a:pt x="883" y="594"/>
                  </a:lnTo>
                  <a:lnTo>
                    <a:pt x="899" y="591"/>
                  </a:lnTo>
                  <a:lnTo>
                    <a:pt x="914" y="588"/>
                  </a:lnTo>
                  <a:lnTo>
                    <a:pt x="927" y="583"/>
                  </a:lnTo>
                  <a:lnTo>
                    <a:pt x="940" y="577"/>
                  </a:lnTo>
                  <a:lnTo>
                    <a:pt x="953" y="570"/>
                  </a:lnTo>
                  <a:lnTo>
                    <a:pt x="966" y="562"/>
                  </a:lnTo>
                  <a:lnTo>
                    <a:pt x="976" y="553"/>
                  </a:lnTo>
                  <a:lnTo>
                    <a:pt x="962" y="567"/>
                  </a:lnTo>
                  <a:lnTo>
                    <a:pt x="947" y="581"/>
                  </a:lnTo>
                  <a:lnTo>
                    <a:pt x="932" y="595"/>
                  </a:lnTo>
                  <a:lnTo>
                    <a:pt x="916" y="606"/>
                  </a:lnTo>
                  <a:lnTo>
                    <a:pt x="899" y="618"/>
                  </a:lnTo>
                  <a:lnTo>
                    <a:pt x="881" y="629"/>
                  </a:lnTo>
                  <a:lnTo>
                    <a:pt x="863" y="639"/>
                  </a:lnTo>
                  <a:lnTo>
                    <a:pt x="844" y="648"/>
                  </a:lnTo>
                  <a:lnTo>
                    <a:pt x="826" y="655"/>
                  </a:lnTo>
                  <a:lnTo>
                    <a:pt x="806" y="662"/>
                  </a:lnTo>
                  <a:lnTo>
                    <a:pt x="785" y="669"/>
                  </a:lnTo>
                  <a:lnTo>
                    <a:pt x="765" y="673"/>
                  </a:lnTo>
                  <a:lnTo>
                    <a:pt x="745" y="677"/>
                  </a:lnTo>
                  <a:lnTo>
                    <a:pt x="723" y="680"/>
                  </a:lnTo>
                  <a:lnTo>
                    <a:pt x="702" y="682"/>
                  </a:lnTo>
                  <a:lnTo>
                    <a:pt x="680" y="683"/>
                  </a:lnTo>
                  <a:lnTo>
                    <a:pt x="666" y="682"/>
                  </a:lnTo>
                  <a:lnTo>
                    <a:pt x="651" y="682"/>
                  </a:lnTo>
                  <a:lnTo>
                    <a:pt x="637" y="680"/>
                  </a:lnTo>
                  <a:lnTo>
                    <a:pt x="623" y="678"/>
                  </a:lnTo>
                  <a:lnTo>
                    <a:pt x="602" y="675"/>
                  </a:lnTo>
                  <a:lnTo>
                    <a:pt x="582" y="671"/>
                  </a:lnTo>
                  <a:lnTo>
                    <a:pt x="563" y="665"/>
                  </a:lnTo>
                  <a:lnTo>
                    <a:pt x="544" y="660"/>
                  </a:lnTo>
                  <a:lnTo>
                    <a:pt x="528" y="634"/>
                  </a:lnTo>
                  <a:lnTo>
                    <a:pt x="514" y="609"/>
                  </a:lnTo>
                  <a:lnTo>
                    <a:pt x="502" y="582"/>
                  </a:lnTo>
                  <a:lnTo>
                    <a:pt x="492" y="554"/>
                  </a:lnTo>
                  <a:lnTo>
                    <a:pt x="484" y="525"/>
                  </a:lnTo>
                  <a:lnTo>
                    <a:pt x="478" y="495"/>
                  </a:lnTo>
                  <a:lnTo>
                    <a:pt x="476" y="480"/>
                  </a:lnTo>
                  <a:lnTo>
                    <a:pt x="475" y="465"/>
                  </a:lnTo>
                  <a:lnTo>
                    <a:pt x="474" y="450"/>
                  </a:lnTo>
                  <a:lnTo>
                    <a:pt x="474" y="434"/>
                  </a:lnTo>
                  <a:lnTo>
                    <a:pt x="475" y="411"/>
                  </a:lnTo>
                  <a:lnTo>
                    <a:pt x="476" y="389"/>
                  </a:lnTo>
                  <a:lnTo>
                    <a:pt x="479" y="367"/>
                  </a:lnTo>
                  <a:lnTo>
                    <a:pt x="484" y="345"/>
                  </a:lnTo>
                  <a:lnTo>
                    <a:pt x="489" y="324"/>
                  </a:lnTo>
                  <a:lnTo>
                    <a:pt x="496" y="303"/>
                  </a:lnTo>
                  <a:lnTo>
                    <a:pt x="504" y="282"/>
                  </a:lnTo>
                  <a:lnTo>
                    <a:pt x="512" y="263"/>
                  </a:lnTo>
                  <a:lnTo>
                    <a:pt x="522" y="244"/>
                  </a:lnTo>
                  <a:lnTo>
                    <a:pt x="533" y="226"/>
                  </a:lnTo>
                  <a:lnTo>
                    <a:pt x="544" y="207"/>
                  </a:lnTo>
                  <a:lnTo>
                    <a:pt x="557" y="191"/>
                  </a:lnTo>
                  <a:lnTo>
                    <a:pt x="571" y="174"/>
                  </a:lnTo>
                  <a:lnTo>
                    <a:pt x="585" y="159"/>
                  </a:lnTo>
                  <a:lnTo>
                    <a:pt x="601" y="143"/>
                  </a:lnTo>
                  <a:lnTo>
                    <a:pt x="616" y="130"/>
                  </a:lnTo>
                  <a:lnTo>
                    <a:pt x="633" y="118"/>
                  </a:lnTo>
                  <a:lnTo>
                    <a:pt x="650" y="106"/>
                  </a:lnTo>
                  <a:lnTo>
                    <a:pt x="667" y="95"/>
                  </a:lnTo>
                  <a:lnTo>
                    <a:pt x="684" y="84"/>
                  </a:lnTo>
                  <a:lnTo>
                    <a:pt x="717" y="67"/>
                  </a:lnTo>
                  <a:lnTo>
                    <a:pt x="751" y="51"/>
                  </a:lnTo>
                  <a:lnTo>
                    <a:pt x="786" y="37"/>
                  </a:lnTo>
                  <a:lnTo>
                    <a:pt x="822" y="25"/>
                  </a:lnTo>
                  <a:lnTo>
                    <a:pt x="841" y="20"/>
                  </a:lnTo>
                  <a:lnTo>
                    <a:pt x="859" y="16"/>
                  </a:lnTo>
                  <a:lnTo>
                    <a:pt x="878" y="12"/>
                  </a:lnTo>
                  <a:lnTo>
                    <a:pt x="897" y="8"/>
                  </a:lnTo>
                  <a:lnTo>
                    <a:pt x="916" y="6"/>
                  </a:lnTo>
                  <a:lnTo>
                    <a:pt x="936" y="3"/>
                  </a:lnTo>
                  <a:lnTo>
                    <a:pt x="955" y="1"/>
                  </a:lnTo>
                  <a:lnTo>
                    <a:pt x="975" y="0"/>
                  </a:lnTo>
                  <a:lnTo>
                    <a:pt x="988" y="0"/>
                  </a:lnTo>
                  <a:lnTo>
                    <a:pt x="1002" y="0"/>
                  </a:lnTo>
                  <a:lnTo>
                    <a:pt x="1035" y="0"/>
                  </a:lnTo>
                  <a:lnTo>
                    <a:pt x="1070" y="3"/>
                  </a:lnTo>
                  <a:lnTo>
                    <a:pt x="1104" y="8"/>
                  </a:lnTo>
                  <a:lnTo>
                    <a:pt x="1136" y="14"/>
                  </a:lnTo>
                  <a:lnTo>
                    <a:pt x="1168" y="22"/>
                  </a:lnTo>
                  <a:lnTo>
                    <a:pt x="1200" y="31"/>
                  </a:lnTo>
                  <a:lnTo>
                    <a:pt x="1231" y="43"/>
                  </a:lnTo>
                  <a:lnTo>
                    <a:pt x="1261" y="54"/>
                  </a:lnTo>
                  <a:lnTo>
                    <a:pt x="1292" y="71"/>
                  </a:lnTo>
                  <a:lnTo>
                    <a:pt x="1322" y="87"/>
                  </a:lnTo>
                  <a:lnTo>
                    <a:pt x="1351" y="105"/>
                  </a:lnTo>
                  <a:lnTo>
                    <a:pt x="1379" y="125"/>
                  </a:lnTo>
                  <a:lnTo>
                    <a:pt x="1407" y="146"/>
                  </a:lnTo>
                  <a:lnTo>
                    <a:pt x="1432" y="169"/>
                  </a:lnTo>
                  <a:lnTo>
                    <a:pt x="1457" y="193"/>
                  </a:lnTo>
                  <a:lnTo>
                    <a:pt x="1480" y="218"/>
                  </a:lnTo>
                  <a:lnTo>
                    <a:pt x="1481" y="219"/>
                  </a:lnTo>
                  <a:lnTo>
                    <a:pt x="1482" y="220"/>
                  </a:lnTo>
                  <a:lnTo>
                    <a:pt x="1500" y="242"/>
                  </a:lnTo>
                  <a:lnTo>
                    <a:pt x="1516" y="264"/>
                  </a:lnTo>
                  <a:lnTo>
                    <a:pt x="1532" y="286"/>
                  </a:lnTo>
                  <a:lnTo>
                    <a:pt x="1546" y="310"/>
                  </a:lnTo>
                  <a:lnTo>
                    <a:pt x="1560" y="333"/>
                  </a:lnTo>
                  <a:lnTo>
                    <a:pt x="1573" y="359"/>
                  </a:lnTo>
                  <a:lnTo>
                    <a:pt x="1584" y="383"/>
                  </a:lnTo>
                  <a:lnTo>
                    <a:pt x="1595" y="410"/>
                  </a:lnTo>
                  <a:lnTo>
                    <a:pt x="1604" y="436"/>
                  </a:lnTo>
                  <a:lnTo>
                    <a:pt x="1612" y="463"/>
                  </a:lnTo>
                  <a:lnTo>
                    <a:pt x="1619" y="491"/>
                  </a:lnTo>
                  <a:lnTo>
                    <a:pt x="1625" y="518"/>
                  </a:lnTo>
                  <a:lnTo>
                    <a:pt x="1629" y="546"/>
                  </a:lnTo>
                  <a:lnTo>
                    <a:pt x="1633" y="575"/>
                  </a:lnTo>
                  <a:lnTo>
                    <a:pt x="1635" y="604"/>
                  </a:lnTo>
                  <a:lnTo>
                    <a:pt x="1635" y="634"/>
                  </a:lnTo>
                  <a:lnTo>
                    <a:pt x="1635" y="664"/>
                  </a:lnTo>
                  <a:lnTo>
                    <a:pt x="1633" y="694"/>
                  </a:lnTo>
                  <a:lnTo>
                    <a:pt x="1629" y="724"/>
                  </a:lnTo>
                  <a:lnTo>
                    <a:pt x="1623" y="754"/>
                  </a:lnTo>
                  <a:lnTo>
                    <a:pt x="1618" y="783"/>
                  </a:lnTo>
                  <a:lnTo>
                    <a:pt x="1610" y="811"/>
                  </a:lnTo>
                  <a:lnTo>
                    <a:pt x="1601" y="839"/>
                  </a:lnTo>
                  <a:lnTo>
                    <a:pt x="1591" y="867"/>
                  </a:lnTo>
                  <a:lnTo>
                    <a:pt x="1579" y="893"/>
                  </a:lnTo>
                  <a:lnTo>
                    <a:pt x="1567" y="920"/>
                  </a:lnTo>
                  <a:lnTo>
                    <a:pt x="1554" y="945"/>
                  </a:lnTo>
                  <a:lnTo>
                    <a:pt x="1539" y="970"/>
                  </a:lnTo>
                  <a:lnTo>
                    <a:pt x="1523" y="994"/>
                  </a:lnTo>
                  <a:lnTo>
                    <a:pt x="1507" y="1017"/>
                  </a:lnTo>
                  <a:lnTo>
                    <a:pt x="1488" y="1039"/>
                  </a:lnTo>
                  <a:lnTo>
                    <a:pt x="1469" y="1061"/>
                  </a:lnTo>
                  <a:lnTo>
                    <a:pt x="1469" y="1061"/>
                  </a:lnTo>
                  <a:lnTo>
                    <a:pt x="1469" y="1061"/>
                  </a:lnTo>
                  <a:lnTo>
                    <a:pt x="1441" y="1088"/>
                  </a:lnTo>
                  <a:lnTo>
                    <a:pt x="1412" y="1112"/>
                  </a:lnTo>
                  <a:lnTo>
                    <a:pt x="1381" y="1135"/>
                  </a:lnTo>
                  <a:lnTo>
                    <a:pt x="1350" y="1157"/>
                  </a:lnTo>
                  <a:lnTo>
                    <a:pt x="1318" y="1178"/>
                  </a:lnTo>
                  <a:lnTo>
                    <a:pt x="1284" y="1197"/>
                  </a:lnTo>
                  <a:lnTo>
                    <a:pt x="1249" y="1215"/>
                  </a:lnTo>
                  <a:lnTo>
                    <a:pt x="1215" y="1231"/>
                  </a:lnTo>
                  <a:lnTo>
                    <a:pt x="1215" y="1231"/>
                  </a:lnTo>
                  <a:lnTo>
                    <a:pt x="1214" y="1231"/>
                  </a:lnTo>
                  <a:lnTo>
                    <a:pt x="1174" y="1247"/>
                  </a:lnTo>
                  <a:lnTo>
                    <a:pt x="1132" y="1261"/>
                  </a:lnTo>
                  <a:lnTo>
                    <a:pt x="1091" y="1274"/>
                  </a:lnTo>
                  <a:lnTo>
                    <a:pt x="1048" y="1283"/>
                  </a:lnTo>
                  <a:lnTo>
                    <a:pt x="1004" y="1291"/>
                  </a:lnTo>
                  <a:lnTo>
                    <a:pt x="960" y="1297"/>
                  </a:lnTo>
                  <a:lnTo>
                    <a:pt x="937" y="1299"/>
                  </a:lnTo>
                  <a:lnTo>
                    <a:pt x="915" y="1301"/>
                  </a:lnTo>
                  <a:lnTo>
                    <a:pt x="892" y="1302"/>
                  </a:lnTo>
                  <a:lnTo>
                    <a:pt x="868" y="1302"/>
                  </a:lnTo>
                  <a:lnTo>
                    <a:pt x="824" y="1301"/>
                  </a:lnTo>
                  <a:lnTo>
                    <a:pt x="779" y="1298"/>
                  </a:lnTo>
                  <a:lnTo>
                    <a:pt x="736" y="1293"/>
                  </a:lnTo>
                  <a:lnTo>
                    <a:pt x="694" y="1284"/>
                  </a:lnTo>
                  <a:lnTo>
                    <a:pt x="652" y="1275"/>
                  </a:lnTo>
                  <a:lnTo>
                    <a:pt x="610" y="1264"/>
                  </a:lnTo>
                  <a:lnTo>
                    <a:pt x="570" y="1250"/>
                  </a:lnTo>
                  <a:lnTo>
                    <a:pt x="530" y="1234"/>
                  </a:lnTo>
                  <a:lnTo>
                    <a:pt x="492" y="1216"/>
                  </a:lnTo>
                  <a:lnTo>
                    <a:pt x="455" y="1198"/>
                  </a:lnTo>
                  <a:lnTo>
                    <a:pt x="418" y="1177"/>
                  </a:lnTo>
                  <a:lnTo>
                    <a:pt x="383" y="1154"/>
                  </a:lnTo>
                  <a:lnTo>
                    <a:pt x="348" y="1129"/>
                  </a:lnTo>
                  <a:lnTo>
                    <a:pt x="316" y="1104"/>
                  </a:lnTo>
                  <a:lnTo>
                    <a:pt x="285" y="1077"/>
                  </a:lnTo>
                  <a:lnTo>
                    <a:pt x="255" y="1048"/>
                  </a:lnTo>
                  <a:lnTo>
                    <a:pt x="226" y="1018"/>
                  </a:lnTo>
                  <a:lnTo>
                    <a:pt x="198" y="986"/>
                  </a:lnTo>
                  <a:lnTo>
                    <a:pt x="172" y="953"/>
                  </a:lnTo>
                  <a:lnTo>
                    <a:pt x="148" y="920"/>
                  </a:lnTo>
                  <a:lnTo>
                    <a:pt x="126" y="884"/>
                  </a:lnTo>
                  <a:lnTo>
                    <a:pt x="104" y="848"/>
                  </a:lnTo>
                  <a:lnTo>
                    <a:pt x="86" y="810"/>
                  </a:lnTo>
                  <a:lnTo>
                    <a:pt x="68" y="772"/>
                  </a:lnTo>
                  <a:lnTo>
                    <a:pt x="52" y="732"/>
                  </a:lnTo>
                  <a:lnTo>
                    <a:pt x="39" y="692"/>
                  </a:lnTo>
                  <a:lnTo>
                    <a:pt x="28" y="651"/>
                  </a:lnTo>
                  <a:lnTo>
                    <a:pt x="17" y="609"/>
                  </a:lnTo>
                  <a:lnTo>
                    <a:pt x="10" y="566"/>
                  </a:lnTo>
                  <a:lnTo>
                    <a:pt x="5" y="523"/>
                  </a:lnTo>
                  <a:lnTo>
                    <a:pt x="1" y="479"/>
                  </a:lnTo>
                  <a:lnTo>
                    <a:pt x="0" y="434"/>
                  </a:lnTo>
                  <a:lnTo>
                    <a:pt x="0" y="410"/>
                  </a:lnTo>
                  <a:lnTo>
                    <a:pt x="1" y="385"/>
                  </a:lnTo>
                  <a:lnTo>
                    <a:pt x="3" y="361"/>
                  </a:lnTo>
                  <a:lnTo>
                    <a:pt x="6" y="337"/>
                  </a:lnTo>
                  <a:lnTo>
                    <a:pt x="8" y="314"/>
                  </a:lnTo>
                  <a:lnTo>
                    <a:pt x="11" y="290"/>
                  </a:lnTo>
                  <a:lnTo>
                    <a:pt x="16" y="266"/>
                  </a:lnTo>
                  <a:lnTo>
                    <a:pt x="21" y="243"/>
                  </a:lnTo>
                  <a:lnTo>
                    <a:pt x="27" y="221"/>
                  </a:lnTo>
                  <a:lnTo>
                    <a:pt x="32" y="198"/>
                  </a:lnTo>
                  <a:lnTo>
                    <a:pt x="39" y="176"/>
                  </a:lnTo>
                  <a:lnTo>
                    <a:pt x="46" y="154"/>
                  </a:lnTo>
                  <a:lnTo>
                    <a:pt x="54" y="132"/>
                  </a:lnTo>
                  <a:lnTo>
                    <a:pt x="62" y="110"/>
                  </a:lnTo>
                  <a:lnTo>
                    <a:pt x="72" y="89"/>
                  </a:lnTo>
                  <a:lnTo>
                    <a:pt x="81" y="68"/>
                  </a:lnTo>
                  <a:lnTo>
                    <a:pt x="71" y="95"/>
                  </a:lnTo>
                  <a:lnTo>
                    <a:pt x="62" y="121"/>
                  </a:lnTo>
                  <a:lnTo>
                    <a:pt x="55" y="149"/>
                  </a:lnTo>
                  <a:lnTo>
                    <a:pt x="50" y="177"/>
                  </a:lnTo>
                  <a:lnTo>
                    <a:pt x="45" y="206"/>
                  </a:lnTo>
                  <a:lnTo>
                    <a:pt x="42" y="235"/>
                  </a:lnTo>
                  <a:lnTo>
                    <a:pt x="39" y="264"/>
                  </a:lnTo>
                  <a:lnTo>
                    <a:pt x="39" y="294"/>
                  </a:lnTo>
                  <a:lnTo>
                    <a:pt x="39" y="316"/>
                  </a:lnTo>
                  <a:lnTo>
                    <a:pt x="40" y="338"/>
                  </a:lnTo>
                  <a:lnTo>
                    <a:pt x="43" y="360"/>
                  </a:lnTo>
                  <a:lnTo>
                    <a:pt x="45" y="382"/>
                  </a:lnTo>
                  <a:lnTo>
                    <a:pt x="49" y="404"/>
                  </a:lnTo>
                  <a:lnTo>
                    <a:pt x="53" y="425"/>
                  </a:lnTo>
                  <a:lnTo>
                    <a:pt x="58" y="445"/>
                  </a:lnTo>
                  <a:lnTo>
                    <a:pt x="62" y="466"/>
                  </a:lnTo>
                  <a:lnTo>
                    <a:pt x="69" y="487"/>
                  </a:lnTo>
                  <a:lnTo>
                    <a:pt x="76" y="508"/>
                  </a:lnTo>
                  <a:lnTo>
                    <a:pt x="83" y="528"/>
                  </a:lnTo>
                  <a:lnTo>
                    <a:pt x="91" y="547"/>
                  </a:lnTo>
                  <a:lnTo>
                    <a:pt x="101" y="566"/>
                  </a:lnTo>
                  <a:lnTo>
                    <a:pt x="110" y="586"/>
                  </a:lnTo>
                  <a:lnTo>
                    <a:pt x="120" y="603"/>
                  </a:lnTo>
                  <a:lnTo>
                    <a:pt x="131" y="621"/>
                  </a:lnTo>
                  <a:lnTo>
                    <a:pt x="142" y="639"/>
                  </a:lnTo>
                  <a:lnTo>
                    <a:pt x="154" y="656"/>
                  </a:lnTo>
                  <a:lnTo>
                    <a:pt x="165" y="673"/>
                  </a:lnTo>
                  <a:lnTo>
                    <a:pt x="178" y="690"/>
                  </a:lnTo>
                  <a:lnTo>
                    <a:pt x="192" y="706"/>
                  </a:lnTo>
                  <a:lnTo>
                    <a:pt x="206" y="722"/>
                  </a:lnTo>
                  <a:lnTo>
                    <a:pt x="220" y="737"/>
                  </a:lnTo>
                  <a:lnTo>
                    <a:pt x="235" y="751"/>
                  </a:lnTo>
                  <a:lnTo>
                    <a:pt x="250" y="766"/>
                  </a:lnTo>
                  <a:lnTo>
                    <a:pt x="266" y="779"/>
                  </a:lnTo>
                  <a:lnTo>
                    <a:pt x="282" y="793"/>
                  </a:lnTo>
                  <a:lnTo>
                    <a:pt x="300" y="805"/>
                  </a:lnTo>
                  <a:lnTo>
                    <a:pt x="316" y="817"/>
                  </a:lnTo>
                  <a:lnTo>
                    <a:pt x="335" y="829"/>
                  </a:lnTo>
                  <a:lnTo>
                    <a:pt x="352" y="839"/>
                  </a:lnTo>
                  <a:lnTo>
                    <a:pt x="370" y="849"/>
                  </a:lnTo>
                  <a:lnTo>
                    <a:pt x="386" y="867"/>
                  </a:lnTo>
                  <a:lnTo>
                    <a:pt x="401" y="884"/>
                  </a:lnTo>
                  <a:lnTo>
                    <a:pt x="417" y="899"/>
                  </a:lnTo>
                  <a:lnTo>
                    <a:pt x="433" y="915"/>
                  </a:lnTo>
                  <a:lnTo>
                    <a:pt x="455" y="934"/>
                  </a:lnTo>
                  <a:lnTo>
                    <a:pt x="478" y="952"/>
                  </a:lnTo>
                  <a:lnTo>
                    <a:pt x="501" y="970"/>
                  </a:lnTo>
                  <a:lnTo>
                    <a:pt x="526" y="986"/>
                  </a:lnTo>
                  <a:lnTo>
                    <a:pt x="551" y="1000"/>
                  </a:lnTo>
                  <a:lnTo>
                    <a:pt x="577" y="1014"/>
                  </a:lnTo>
                  <a:lnTo>
                    <a:pt x="603" y="1026"/>
                  </a:lnTo>
                  <a:lnTo>
                    <a:pt x="631" y="1038"/>
                  </a:lnTo>
                  <a:lnTo>
                    <a:pt x="659" y="1048"/>
                  </a:lnTo>
                  <a:lnTo>
                    <a:pt x="688" y="1058"/>
                  </a:lnTo>
                  <a:lnTo>
                    <a:pt x="717" y="1065"/>
                  </a:lnTo>
                  <a:lnTo>
                    <a:pt x="746" y="1072"/>
                  </a:lnTo>
                  <a:lnTo>
                    <a:pt x="776" y="1076"/>
                  </a:lnTo>
                  <a:lnTo>
                    <a:pt x="806" y="1080"/>
                  </a:lnTo>
                  <a:lnTo>
                    <a:pt x="837" y="1082"/>
                  </a:lnTo>
                  <a:lnTo>
                    <a:pt x="868" y="1083"/>
                  </a:lnTo>
                  <a:lnTo>
                    <a:pt x="897" y="1082"/>
                  </a:lnTo>
                  <a:lnTo>
                    <a:pt x="926" y="1081"/>
                  </a:lnTo>
                  <a:lnTo>
                    <a:pt x="955" y="1077"/>
                  </a:lnTo>
                  <a:lnTo>
                    <a:pt x="983" y="1073"/>
                  </a:lnTo>
                  <a:lnTo>
                    <a:pt x="1011" y="1067"/>
                  </a:lnTo>
                  <a:lnTo>
                    <a:pt x="1039" y="1061"/>
                  </a:lnTo>
                  <a:lnTo>
                    <a:pt x="1065" y="1053"/>
                  </a:lnTo>
                  <a:lnTo>
                    <a:pt x="1092" y="1044"/>
                  </a:lnTo>
                  <a:lnTo>
                    <a:pt x="1117" y="1033"/>
                  </a:lnTo>
                  <a:lnTo>
                    <a:pt x="1143" y="1023"/>
                  </a:lnTo>
                  <a:lnTo>
                    <a:pt x="1167" y="1010"/>
                  </a:lnTo>
                  <a:lnTo>
                    <a:pt x="1192" y="997"/>
                  </a:lnTo>
                  <a:lnTo>
                    <a:pt x="1215" y="984"/>
                  </a:lnTo>
                  <a:lnTo>
                    <a:pt x="1238" y="969"/>
                  </a:lnTo>
                  <a:lnTo>
                    <a:pt x="1260" y="952"/>
                  </a:lnTo>
                  <a:lnTo>
                    <a:pt x="1282" y="935"/>
                  </a:lnTo>
                  <a:lnTo>
                    <a:pt x="1281" y="935"/>
                  </a:lnTo>
                  <a:lnTo>
                    <a:pt x="1298" y="920"/>
                  </a:lnTo>
                  <a:lnTo>
                    <a:pt x="1313" y="905"/>
                  </a:lnTo>
                  <a:lnTo>
                    <a:pt x="1328" y="889"/>
                  </a:lnTo>
                  <a:lnTo>
                    <a:pt x="1342" y="872"/>
                  </a:lnTo>
                  <a:lnTo>
                    <a:pt x="1356" y="854"/>
                  </a:lnTo>
                  <a:lnTo>
                    <a:pt x="1368" y="837"/>
                  </a:lnTo>
                  <a:lnTo>
                    <a:pt x="1379" y="817"/>
                  </a:lnTo>
                  <a:lnTo>
                    <a:pt x="1388" y="797"/>
                  </a:lnTo>
                  <a:lnTo>
                    <a:pt x="1398" y="778"/>
                  </a:lnTo>
                  <a:lnTo>
                    <a:pt x="1406" y="757"/>
                  </a:lnTo>
                  <a:lnTo>
                    <a:pt x="1413" y="735"/>
                  </a:lnTo>
                  <a:lnTo>
                    <a:pt x="1419" y="713"/>
                  </a:lnTo>
                  <a:lnTo>
                    <a:pt x="1423" y="691"/>
                  </a:lnTo>
                  <a:lnTo>
                    <a:pt x="1427" y="668"/>
                  </a:lnTo>
                  <a:lnTo>
                    <a:pt x="1429" y="645"/>
                  </a:lnTo>
                  <a:lnTo>
                    <a:pt x="1429" y="621"/>
                  </a:lnTo>
                  <a:lnTo>
                    <a:pt x="1429" y="601"/>
                  </a:lnTo>
                  <a:lnTo>
                    <a:pt x="1427" y="580"/>
                  </a:lnTo>
                  <a:lnTo>
                    <a:pt x="1424" y="559"/>
                  </a:lnTo>
                  <a:lnTo>
                    <a:pt x="1421" y="538"/>
                  </a:lnTo>
                  <a:lnTo>
                    <a:pt x="1416" y="518"/>
                  </a:lnTo>
                  <a:lnTo>
                    <a:pt x="1410" y="499"/>
                  </a:lnTo>
                  <a:lnTo>
                    <a:pt x="1403" y="480"/>
                  </a:lnTo>
                  <a:lnTo>
                    <a:pt x="1397" y="462"/>
                  </a:lnTo>
                  <a:lnTo>
                    <a:pt x="1387" y="443"/>
                  </a:lnTo>
                  <a:lnTo>
                    <a:pt x="1378" y="426"/>
                  </a:lnTo>
                  <a:lnTo>
                    <a:pt x="1369" y="408"/>
                  </a:lnTo>
                  <a:lnTo>
                    <a:pt x="1357" y="392"/>
                  </a:lnTo>
                  <a:lnTo>
                    <a:pt x="1346" y="376"/>
                  </a:lnTo>
                  <a:lnTo>
                    <a:pt x="1333" y="360"/>
                  </a:lnTo>
                  <a:lnTo>
                    <a:pt x="1320" y="346"/>
                  </a:lnTo>
                  <a:lnTo>
                    <a:pt x="1306" y="331"/>
                  </a:lnTo>
                  <a:lnTo>
                    <a:pt x="1289" y="315"/>
                  </a:lnTo>
                  <a:lnTo>
                    <a:pt x="1270" y="300"/>
                  </a:lnTo>
                  <a:lnTo>
                    <a:pt x="1251" y="286"/>
                  </a:lnTo>
                  <a:lnTo>
                    <a:pt x="1230" y="273"/>
                  </a:lnTo>
                  <a:lnTo>
                    <a:pt x="1230" y="273"/>
                  </a:lnTo>
                  <a:lnTo>
                    <a:pt x="1230" y="273"/>
                  </a:lnTo>
                  <a:lnTo>
                    <a:pt x="1212" y="263"/>
                  </a:lnTo>
                  <a:lnTo>
                    <a:pt x="1195" y="255"/>
                  </a:lnTo>
                  <a:lnTo>
                    <a:pt x="1178" y="246"/>
                  </a:lnTo>
                  <a:lnTo>
                    <a:pt x="1159" y="240"/>
                  </a:lnTo>
                  <a:lnTo>
                    <a:pt x="1139" y="234"/>
                  </a:lnTo>
                  <a:lnTo>
                    <a:pt x="1121" y="228"/>
                  </a:lnTo>
                  <a:lnTo>
                    <a:pt x="1101" y="224"/>
                  </a:lnTo>
                  <a:lnTo>
                    <a:pt x="1080" y="221"/>
                  </a:lnTo>
                  <a:lnTo>
                    <a:pt x="1066" y="219"/>
                  </a:lnTo>
                  <a:lnTo>
                    <a:pt x="1053" y="218"/>
                  </a:lnTo>
                  <a:lnTo>
                    <a:pt x="1039" y="216"/>
                  </a:lnTo>
                  <a:lnTo>
                    <a:pt x="1024" y="216"/>
                  </a:lnTo>
                  <a:lnTo>
                    <a:pt x="1018" y="216"/>
                  </a:lnTo>
                  <a:lnTo>
                    <a:pt x="1012" y="216"/>
                  </a:lnTo>
                  <a:lnTo>
                    <a:pt x="1003" y="218"/>
                  </a:lnTo>
                  <a:lnTo>
                    <a:pt x="994" y="218"/>
                  </a:lnTo>
                  <a:lnTo>
                    <a:pt x="978" y="219"/>
                  </a:lnTo>
                  <a:lnTo>
                    <a:pt x="962" y="221"/>
                  </a:lnTo>
                  <a:lnTo>
                    <a:pt x="947" y="224"/>
                  </a:lnTo>
                  <a:lnTo>
                    <a:pt x="931" y="227"/>
                  </a:lnTo>
                  <a:lnTo>
                    <a:pt x="927" y="228"/>
                  </a:lnTo>
                  <a:lnTo>
                    <a:pt x="924" y="229"/>
                  </a:lnTo>
                  <a:lnTo>
                    <a:pt x="919" y="230"/>
                  </a:lnTo>
                  <a:lnTo>
                    <a:pt x="915" y="231"/>
                  </a:lnTo>
                  <a:lnTo>
                    <a:pt x="914" y="233"/>
                  </a:lnTo>
                  <a:lnTo>
                    <a:pt x="911" y="233"/>
                  </a:lnTo>
                  <a:lnTo>
                    <a:pt x="909" y="233"/>
                  </a:lnTo>
                  <a:lnTo>
                    <a:pt x="908" y="234"/>
                  </a:lnTo>
                  <a:lnTo>
                    <a:pt x="907" y="234"/>
                  </a:lnTo>
                  <a:lnTo>
                    <a:pt x="905" y="234"/>
                  </a:lnTo>
                  <a:lnTo>
                    <a:pt x="901" y="236"/>
                  </a:lnTo>
                  <a:lnTo>
                    <a:pt x="896" y="237"/>
                  </a:lnTo>
                  <a:lnTo>
                    <a:pt x="894" y="238"/>
                  </a:lnTo>
                  <a:lnTo>
                    <a:pt x="892" y="238"/>
                  </a:lnTo>
                  <a:lnTo>
                    <a:pt x="889" y="240"/>
                  </a:lnTo>
                  <a:lnTo>
                    <a:pt x="887" y="241"/>
                  </a:lnTo>
                  <a:lnTo>
                    <a:pt x="885" y="242"/>
                  </a:lnTo>
                  <a:lnTo>
                    <a:pt x="882" y="242"/>
                  </a:lnTo>
                  <a:lnTo>
                    <a:pt x="880" y="243"/>
                  </a:lnTo>
                  <a:lnTo>
                    <a:pt x="878" y="244"/>
                  </a:lnTo>
                  <a:lnTo>
                    <a:pt x="875" y="244"/>
                  </a:lnTo>
                  <a:lnTo>
                    <a:pt x="874" y="245"/>
                  </a:lnTo>
                  <a:lnTo>
                    <a:pt x="871" y="246"/>
                  </a:lnTo>
                  <a:lnTo>
                    <a:pt x="868" y="248"/>
                  </a:lnTo>
                  <a:lnTo>
                    <a:pt x="866" y="249"/>
                  </a:lnTo>
                  <a:lnTo>
                    <a:pt x="864" y="250"/>
                  </a:lnTo>
                  <a:lnTo>
                    <a:pt x="861" y="251"/>
                  </a:lnTo>
                  <a:lnTo>
                    <a:pt x="859" y="251"/>
                  </a:lnTo>
                  <a:lnTo>
                    <a:pt x="857" y="252"/>
                  </a:lnTo>
                  <a:lnTo>
                    <a:pt x="855" y="253"/>
                  </a:lnTo>
                  <a:lnTo>
                    <a:pt x="853" y="255"/>
                  </a:lnTo>
                  <a:lnTo>
                    <a:pt x="853" y="255"/>
                  </a:lnTo>
                  <a:lnTo>
                    <a:pt x="850" y="256"/>
                  </a:lnTo>
                  <a:lnTo>
                    <a:pt x="846" y="258"/>
                  </a:lnTo>
                  <a:lnTo>
                    <a:pt x="845" y="258"/>
                  </a:lnTo>
                  <a:lnTo>
                    <a:pt x="844" y="258"/>
                  </a:lnTo>
                  <a:lnTo>
                    <a:pt x="842" y="260"/>
                  </a:lnTo>
                  <a:lnTo>
                    <a:pt x="839" y="262"/>
                  </a:lnTo>
                  <a:lnTo>
                    <a:pt x="836" y="263"/>
                  </a:lnTo>
                  <a:lnTo>
                    <a:pt x="834" y="264"/>
                  </a:lnTo>
                  <a:lnTo>
                    <a:pt x="829" y="266"/>
                  </a:lnTo>
                  <a:lnTo>
                    <a:pt x="826" y="268"/>
                  </a:lnTo>
                  <a:lnTo>
                    <a:pt x="826" y="268"/>
                  </a:lnTo>
                  <a:lnTo>
                    <a:pt x="824" y="268"/>
                  </a:lnTo>
                  <a:lnTo>
                    <a:pt x="822" y="271"/>
                  </a:lnTo>
                  <a:lnTo>
                    <a:pt x="820" y="272"/>
                  </a:lnTo>
                  <a:lnTo>
                    <a:pt x="820" y="272"/>
                  </a:lnTo>
                  <a:lnTo>
                    <a:pt x="819" y="273"/>
                  </a:lnTo>
                  <a:lnTo>
                    <a:pt x="817" y="273"/>
                  </a:lnTo>
                  <a:lnTo>
                    <a:pt x="816" y="273"/>
                  </a:lnTo>
                  <a:lnTo>
                    <a:pt x="816" y="274"/>
                  </a:lnTo>
                  <a:lnTo>
                    <a:pt x="816" y="274"/>
                  </a:lnTo>
                  <a:lnTo>
                    <a:pt x="815" y="274"/>
                  </a:lnTo>
                  <a:lnTo>
                    <a:pt x="814" y="275"/>
                  </a:lnTo>
                  <a:lnTo>
                    <a:pt x="812" y="277"/>
                  </a:lnTo>
                  <a:lnTo>
                    <a:pt x="809" y="278"/>
                  </a:lnTo>
                  <a:lnTo>
                    <a:pt x="808" y="279"/>
                  </a:lnTo>
                  <a:lnTo>
                    <a:pt x="806" y="280"/>
                  </a:lnTo>
                  <a:lnTo>
                    <a:pt x="804" y="281"/>
                  </a:lnTo>
                  <a:lnTo>
                    <a:pt x="801" y="283"/>
                  </a:lnTo>
                  <a:lnTo>
                    <a:pt x="801" y="283"/>
                  </a:lnTo>
                  <a:lnTo>
                    <a:pt x="800" y="283"/>
                  </a:lnTo>
                  <a:lnTo>
                    <a:pt x="800" y="285"/>
                  </a:lnTo>
                  <a:lnTo>
                    <a:pt x="799" y="285"/>
                  </a:lnTo>
                  <a:lnTo>
                    <a:pt x="799" y="285"/>
                  </a:lnTo>
                  <a:lnTo>
                    <a:pt x="799" y="286"/>
                  </a:lnTo>
                  <a:lnTo>
                    <a:pt x="795" y="287"/>
                  </a:lnTo>
                  <a:lnTo>
                    <a:pt x="793" y="288"/>
                  </a:lnTo>
                  <a:lnTo>
                    <a:pt x="793" y="289"/>
                  </a:lnTo>
                  <a:lnTo>
                    <a:pt x="792" y="289"/>
                  </a:lnTo>
                  <a:lnTo>
                    <a:pt x="792" y="289"/>
                  </a:lnTo>
                  <a:lnTo>
                    <a:pt x="791" y="290"/>
                  </a:lnTo>
                  <a:lnTo>
                    <a:pt x="786" y="294"/>
                  </a:lnTo>
                  <a:lnTo>
                    <a:pt x="780" y="297"/>
                  </a:lnTo>
                  <a:lnTo>
                    <a:pt x="778" y="300"/>
                  </a:lnTo>
                  <a:lnTo>
                    <a:pt x="775" y="302"/>
                  </a:lnTo>
                  <a:lnTo>
                    <a:pt x="770" y="305"/>
                  </a:lnTo>
                  <a:lnTo>
                    <a:pt x="767" y="309"/>
                  </a:lnTo>
                  <a:lnTo>
                    <a:pt x="767" y="310"/>
                  </a:lnTo>
                  <a:close/>
                </a:path>
              </a:pathLst>
            </a:custGeom>
            <a:solidFill>
              <a:srgbClr val="005C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6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41190B-96E3-4B62-87B2-9FF793F6223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394682" y="3571704"/>
            <a:ext cx="6498493" cy="835169"/>
          </a:xfrm>
        </p:spPr>
        <p:txBody>
          <a:bodyPr anchor="b" anchorCtr="0"/>
          <a:lstStyle>
            <a:lvl1pPr>
              <a:spcBef>
                <a:spcPts val="0"/>
              </a:spcBef>
              <a:defRPr b="1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Представительство</a:t>
            </a:r>
            <a:br>
              <a:rPr lang="ru-RU" dirty="0" smtClean="0"/>
            </a:br>
            <a:r>
              <a:rPr lang="ru-RU" dirty="0" smtClean="0"/>
              <a:t>Город</a:t>
            </a:r>
            <a:endParaRPr lang="ru-RU" dirty="0"/>
          </a:p>
        </p:txBody>
      </p:sp>
      <p:sp>
        <p:nvSpPr>
          <p:cNvPr id="22" name="Объект 6"/>
          <p:cNvSpPr>
            <a:spLocks noGrp="1"/>
          </p:cNvSpPr>
          <p:nvPr>
            <p:ph sz="quarter" idx="13" hasCustomPrompt="1"/>
          </p:nvPr>
        </p:nvSpPr>
        <p:spPr>
          <a:xfrm>
            <a:off x="2394682" y="4425174"/>
            <a:ext cx="6498493" cy="2050240"/>
          </a:xfrm>
        </p:spPr>
        <p:txBody>
          <a:bodyPr/>
          <a:lstStyle>
            <a:lvl1pPr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Страна, индекс</a:t>
            </a:r>
            <a:br>
              <a:rPr lang="ru-RU" dirty="0" smtClean="0"/>
            </a:br>
            <a:r>
              <a:rPr lang="ru-RU" dirty="0" smtClean="0"/>
              <a:t>город, улица, дом</a:t>
            </a:r>
            <a:br>
              <a:rPr lang="ru-RU" dirty="0" smtClean="0"/>
            </a:br>
            <a:r>
              <a:rPr lang="ru-RU" dirty="0" smtClean="0"/>
              <a:t>Телефон: +Х (ХХХ) ХХ ХХХ ХХ</a:t>
            </a:r>
            <a:br>
              <a:rPr lang="ru-RU" dirty="0" smtClean="0"/>
            </a:br>
            <a:r>
              <a:rPr lang="ru-RU" dirty="0" smtClean="0"/>
              <a:t>Факс: +Х (ХХХ) ХХХ ХХ </a:t>
            </a:r>
            <a:r>
              <a:rPr lang="ru-RU" dirty="0" err="1" smtClean="0"/>
              <a:t>ХХ</a:t>
            </a:r>
            <a:endParaRPr lang="ru-RU" dirty="0" smtClean="0"/>
          </a:p>
        </p:txBody>
      </p:sp>
      <p:sp>
        <p:nvSpPr>
          <p:cNvPr id="26" name="Прямоугольник 25"/>
          <p:cNvSpPr/>
          <p:nvPr userDrawn="1"/>
        </p:nvSpPr>
        <p:spPr>
          <a:xfrm>
            <a:off x="250825" y="249239"/>
            <a:ext cx="7850188" cy="7416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ru-RU" sz="2800" dirty="0" smtClean="0"/>
              <a:t>Контакты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-1667329" y="123728"/>
            <a:ext cx="1422401" cy="17594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Clr>
                <a:schemeClr val="accent1"/>
              </a:buClr>
            </a:pPr>
            <a:r>
              <a:rPr lang="ru-RU" sz="1100" b="1" dirty="0" smtClean="0"/>
              <a:t>Наполнение слайда</a:t>
            </a:r>
            <a:r>
              <a:rPr lang="ru-RU" sz="1100" b="1" baseline="0" dirty="0" smtClean="0"/>
              <a:t> </a:t>
            </a:r>
          </a:p>
          <a:p>
            <a:pPr>
              <a:spcBef>
                <a:spcPts val="800"/>
              </a:spcBef>
              <a:buClr>
                <a:schemeClr val="accent1"/>
              </a:buClr>
            </a:pPr>
            <a:r>
              <a:rPr lang="ru-RU" sz="1100" baseline="0" dirty="0" smtClean="0"/>
              <a:t>1. Кликаем </a:t>
            </a:r>
            <a:br>
              <a:rPr lang="ru-RU" sz="1100" baseline="0" dirty="0" smtClean="0"/>
            </a:br>
            <a:r>
              <a:rPr lang="ru-RU" sz="1100" baseline="0" dirty="0" smtClean="0"/>
              <a:t>внутри текстовой области</a:t>
            </a:r>
          </a:p>
          <a:p>
            <a:pPr>
              <a:spcBef>
                <a:spcPts val="800"/>
              </a:spcBef>
              <a:buClr>
                <a:schemeClr val="accent1"/>
              </a:buClr>
            </a:pPr>
            <a:r>
              <a:rPr lang="ru-RU" sz="1100" baseline="0" dirty="0" smtClean="0"/>
              <a:t>2. Вводим необходимую информацию </a:t>
            </a:r>
            <a:br>
              <a:rPr lang="ru-RU" sz="1100" baseline="0" dirty="0" smtClean="0"/>
            </a:br>
            <a:r>
              <a:rPr lang="ru-RU" sz="1100" baseline="0" dirty="0" smtClean="0"/>
              <a:t>о представительстве</a:t>
            </a:r>
            <a:endParaRPr lang="ru-RU" sz="1100" dirty="0" smtClean="0"/>
          </a:p>
        </p:txBody>
      </p:sp>
    </p:spTree>
    <p:extLst>
      <p:ext uri="{BB962C8B-B14F-4D97-AF65-F5344CB8AC3E}">
        <p14:creationId xmlns:p14="http://schemas.microsoft.com/office/powerpoint/2010/main" val="38690268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бъект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980728"/>
            <a:ext cx="4038600" cy="514543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5556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84563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57208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ный слайд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Дуга 11"/>
          <p:cNvSpPr/>
          <p:nvPr userDrawn="1"/>
        </p:nvSpPr>
        <p:spPr>
          <a:xfrm rot="16510782">
            <a:off x="4735248" y="2820867"/>
            <a:ext cx="4156430" cy="4322535"/>
          </a:xfrm>
          <a:custGeom>
            <a:avLst/>
            <a:gdLst>
              <a:gd name="connsiteX0" fmla="*/ 3399348 w 6798696"/>
              <a:gd name="connsiteY0" fmla="*/ 0 h 5957413"/>
              <a:gd name="connsiteX1" fmla="*/ 6791267 w 6798696"/>
              <a:gd name="connsiteY1" fmla="*/ 2781889 h 5957413"/>
              <a:gd name="connsiteX2" fmla="*/ 3399348 w 6798696"/>
              <a:gd name="connsiteY2" fmla="*/ 2978707 h 5957413"/>
              <a:gd name="connsiteX3" fmla="*/ 3399348 w 6798696"/>
              <a:gd name="connsiteY3" fmla="*/ 0 h 5957413"/>
              <a:gd name="connsiteX0" fmla="*/ 3399348 w 6798696"/>
              <a:gd name="connsiteY0" fmla="*/ 0 h 5957413"/>
              <a:gd name="connsiteX1" fmla="*/ 6791267 w 6798696"/>
              <a:gd name="connsiteY1" fmla="*/ 2781889 h 5957413"/>
              <a:gd name="connsiteX0" fmla="*/ 0 w 4040017"/>
              <a:gd name="connsiteY0" fmla="*/ 0 h 4304396"/>
              <a:gd name="connsiteX1" fmla="*/ 3391919 w 4040017"/>
              <a:gd name="connsiteY1" fmla="*/ 2781889 h 4304396"/>
              <a:gd name="connsiteX2" fmla="*/ 0 w 4040017"/>
              <a:gd name="connsiteY2" fmla="*/ 2978707 h 4304396"/>
              <a:gd name="connsiteX3" fmla="*/ 0 w 4040017"/>
              <a:gd name="connsiteY3" fmla="*/ 0 h 4304396"/>
              <a:gd name="connsiteX0" fmla="*/ 0 w 4040017"/>
              <a:gd name="connsiteY0" fmla="*/ 0 h 4304396"/>
              <a:gd name="connsiteX1" fmla="*/ 4040017 w 4040017"/>
              <a:gd name="connsiteY1" fmla="*/ 4304396 h 4304396"/>
              <a:gd name="connsiteX0" fmla="*/ 0 w 4041257"/>
              <a:gd name="connsiteY0" fmla="*/ 0 h 4304396"/>
              <a:gd name="connsiteX1" fmla="*/ 3391919 w 4041257"/>
              <a:gd name="connsiteY1" fmla="*/ 2781889 h 4304396"/>
              <a:gd name="connsiteX2" fmla="*/ 0 w 4041257"/>
              <a:gd name="connsiteY2" fmla="*/ 2978707 h 4304396"/>
              <a:gd name="connsiteX3" fmla="*/ 0 w 4041257"/>
              <a:gd name="connsiteY3" fmla="*/ 0 h 4304396"/>
              <a:gd name="connsiteX0" fmla="*/ 0 w 4041257"/>
              <a:gd name="connsiteY0" fmla="*/ 0 h 4304396"/>
              <a:gd name="connsiteX1" fmla="*/ 4040017 w 4041257"/>
              <a:gd name="connsiteY1" fmla="*/ 4304396 h 4304396"/>
              <a:gd name="connsiteX0" fmla="*/ 78469 w 4119687"/>
              <a:gd name="connsiteY0" fmla="*/ 21579 h 4325975"/>
              <a:gd name="connsiteX1" fmla="*/ 3470388 w 4119687"/>
              <a:gd name="connsiteY1" fmla="*/ 2803468 h 4325975"/>
              <a:gd name="connsiteX2" fmla="*/ 78469 w 4119687"/>
              <a:gd name="connsiteY2" fmla="*/ 3000286 h 4325975"/>
              <a:gd name="connsiteX3" fmla="*/ 78469 w 4119687"/>
              <a:gd name="connsiteY3" fmla="*/ 21579 h 4325975"/>
              <a:gd name="connsiteX0" fmla="*/ 0 w 4119687"/>
              <a:gd name="connsiteY0" fmla="*/ 0 h 4325975"/>
              <a:gd name="connsiteX1" fmla="*/ 4118486 w 4119687"/>
              <a:gd name="connsiteY1" fmla="*/ 4325975 h 4325975"/>
              <a:gd name="connsiteX0" fmla="*/ 78469 w 4119611"/>
              <a:gd name="connsiteY0" fmla="*/ 21579 h 4325975"/>
              <a:gd name="connsiteX1" fmla="*/ 3470388 w 4119611"/>
              <a:gd name="connsiteY1" fmla="*/ 2803468 h 4325975"/>
              <a:gd name="connsiteX2" fmla="*/ 78469 w 4119611"/>
              <a:gd name="connsiteY2" fmla="*/ 3000286 h 4325975"/>
              <a:gd name="connsiteX3" fmla="*/ 78469 w 4119611"/>
              <a:gd name="connsiteY3" fmla="*/ 21579 h 4325975"/>
              <a:gd name="connsiteX0" fmla="*/ 0 w 4119611"/>
              <a:gd name="connsiteY0" fmla="*/ 0 h 4325975"/>
              <a:gd name="connsiteX1" fmla="*/ 4118486 w 4119611"/>
              <a:gd name="connsiteY1" fmla="*/ 4325975 h 4325975"/>
              <a:gd name="connsiteX0" fmla="*/ 78469 w 4120457"/>
              <a:gd name="connsiteY0" fmla="*/ 21579 h 4325975"/>
              <a:gd name="connsiteX1" fmla="*/ 3470388 w 4120457"/>
              <a:gd name="connsiteY1" fmla="*/ 2803468 h 4325975"/>
              <a:gd name="connsiteX2" fmla="*/ 78469 w 4120457"/>
              <a:gd name="connsiteY2" fmla="*/ 3000286 h 4325975"/>
              <a:gd name="connsiteX3" fmla="*/ 78469 w 4120457"/>
              <a:gd name="connsiteY3" fmla="*/ 21579 h 4325975"/>
              <a:gd name="connsiteX0" fmla="*/ 0 w 4120457"/>
              <a:gd name="connsiteY0" fmla="*/ 0 h 4325975"/>
              <a:gd name="connsiteX1" fmla="*/ 4118486 w 4120457"/>
              <a:gd name="connsiteY1" fmla="*/ 4325975 h 4325975"/>
              <a:gd name="connsiteX0" fmla="*/ 78469 w 4120486"/>
              <a:gd name="connsiteY0" fmla="*/ 21579 h 4325975"/>
              <a:gd name="connsiteX1" fmla="*/ 3470388 w 4120486"/>
              <a:gd name="connsiteY1" fmla="*/ 2803468 h 4325975"/>
              <a:gd name="connsiteX2" fmla="*/ 78469 w 4120486"/>
              <a:gd name="connsiteY2" fmla="*/ 3000286 h 4325975"/>
              <a:gd name="connsiteX3" fmla="*/ 78469 w 4120486"/>
              <a:gd name="connsiteY3" fmla="*/ 21579 h 4325975"/>
              <a:gd name="connsiteX0" fmla="*/ 0 w 4120486"/>
              <a:gd name="connsiteY0" fmla="*/ 0 h 4325975"/>
              <a:gd name="connsiteX1" fmla="*/ 4118486 w 4120486"/>
              <a:gd name="connsiteY1" fmla="*/ 4325975 h 4325975"/>
              <a:gd name="connsiteX0" fmla="*/ 78469 w 4158401"/>
              <a:gd name="connsiteY0" fmla="*/ 21579 h 4322535"/>
              <a:gd name="connsiteX1" fmla="*/ 3470388 w 4158401"/>
              <a:gd name="connsiteY1" fmla="*/ 2803468 h 4322535"/>
              <a:gd name="connsiteX2" fmla="*/ 78469 w 4158401"/>
              <a:gd name="connsiteY2" fmla="*/ 3000286 h 4322535"/>
              <a:gd name="connsiteX3" fmla="*/ 78469 w 4158401"/>
              <a:gd name="connsiteY3" fmla="*/ 21579 h 4322535"/>
              <a:gd name="connsiteX0" fmla="*/ 0 w 4158401"/>
              <a:gd name="connsiteY0" fmla="*/ 0 h 4322535"/>
              <a:gd name="connsiteX1" fmla="*/ 4156430 w 4158401"/>
              <a:gd name="connsiteY1" fmla="*/ 4322535 h 4322535"/>
              <a:gd name="connsiteX0" fmla="*/ 78469 w 4156430"/>
              <a:gd name="connsiteY0" fmla="*/ 21579 h 4322535"/>
              <a:gd name="connsiteX1" fmla="*/ 3470388 w 4156430"/>
              <a:gd name="connsiteY1" fmla="*/ 2803468 h 4322535"/>
              <a:gd name="connsiteX2" fmla="*/ 78469 w 4156430"/>
              <a:gd name="connsiteY2" fmla="*/ 3000286 h 4322535"/>
              <a:gd name="connsiteX3" fmla="*/ 78469 w 4156430"/>
              <a:gd name="connsiteY3" fmla="*/ 21579 h 4322535"/>
              <a:gd name="connsiteX0" fmla="*/ 0 w 4156430"/>
              <a:gd name="connsiteY0" fmla="*/ 0 h 4322535"/>
              <a:gd name="connsiteX1" fmla="*/ 4156430 w 4156430"/>
              <a:gd name="connsiteY1" fmla="*/ 4322535 h 4322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156430" h="4322535" stroke="0" extrusionOk="0">
                <a:moveTo>
                  <a:pt x="78469" y="21579"/>
                </a:moveTo>
                <a:cubicBezTo>
                  <a:pt x="1868686" y="21579"/>
                  <a:pt x="3352100" y="1238204"/>
                  <a:pt x="3470388" y="2803468"/>
                </a:cubicBezTo>
                <a:lnTo>
                  <a:pt x="78469" y="3000286"/>
                </a:lnTo>
                <a:lnTo>
                  <a:pt x="78469" y="21579"/>
                </a:lnTo>
                <a:close/>
              </a:path>
              <a:path w="4156430" h="4322535" fill="none">
                <a:moveTo>
                  <a:pt x="0" y="0"/>
                </a:moveTo>
                <a:cubicBezTo>
                  <a:pt x="1664291" y="87924"/>
                  <a:pt x="4138559" y="1262552"/>
                  <a:pt x="4156430" y="4322535"/>
                </a:cubicBezTo>
              </a:path>
            </a:pathLst>
          </a:custGeom>
          <a:ln w="222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623888" y="1332291"/>
            <a:ext cx="7886700" cy="1302311"/>
          </a:xfrm>
          <a:prstGeom prst="rect">
            <a:avLst/>
          </a:prstGeom>
        </p:spPr>
        <p:txBody>
          <a:bodyPr lIns="0" anchor="b" anchorCtr="0"/>
          <a:lstStyle>
            <a:lvl1pPr>
              <a:defRPr lang="en-US" b="1" dirty="0">
                <a:solidFill>
                  <a:schemeClr val="tx1"/>
                </a:solidFill>
              </a:defRPr>
            </a:lvl1pPr>
          </a:lstStyle>
          <a:p>
            <a:pPr marL="0" lvl="0"/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623888" y="2761020"/>
            <a:ext cx="4968020" cy="1500187"/>
          </a:xfrm>
          <a:prstGeom prst="rect">
            <a:avLst/>
          </a:prstGeom>
        </p:spPr>
        <p:txBody>
          <a:bodyPr lIns="0" anchor="t"/>
          <a:lstStyle>
            <a:lvl1pPr>
              <a:spcBef>
                <a:spcPts val="0"/>
              </a:spcBef>
              <a:defRPr lang="ru-RU" smtClean="0">
                <a:solidFill>
                  <a:schemeClr val="tx1"/>
                </a:solidFill>
              </a:defRPr>
            </a:lvl1pPr>
          </a:lstStyle>
          <a:p>
            <a:pPr marL="0" lvl="0" indent="0">
              <a:buNone/>
            </a:pPr>
            <a:r>
              <a:rPr lang="ru-RU" dirty="0" smtClean="0"/>
              <a:t>Образец текста</a:t>
            </a:r>
          </a:p>
        </p:txBody>
      </p:sp>
      <p:sp>
        <p:nvSpPr>
          <p:cNvPr id="17" name="Freeform 12"/>
          <p:cNvSpPr>
            <a:spLocks/>
          </p:cNvSpPr>
          <p:nvPr userDrawn="1"/>
        </p:nvSpPr>
        <p:spPr bwMode="auto">
          <a:xfrm flipH="1">
            <a:off x="7099299" y="3041539"/>
            <a:ext cx="2054224" cy="642576"/>
          </a:xfrm>
          <a:custGeom>
            <a:avLst/>
            <a:gdLst>
              <a:gd name="T0" fmla="*/ 1413 w 7333"/>
              <a:gd name="T1" fmla="*/ 1064 h 2199"/>
              <a:gd name="T2" fmla="*/ 1817 w 7333"/>
              <a:gd name="T3" fmla="*/ 1066 h 2199"/>
              <a:gd name="T4" fmla="*/ 2219 w 7333"/>
              <a:gd name="T5" fmla="*/ 1077 h 2199"/>
              <a:gd name="T6" fmla="*/ 2618 w 7333"/>
              <a:gd name="T7" fmla="*/ 1099 h 2199"/>
              <a:gd name="T8" fmla="*/ 3014 w 7333"/>
              <a:gd name="T9" fmla="*/ 1131 h 2199"/>
              <a:gd name="T10" fmla="*/ 3407 w 7333"/>
              <a:gd name="T11" fmla="*/ 1174 h 2199"/>
              <a:gd name="T12" fmla="*/ 3798 w 7333"/>
              <a:gd name="T13" fmla="*/ 1226 h 2199"/>
              <a:gd name="T14" fmla="*/ 4185 w 7333"/>
              <a:gd name="T15" fmla="*/ 1288 h 2199"/>
              <a:gd name="T16" fmla="*/ 4570 w 7333"/>
              <a:gd name="T17" fmla="*/ 1361 h 2199"/>
              <a:gd name="T18" fmla="*/ 4950 w 7333"/>
              <a:gd name="T19" fmla="*/ 1442 h 2199"/>
              <a:gd name="T20" fmla="*/ 5328 w 7333"/>
              <a:gd name="T21" fmla="*/ 1533 h 2199"/>
              <a:gd name="T22" fmla="*/ 5700 w 7333"/>
              <a:gd name="T23" fmla="*/ 1634 h 2199"/>
              <a:gd name="T24" fmla="*/ 6070 w 7333"/>
              <a:gd name="T25" fmla="*/ 1744 h 2199"/>
              <a:gd name="T26" fmla="*/ 6436 w 7333"/>
              <a:gd name="T27" fmla="*/ 1863 h 2199"/>
              <a:gd name="T28" fmla="*/ 6798 w 7333"/>
              <a:gd name="T29" fmla="*/ 1990 h 2199"/>
              <a:gd name="T30" fmla="*/ 7156 w 7333"/>
              <a:gd name="T31" fmla="*/ 2127 h 2199"/>
              <a:gd name="T32" fmla="*/ 7266 w 7333"/>
              <a:gd name="T33" fmla="*/ 2150 h 2199"/>
              <a:gd name="T34" fmla="*/ 7130 w 7333"/>
              <a:gd name="T35" fmla="*/ 2052 h 2199"/>
              <a:gd name="T36" fmla="*/ 6994 w 7333"/>
              <a:gd name="T37" fmla="*/ 1955 h 2199"/>
              <a:gd name="T38" fmla="*/ 6855 w 7333"/>
              <a:gd name="T39" fmla="*/ 1862 h 2199"/>
              <a:gd name="T40" fmla="*/ 6715 w 7333"/>
              <a:gd name="T41" fmla="*/ 1770 h 2199"/>
              <a:gd name="T42" fmla="*/ 6575 w 7333"/>
              <a:gd name="T43" fmla="*/ 1679 h 2199"/>
              <a:gd name="T44" fmla="*/ 6432 w 7333"/>
              <a:gd name="T45" fmla="*/ 1592 h 2199"/>
              <a:gd name="T46" fmla="*/ 6287 w 7333"/>
              <a:gd name="T47" fmla="*/ 1506 h 2199"/>
              <a:gd name="T48" fmla="*/ 6142 w 7333"/>
              <a:gd name="T49" fmla="*/ 1422 h 2199"/>
              <a:gd name="T50" fmla="*/ 5995 w 7333"/>
              <a:gd name="T51" fmla="*/ 1341 h 2199"/>
              <a:gd name="T52" fmla="*/ 5847 w 7333"/>
              <a:gd name="T53" fmla="*/ 1261 h 2199"/>
              <a:gd name="T54" fmla="*/ 5697 w 7333"/>
              <a:gd name="T55" fmla="*/ 1185 h 2199"/>
              <a:gd name="T56" fmla="*/ 5547 w 7333"/>
              <a:gd name="T57" fmla="*/ 1110 h 2199"/>
              <a:gd name="T58" fmla="*/ 5395 w 7333"/>
              <a:gd name="T59" fmla="*/ 1038 h 2199"/>
              <a:gd name="T60" fmla="*/ 5241 w 7333"/>
              <a:gd name="T61" fmla="*/ 967 h 2199"/>
              <a:gd name="T62" fmla="*/ 5086 w 7333"/>
              <a:gd name="T63" fmla="*/ 899 h 2199"/>
              <a:gd name="T64" fmla="*/ 4877 w 7333"/>
              <a:gd name="T65" fmla="*/ 811 h 2199"/>
              <a:gd name="T66" fmla="*/ 4612 w 7333"/>
              <a:gd name="T67" fmla="*/ 707 h 2199"/>
              <a:gd name="T68" fmla="*/ 4344 w 7333"/>
              <a:gd name="T69" fmla="*/ 609 h 2199"/>
              <a:gd name="T70" fmla="*/ 4071 w 7333"/>
              <a:gd name="T71" fmla="*/ 520 h 2199"/>
              <a:gd name="T72" fmla="*/ 3797 w 7333"/>
              <a:gd name="T73" fmla="*/ 436 h 2199"/>
              <a:gd name="T74" fmla="*/ 3519 w 7333"/>
              <a:gd name="T75" fmla="*/ 360 h 2199"/>
              <a:gd name="T76" fmla="*/ 3238 w 7333"/>
              <a:gd name="T77" fmla="*/ 290 h 2199"/>
              <a:gd name="T78" fmla="*/ 2955 w 7333"/>
              <a:gd name="T79" fmla="*/ 228 h 2199"/>
              <a:gd name="T80" fmla="*/ 2669 w 7333"/>
              <a:gd name="T81" fmla="*/ 172 h 2199"/>
              <a:gd name="T82" fmla="*/ 2380 w 7333"/>
              <a:gd name="T83" fmla="*/ 125 h 2199"/>
              <a:gd name="T84" fmla="*/ 2089 w 7333"/>
              <a:gd name="T85" fmla="*/ 85 h 2199"/>
              <a:gd name="T86" fmla="*/ 1796 w 7333"/>
              <a:gd name="T87" fmla="*/ 52 h 2199"/>
              <a:gd name="T88" fmla="*/ 1500 w 7333"/>
              <a:gd name="T89" fmla="*/ 27 h 2199"/>
              <a:gd name="T90" fmla="*/ 1203 w 7333"/>
              <a:gd name="T91" fmla="*/ 11 h 2199"/>
              <a:gd name="T92" fmla="*/ 903 w 7333"/>
              <a:gd name="T93" fmla="*/ 2 h 2199"/>
              <a:gd name="T94" fmla="*/ 602 w 7333"/>
              <a:gd name="T95" fmla="*/ 1 h 2199"/>
              <a:gd name="T96" fmla="*/ 394 w 7333"/>
              <a:gd name="T97" fmla="*/ 5 h 2199"/>
              <a:gd name="T98" fmla="*/ 280 w 7333"/>
              <a:gd name="T99" fmla="*/ 9 h 2199"/>
              <a:gd name="T100" fmla="*/ 168 w 7333"/>
              <a:gd name="T101" fmla="*/ 15 h 2199"/>
              <a:gd name="T102" fmla="*/ 55 w 7333"/>
              <a:gd name="T103" fmla="*/ 21 h 2199"/>
              <a:gd name="T104" fmla="*/ 26 w 7333"/>
              <a:gd name="T105" fmla="*/ 1141 h 2199"/>
              <a:gd name="T106" fmla="*/ 173 w 7333"/>
              <a:gd name="T107" fmla="*/ 1127 h 2199"/>
              <a:gd name="T108" fmla="*/ 320 w 7333"/>
              <a:gd name="T109" fmla="*/ 1114 h 2199"/>
              <a:gd name="T110" fmla="*/ 467 w 7333"/>
              <a:gd name="T111" fmla="*/ 1103 h 2199"/>
              <a:gd name="T112" fmla="*/ 615 w 7333"/>
              <a:gd name="T113" fmla="*/ 1093 h 2199"/>
              <a:gd name="T114" fmla="*/ 763 w 7333"/>
              <a:gd name="T115" fmla="*/ 1085 h 2199"/>
              <a:gd name="T116" fmla="*/ 912 w 7333"/>
              <a:gd name="T117" fmla="*/ 1078 h 2199"/>
              <a:gd name="T118" fmla="*/ 1061 w 7333"/>
              <a:gd name="T119" fmla="*/ 1072 h 2199"/>
              <a:gd name="T120" fmla="*/ 1210 w 7333"/>
              <a:gd name="T121" fmla="*/ 1068 h 2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333" h="2199">
                <a:moveTo>
                  <a:pt x="1210" y="1068"/>
                </a:moveTo>
                <a:lnTo>
                  <a:pt x="1413" y="1064"/>
                </a:lnTo>
                <a:lnTo>
                  <a:pt x="1615" y="1064"/>
                </a:lnTo>
                <a:lnTo>
                  <a:pt x="1817" y="1066"/>
                </a:lnTo>
                <a:lnTo>
                  <a:pt x="2018" y="1070"/>
                </a:lnTo>
                <a:lnTo>
                  <a:pt x="2219" y="1077"/>
                </a:lnTo>
                <a:lnTo>
                  <a:pt x="2419" y="1087"/>
                </a:lnTo>
                <a:lnTo>
                  <a:pt x="2618" y="1099"/>
                </a:lnTo>
                <a:lnTo>
                  <a:pt x="2816" y="1114"/>
                </a:lnTo>
                <a:lnTo>
                  <a:pt x="3014" y="1131"/>
                </a:lnTo>
                <a:lnTo>
                  <a:pt x="3211" y="1151"/>
                </a:lnTo>
                <a:lnTo>
                  <a:pt x="3407" y="1174"/>
                </a:lnTo>
                <a:lnTo>
                  <a:pt x="3603" y="1199"/>
                </a:lnTo>
                <a:lnTo>
                  <a:pt x="3798" y="1226"/>
                </a:lnTo>
                <a:lnTo>
                  <a:pt x="3992" y="1256"/>
                </a:lnTo>
                <a:lnTo>
                  <a:pt x="4185" y="1288"/>
                </a:lnTo>
                <a:lnTo>
                  <a:pt x="4378" y="1324"/>
                </a:lnTo>
                <a:lnTo>
                  <a:pt x="4570" y="1361"/>
                </a:lnTo>
                <a:lnTo>
                  <a:pt x="4760" y="1400"/>
                </a:lnTo>
                <a:lnTo>
                  <a:pt x="4950" y="1442"/>
                </a:lnTo>
                <a:lnTo>
                  <a:pt x="5139" y="1487"/>
                </a:lnTo>
                <a:lnTo>
                  <a:pt x="5328" y="1533"/>
                </a:lnTo>
                <a:lnTo>
                  <a:pt x="5514" y="1582"/>
                </a:lnTo>
                <a:lnTo>
                  <a:pt x="5700" y="1634"/>
                </a:lnTo>
                <a:lnTo>
                  <a:pt x="5886" y="1688"/>
                </a:lnTo>
                <a:lnTo>
                  <a:pt x="6070" y="1744"/>
                </a:lnTo>
                <a:lnTo>
                  <a:pt x="6254" y="1802"/>
                </a:lnTo>
                <a:lnTo>
                  <a:pt x="6436" y="1863"/>
                </a:lnTo>
                <a:lnTo>
                  <a:pt x="6618" y="1926"/>
                </a:lnTo>
                <a:lnTo>
                  <a:pt x="6798" y="1990"/>
                </a:lnTo>
                <a:lnTo>
                  <a:pt x="6978" y="2058"/>
                </a:lnTo>
                <a:lnTo>
                  <a:pt x="7156" y="2127"/>
                </a:lnTo>
                <a:lnTo>
                  <a:pt x="7333" y="2199"/>
                </a:lnTo>
                <a:lnTo>
                  <a:pt x="7266" y="2150"/>
                </a:lnTo>
                <a:lnTo>
                  <a:pt x="7199" y="2100"/>
                </a:lnTo>
                <a:lnTo>
                  <a:pt x="7130" y="2052"/>
                </a:lnTo>
                <a:lnTo>
                  <a:pt x="7062" y="2004"/>
                </a:lnTo>
                <a:lnTo>
                  <a:pt x="6994" y="1955"/>
                </a:lnTo>
                <a:lnTo>
                  <a:pt x="6924" y="1908"/>
                </a:lnTo>
                <a:lnTo>
                  <a:pt x="6855" y="1862"/>
                </a:lnTo>
                <a:lnTo>
                  <a:pt x="6786" y="1815"/>
                </a:lnTo>
                <a:lnTo>
                  <a:pt x="6715" y="1770"/>
                </a:lnTo>
                <a:lnTo>
                  <a:pt x="6645" y="1725"/>
                </a:lnTo>
                <a:lnTo>
                  <a:pt x="6575" y="1679"/>
                </a:lnTo>
                <a:lnTo>
                  <a:pt x="6503" y="1635"/>
                </a:lnTo>
                <a:lnTo>
                  <a:pt x="6432" y="1592"/>
                </a:lnTo>
                <a:lnTo>
                  <a:pt x="6360" y="1548"/>
                </a:lnTo>
                <a:lnTo>
                  <a:pt x="6287" y="1506"/>
                </a:lnTo>
                <a:lnTo>
                  <a:pt x="6215" y="1464"/>
                </a:lnTo>
                <a:lnTo>
                  <a:pt x="6142" y="1422"/>
                </a:lnTo>
                <a:lnTo>
                  <a:pt x="6069" y="1381"/>
                </a:lnTo>
                <a:lnTo>
                  <a:pt x="5995" y="1341"/>
                </a:lnTo>
                <a:lnTo>
                  <a:pt x="5921" y="1300"/>
                </a:lnTo>
                <a:lnTo>
                  <a:pt x="5847" y="1261"/>
                </a:lnTo>
                <a:lnTo>
                  <a:pt x="5773" y="1223"/>
                </a:lnTo>
                <a:lnTo>
                  <a:pt x="5697" y="1185"/>
                </a:lnTo>
                <a:lnTo>
                  <a:pt x="5622" y="1146"/>
                </a:lnTo>
                <a:lnTo>
                  <a:pt x="5547" y="1110"/>
                </a:lnTo>
                <a:lnTo>
                  <a:pt x="5470" y="1073"/>
                </a:lnTo>
                <a:lnTo>
                  <a:pt x="5395" y="1038"/>
                </a:lnTo>
                <a:lnTo>
                  <a:pt x="5317" y="1001"/>
                </a:lnTo>
                <a:lnTo>
                  <a:pt x="5241" y="967"/>
                </a:lnTo>
                <a:lnTo>
                  <a:pt x="5164" y="933"/>
                </a:lnTo>
                <a:lnTo>
                  <a:pt x="5086" y="899"/>
                </a:lnTo>
                <a:lnTo>
                  <a:pt x="5009" y="865"/>
                </a:lnTo>
                <a:lnTo>
                  <a:pt x="4877" y="811"/>
                </a:lnTo>
                <a:lnTo>
                  <a:pt x="4745" y="759"/>
                </a:lnTo>
                <a:lnTo>
                  <a:pt x="4612" y="707"/>
                </a:lnTo>
                <a:lnTo>
                  <a:pt x="4478" y="658"/>
                </a:lnTo>
                <a:lnTo>
                  <a:pt x="4344" y="609"/>
                </a:lnTo>
                <a:lnTo>
                  <a:pt x="4208" y="564"/>
                </a:lnTo>
                <a:lnTo>
                  <a:pt x="4071" y="520"/>
                </a:lnTo>
                <a:lnTo>
                  <a:pt x="3935" y="476"/>
                </a:lnTo>
                <a:lnTo>
                  <a:pt x="3797" y="436"/>
                </a:lnTo>
                <a:lnTo>
                  <a:pt x="3658" y="397"/>
                </a:lnTo>
                <a:lnTo>
                  <a:pt x="3519" y="360"/>
                </a:lnTo>
                <a:lnTo>
                  <a:pt x="3379" y="323"/>
                </a:lnTo>
                <a:lnTo>
                  <a:pt x="3238" y="290"/>
                </a:lnTo>
                <a:lnTo>
                  <a:pt x="3097" y="258"/>
                </a:lnTo>
                <a:lnTo>
                  <a:pt x="2955" y="228"/>
                </a:lnTo>
                <a:lnTo>
                  <a:pt x="2812" y="199"/>
                </a:lnTo>
                <a:lnTo>
                  <a:pt x="2669" y="172"/>
                </a:lnTo>
                <a:lnTo>
                  <a:pt x="2525" y="148"/>
                </a:lnTo>
                <a:lnTo>
                  <a:pt x="2380" y="125"/>
                </a:lnTo>
                <a:lnTo>
                  <a:pt x="2235" y="104"/>
                </a:lnTo>
                <a:lnTo>
                  <a:pt x="2089" y="85"/>
                </a:lnTo>
                <a:lnTo>
                  <a:pt x="1943" y="67"/>
                </a:lnTo>
                <a:lnTo>
                  <a:pt x="1796" y="52"/>
                </a:lnTo>
                <a:lnTo>
                  <a:pt x="1648" y="39"/>
                </a:lnTo>
                <a:lnTo>
                  <a:pt x="1500" y="27"/>
                </a:lnTo>
                <a:lnTo>
                  <a:pt x="1352" y="18"/>
                </a:lnTo>
                <a:lnTo>
                  <a:pt x="1203" y="11"/>
                </a:lnTo>
                <a:lnTo>
                  <a:pt x="1053" y="5"/>
                </a:lnTo>
                <a:lnTo>
                  <a:pt x="903" y="2"/>
                </a:lnTo>
                <a:lnTo>
                  <a:pt x="753" y="0"/>
                </a:lnTo>
                <a:lnTo>
                  <a:pt x="602" y="1"/>
                </a:lnTo>
                <a:lnTo>
                  <a:pt x="451" y="3"/>
                </a:lnTo>
                <a:lnTo>
                  <a:pt x="394" y="5"/>
                </a:lnTo>
                <a:lnTo>
                  <a:pt x="338" y="7"/>
                </a:lnTo>
                <a:lnTo>
                  <a:pt x="280" y="9"/>
                </a:lnTo>
                <a:lnTo>
                  <a:pt x="224" y="12"/>
                </a:lnTo>
                <a:lnTo>
                  <a:pt x="168" y="15"/>
                </a:lnTo>
                <a:lnTo>
                  <a:pt x="112" y="18"/>
                </a:lnTo>
                <a:lnTo>
                  <a:pt x="55" y="21"/>
                </a:lnTo>
                <a:lnTo>
                  <a:pt x="0" y="25"/>
                </a:lnTo>
                <a:lnTo>
                  <a:pt x="26" y="1141"/>
                </a:lnTo>
                <a:lnTo>
                  <a:pt x="99" y="1133"/>
                </a:lnTo>
                <a:lnTo>
                  <a:pt x="173" y="1127"/>
                </a:lnTo>
                <a:lnTo>
                  <a:pt x="246" y="1120"/>
                </a:lnTo>
                <a:lnTo>
                  <a:pt x="320" y="1114"/>
                </a:lnTo>
                <a:lnTo>
                  <a:pt x="393" y="1108"/>
                </a:lnTo>
                <a:lnTo>
                  <a:pt x="467" y="1103"/>
                </a:lnTo>
                <a:lnTo>
                  <a:pt x="541" y="1098"/>
                </a:lnTo>
                <a:lnTo>
                  <a:pt x="615" y="1093"/>
                </a:lnTo>
                <a:lnTo>
                  <a:pt x="689" y="1089"/>
                </a:lnTo>
                <a:lnTo>
                  <a:pt x="763" y="1085"/>
                </a:lnTo>
                <a:lnTo>
                  <a:pt x="837" y="1081"/>
                </a:lnTo>
                <a:lnTo>
                  <a:pt x="912" y="1078"/>
                </a:lnTo>
                <a:lnTo>
                  <a:pt x="986" y="1075"/>
                </a:lnTo>
                <a:lnTo>
                  <a:pt x="1061" y="1072"/>
                </a:lnTo>
                <a:lnTo>
                  <a:pt x="1136" y="1070"/>
                </a:lnTo>
                <a:lnTo>
                  <a:pt x="1210" y="1068"/>
                </a:lnTo>
                <a:close/>
              </a:path>
            </a:pathLst>
          </a:custGeom>
          <a:solidFill>
            <a:srgbClr val="FBC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5" name="Полилиния 34"/>
          <p:cNvSpPr>
            <a:spLocks/>
          </p:cNvSpPr>
          <p:nvPr userDrawn="1"/>
        </p:nvSpPr>
        <p:spPr bwMode="auto">
          <a:xfrm>
            <a:off x="4473400" y="4053349"/>
            <a:ext cx="4680123" cy="2835044"/>
          </a:xfrm>
          <a:custGeom>
            <a:avLst/>
            <a:gdLst>
              <a:gd name="connsiteX0" fmla="*/ 4348448 w 4680123"/>
              <a:gd name="connsiteY0" fmla="*/ 0 h 2835044"/>
              <a:gd name="connsiteX1" fmla="*/ 4418858 w 4680123"/>
              <a:gd name="connsiteY1" fmla="*/ 414 h 2835044"/>
              <a:gd name="connsiteX2" fmla="*/ 4489682 w 4680123"/>
              <a:gd name="connsiteY2" fmla="*/ 2486 h 2835044"/>
              <a:gd name="connsiteX3" fmla="*/ 4559678 w 4680123"/>
              <a:gd name="connsiteY3" fmla="*/ 4971 h 2835044"/>
              <a:gd name="connsiteX4" fmla="*/ 4629260 w 4680123"/>
              <a:gd name="connsiteY4" fmla="*/ 8699 h 2835044"/>
              <a:gd name="connsiteX5" fmla="*/ 4680123 w 4680123"/>
              <a:gd name="connsiteY5" fmla="*/ 12030 h 2835044"/>
              <a:gd name="connsiteX6" fmla="*/ 4680123 w 4680123"/>
              <a:gd name="connsiteY6" fmla="*/ 654814 h 2835044"/>
              <a:gd name="connsiteX7" fmla="*/ 4571584 w 4680123"/>
              <a:gd name="connsiteY7" fmla="*/ 649333 h 2835044"/>
              <a:gd name="connsiteX8" fmla="*/ 3025250 w 4680123"/>
              <a:gd name="connsiteY8" fmla="*/ 1471512 h 2835044"/>
              <a:gd name="connsiteX9" fmla="*/ 2996965 w 4680123"/>
              <a:gd name="connsiteY9" fmla="*/ 1518072 h 2835044"/>
              <a:gd name="connsiteX10" fmla="*/ 2970065 w 4680123"/>
              <a:gd name="connsiteY10" fmla="*/ 1516111 h 2835044"/>
              <a:gd name="connsiteX11" fmla="*/ 2930304 w 4680123"/>
              <a:gd name="connsiteY11" fmla="*/ 1513211 h 2835044"/>
              <a:gd name="connsiteX12" fmla="*/ 2890129 w 4680123"/>
              <a:gd name="connsiteY12" fmla="*/ 1511140 h 2835044"/>
              <a:gd name="connsiteX13" fmla="*/ 2850368 w 4680123"/>
              <a:gd name="connsiteY13" fmla="*/ 1509897 h 2835044"/>
              <a:gd name="connsiteX14" fmla="*/ 2810193 w 4680123"/>
              <a:gd name="connsiteY14" fmla="*/ 1508240 h 2835044"/>
              <a:gd name="connsiteX15" fmla="*/ 2770018 w 4680123"/>
              <a:gd name="connsiteY15" fmla="*/ 1507826 h 2835044"/>
              <a:gd name="connsiteX16" fmla="*/ 2729843 w 4680123"/>
              <a:gd name="connsiteY16" fmla="*/ 1507412 h 2835044"/>
              <a:gd name="connsiteX17" fmla="*/ 2721145 w 4680123"/>
              <a:gd name="connsiteY17" fmla="*/ 1507412 h 2835044"/>
              <a:gd name="connsiteX18" fmla="*/ 2712447 w 4680123"/>
              <a:gd name="connsiteY18" fmla="*/ 1507412 h 2835044"/>
              <a:gd name="connsiteX19" fmla="*/ 2703749 w 4680123"/>
              <a:gd name="connsiteY19" fmla="*/ 1507412 h 2835044"/>
              <a:gd name="connsiteX20" fmla="*/ 2695052 w 4680123"/>
              <a:gd name="connsiteY20" fmla="*/ 1507412 h 2835044"/>
              <a:gd name="connsiteX21" fmla="*/ 2615944 w 4680123"/>
              <a:gd name="connsiteY21" fmla="*/ 1509069 h 2835044"/>
              <a:gd name="connsiteX22" fmla="*/ 2536422 w 4680123"/>
              <a:gd name="connsiteY22" fmla="*/ 1512383 h 2835044"/>
              <a:gd name="connsiteX23" fmla="*/ 2458142 w 4680123"/>
              <a:gd name="connsiteY23" fmla="*/ 1517768 h 2835044"/>
              <a:gd name="connsiteX24" fmla="*/ 2380691 w 4680123"/>
              <a:gd name="connsiteY24" fmla="*/ 1524396 h 2835044"/>
              <a:gd name="connsiteX25" fmla="*/ 2302826 w 4680123"/>
              <a:gd name="connsiteY25" fmla="*/ 1533095 h 2835044"/>
              <a:gd name="connsiteX26" fmla="*/ 2225789 w 4680123"/>
              <a:gd name="connsiteY26" fmla="*/ 1543451 h 2835044"/>
              <a:gd name="connsiteX27" fmla="*/ 2149580 w 4680123"/>
              <a:gd name="connsiteY27" fmla="*/ 1555463 h 2835044"/>
              <a:gd name="connsiteX28" fmla="*/ 2073786 w 4680123"/>
              <a:gd name="connsiteY28" fmla="*/ 1568719 h 2835044"/>
              <a:gd name="connsiteX29" fmla="*/ 1998406 w 4680123"/>
              <a:gd name="connsiteY29" fmla="*/ 1584046 h 2835044"/>
              <a:gd name="connsiteX30" fmla="*/ 1923854 w 4680123"/>
              <a:gd name="connsiteY30" fmla="*/ 1600615 h 2835044"/>
              <a:gd name="connsiteX31" fmla="*/ 1850130 w 4680123"/>
              <a:gd name="connsiteY31" fmla="*/ 1619256 h 2835044"/>
              <a:gd name="connsiteX32" fmla="*/ 1776407 w 4680123"/>
              <a:gd name="connsiteY32" fmla="*/ 1639554 h 2835044"/>
              <a:gd name="connsiteX33" fmla="*/ 1703511 w 4680123"/>
              <a:gd name="connsiteY33" fmla="*/ 1660680 h 2835044"/>
              <a:gd name="connsiteX34" fmla="*/ 1631445 w 4680123"/>
              <a:gd name="connsiteY34" fmla="*/ 1683877 h 2835044"/>
              <a:gd name="connsiteX35" fmla="*/ 1560206 w 4680123"/>
              <a:gd name="connsiteY35" fmla="*/ 1708731 h 2835044"/>
              <a:gd name="connsiteX36" fmla="*/ 1489796 w 4680123"/>
              <a:gd name="connsiteY36" fmla="*/ 1734828 h 2835044"/>
              <a:gd name="connsiteX37" fmla="*/ 1419386 w 4680123"/>
              <a:gd name="connsiteY37" fmla="*/ 1762168 h 2835044"/>
              <a:gd name="connsiteX38" fmla="*/ 1350632 w 4680123"/>
              <a:gd name="connsiteY38" fmla="*/ 1791579 h 2835044"/>
              <a:gd name="connsiteX39" fmla="*/ 1282293 w 4680123"/>
              <a:gd name="connsiteY39" fmla="*/ 1822233 h 2835044"/>
              <a:gd name="connsiteX40" fmla="*/ 1214782 w 4680123"/>
              <a:gd name="connsiteY40" fmla="*/ 1854129 h 2835044"/>
              <a:gd name="connsiteX41" fmla="*/ 1147685 w 4680123"/>
              <a:gd name="connsiteY41" fmla="*/ 1887682 h 2835044"/>
              <a:gd name="connsiteX42" fmla="*/ 1081831 w 4680123"/>
              <a:gd name="connsiteY42" fmla="*/ 1922478 h 2835044"/>
              <a:gd name="connsiteX43" fmla="*/ 1016391 w 4680123"/>
              <a:gd name="connsiteY43" fmla="*/ 1958517 h 2835044"/>
              <a:gd name="connsiteX44" fmla="*/ 952194 w 4680123"/>
              <a:gd name="connsiteY44" fmla="*/ 1995798 h 2835044"/>
              <a:gd name="connsiteX45" fmla="*/ 888825 w 4680123"/>
              <a:gd name="connsiteY45" fmla="*/ 2034322 h 2835044"/>
              <a:gd name="connsiteX46" fmla="*/ 826698 w 4680123"/>
              <a:gd name="connsiteY46" fmla="*/ 2074503 h 2835044"/>
              <a:gd name="connsiteX47" fmla="*/ 764986 w 4680123"/>
              <a:gd name="connsiteY47" fmla="*/ 2116341 h 2835044"/>
              <a:gd name="connsiteX48" fmla="*/ 704516 w 4680123"/>
              <a:gd name="connsiteY48" fmla="*/ 2158594 h 2835044"/>
              <a:gd name="connsiteX49" fmla="*/ 644874 w 4680123"/>
              <a:gd name="connsiteY49" fmla="*/ 2202503 h 2835044"/>
              <a:gd name="connsiteX50" fmla="*/ 586061 w 4680123"/>
              <a:gd name="connsiteY50" fmla="*/ 2247655 h 2835044"/>
              <a:gd name="connsiteX51" fmla="*/ 528490 w 4680123"/>
              <a:gd name="connsiteY51" fmla="*/ 2294049 h 2835044"/>
              <a:gd name="connsiteX52" fmla="*/ 472162 w 4680123"/>
              <a:gd name="connsiteY52" fmla="*/ 2341273 h 2835044"/>
              <a:gd name="connsiteX53" fmla="*/ 465121 w 4680123"/>
              <a:gd name="connsiteY53" fmla="*/ 2347900 h 2835044"/>
              <a:gd name="connsiteX54" fmla="*/ 458494 w 4680123"/>
              <a:gd name="connsiteY54" fmla="*/ 2353700 h 2835044"/>
              <a:gd name="connsiteX55" fmla="*/ 427431 w 4680123"/>
              <a:gd name="connsiteY55" fmla="*/ 2381039 h 2835044"/>
              <a:gd name="connsiteX56" fmla="*/ 396782 w 4680123"/>
              <a:gd name="connsiteY56" fmla="*/ 2408793 h 2835044"/>
              <a:gd name="connsiteX57" fmla="*/ 365719 w 4680123"/>
              <a:gd name="connsiteY57" fmla="*/ 2436547 h 2835044"/>
              <a:gd name="connsiteX58" fmla="*/ 335898 w 4680123"/>
              <a:gd name="connsiteY58" fmla="*/ 2465130 h 2835044"/>
              <a:gd name="connsiteX59" fmla="*/ 305663 w 4680123"/>
              <a:gd name="connsiteY59" fmla="*/ 2494126 h 2835044"/>
              <a:gd name="connsiteX60" fmla="*/ 275842 w 4680123"/>
              <a:gd name="connsiteY60" fmla="*/ 2523537 h 2835044"/>
              <a:gd name="connsiteX61" fmla="*/ 246850 w 4680123"/>
              <a:gd name="connsiteY61" fmla="*/ 2553362 h 2835044"/>
              <a:gd name="connsiteX62" fmla="*/ 217857 w 4680123"/>
              <a:gd name="connsiteY62" fmla="*/ 2583187 h 2835044"/>
              <a:gd name="connsiteX63" fmla="*/ 189279 w 4680123"/>
              <a:gd name="connsiteY63" fmla="*/ 2613841 h 2835044"/>
              <a:gd name="connsiteX64" fmla="*/ 161529 w 4680123"/>
              <a:gd name="connsiteY64" fmla="*/ 2644080 h 2835044"/>
              <a:gd name="connsiteX65" fmla="*/ 133365 w 4680123"/>
              <a:gd name="connsiteY65" fmla="*/ 2675148 h 2835044"/>
              <a:gd name="connsiteX66" fmla="*/ 105615 w 4680123"/>
              <a:gd name="connsiteY66" fmla="*/ 2706630 h 2835044"/>
              <a:gd name="connsiteX67" fmla="*/ 78694 w 4680123"/>
              <a:gd name="connsiteY67" fmla="*/ 2738527 h 2835044"/>
              <a:gd name="connsiteX68" fmla="*/ 52187 w 4680123"/>
              <a:gd name="connsiteY68" fmla="*/ 2770423 h 2835044"/>
              <a:gd name="connsiteX69" fmla="*/ 26093 w 4680123"/>
              <a:gd name="connsiteY69" fmla="*/ 2802734 h 2835044"/>
              <a:gd name="connsiteX70" fmla="*/ 0 w 4680123"/>
              <a:gd name="connsiteY70" fmla="*/ 2835044 h 2835044"/>
              <a:gd name="connsiteX71" fmla="*/ 71653 w 4680123"/>
              <a:gd name="connsiteY71" fmla="*/ 2679705 h 2835044"/>
              <a:gd name="connsiteX72" fmla="*/ 148690 w 4680123"/>
              <a:gd name="connsiteY72" fmla="*/ 2527680 h 2835044"/>
              <a:gd name="connsiteX73" fmla="*/ 231111 w 4680123"/>
              <a:gd name="connsiteY73" fmla="*/ 2378554 h 2835044"/>
              <a:gd name="connsiteX74" fmla="*/ 318503 w 4680123"/>
              <a:gd name="connsiteY74" fmla="*/ 2233156 h 2835044"/>
              <a:gd name="connsiteX75" fmla="*/ 410864 w 4680123"/>
              <a:gd name="connsiteY75" fmla="*/ 2091073 h 2835044"/>
              <a:gd name="connsiteX76" fmla="*/ 507782 w 4680123"/>
              <a:gd name="connsiteY76" fmla="*/ 1952303 h 2835044"/>
              <a:gd name="connsiteX77" fmla="*/ 609669 w 4680123"/>
              <a:gd name="connsiteY77" fmla="*/ 1817262 h 2835044"/>
              <a:gd name="connsiteX78" fmla="*/ 716527 w 4680123"/>
              <a:gd name="connsiteY78" fmla="*/ 1686363 h 2835044"/>
              <a:gd name="connsiteX79" fmla="*/ 827526 w 4680123"/>
              <a:gd name="connsiteY79" fmla="*/ 1559192 h 2835044"/>
              <a:gd name="connsiteX80" fmla="*/ 943082 w 4680123"/>
              <a:gd name="connsiteY80" fmla="*/ 1436577 h 2835044"/>
              <a:gd name="connsiteX81" fmla="*/ 1062779 w 4680123"/>
              <a:gd name="connsiteY81" fmla="*/ 1317277 h 2835044"/>
              <a:gd name="connsiteX82" fmla="*/ 1187032 w 4680123"/>
              <a:gd name="connsiteY82" fmla="*/ 1202947 h 2835044"/>
              <a:gd name="connsiteX83" fmla="*/ 1315013 w 4680123"/>
              <a:gd name="connsiteY83" fmla="*/ 1092760 h 2835044"/>
              <a:gd name="connsiteX84" fmla="*/ 1446721 w 4680123"/>
              <a:gd name="connsiteY84" fmla="*/ 986715 h 2835044"/>
              <a:gd name="connsiteX85" fmla="*/ 1582157 w 4680123"/>
              <a:gd name="connsiteY85" fmla="*/ 885641 h 2835044"/>
              <a:gd name="connsiteX86" fmla="*/ 1721321 w 4680123"/>
              <a:gd name="connsiteY86" fmla="*/ 789538 h 2835044"/>
              <a:gd name="connsiteX87" fmla="*/ 1864626 w 4680123"/>
              <a:gd name="connsiteY87" fmla="*/ 697991 h 2835044"/>
              <a:gd name="connsiteX88" fmla="*/ 2010831 w 4680123"/>
              <a:gd name="connsiteY88" fmla="*/ 612244 h 2835044"/>
              <a:gd name="connsiteX89" fmla="*/ 2160349 w 4680123"/>
              <a:gd name="connsiteY89" fmla="*/ 531053 h 2835044"/>
              <a:gd name="connsiteX90" fmla="*/ 2312766 w 4680123"/>
              <a:gd name="connsiteY90" fmla="*/ 454833 h 2835044"/>
              <a:gd name="connsiteX91" fmla="*/ 2468911 w 4680123"/>
              <a:gd name="connsiteY91" fmla="*/ 384413 h 2835044"/>
              <a:gd name="connsiteX92" fmla="*/ 2627541 w 4680123"/>
              <a:gd name="connsiteY92" fmla="*/ 319378 h 2835044"/>
              <a:gd name="connsiteX93" fmla="*/ 2788656 w 4680123"/>
              <a:gd name="connsiteY93" fmla="*/ 260142 h 2835044"/>
              <a:gd name="connsiteX94" fmla="*/ 2953084 w 4680123"/>
              <a:gd name="connsiteY94" fmla="*/ 207119 h 2835044"/>
              <a:gd name="connsiteX95" fmla="*/ 3119583 w 4680123"/>
              <a:gd name="connsiteY95" fmla="*/ 159068 h 2835044"/>
              <a:gd name="connsiteX96" fmla="*/ 3288982 w 4680123"/>
              <a:gd name="connsiteY96" fmla="*/ 117644 h 2835044"/>
              <a:gd name="connsiteX97" fmla="*/ 3460451 w 4680123"/>
              <a:gd name="connsiteY97" fmla="*/ 81605 h 2835044"/>
              <a:gd name="connsiteX98" fmla="*/ 3634406 w 4680123"/>
              <a:gd name="connsiteY98" fmla="*/ 52608 h 2835044"/>
              <a:gd name="connsiteX99" fmla="*/ 3809603 w 4680123"/>
              <a:gd name="connsiteY99" fmla="*/ 29411 h 2835044"/>
              <a:gd name="connsiteX100" fmla="*/ 3987699 w 4680123"/>
              <a:gd name="connsiteY100" fmla="*/ 13256 h 2835044"/>
              <a:gd name="connsiteX101" fmla="*/ 4167452 w 4680123"/>
              <a:gd name="connsiteY101" fmla="*/ 3314 h 2835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4680123" h="2835044">
                <a:moveTo>
                  <a:pt x="4348448" y="0"/>
                </a:moveTo>
                <a:lnTo>
                  <a:pt x="4418858" y="414"/>
                </a:lnTo>
                <a:lnTo>
                  <a:pt x="4489682" y="2486"/>
                </a:lnTo>
                <a:lnTo>
                  <a:pt x="4559678" y="4971"/>
                </a:lnTo>
                <a:lnTo>
                  <a:pt x="4629260" y="8699"/>
                </a:lnTo>
                <a:lnTo>
                  <a:pt x="4680123" y="12030"/>
                </a:lnTo>
                <a:lnTo>
                  <a:pt x="4680123" y="654814"/>
                </a:lnTo>
                <a:lnTo>
                  <a:pt x="4571584" y="649333"/>
                </a:lnTo>
                <a:cubicBezTo>
                  <a:pt x="3927891" y="649333"/>
                  <a:pt x="3360371" y="975468"/>
                  <a:pt x="3025250" y="1471512"/>
                </a:cubicBezTo>
                <a:lnTo>
                  <a:pt x="2996965" y="1518072"/>
                </a:lnTo>
                <a:lnTo>
                  <a:pt x="2970065" y="1516111"/>
                </a:lnTo>
                <a:lnTo>
                  <a:pt x="2930304" y="1513211"/>
                </a:lnTo>
                <a:lnTo>
                  <a:pt x="2890129" y="1511140"/>
                </a:lnTo>
                <a:lnTo>
                  <a:pt x="2850368" y="1509897"/>
                </a:lnTo>
                <a:lnTo>
                  <a:pt x="2810193" y="1508240"/>
                </a:lnTo>
                <a:lnTo>
                  <a:pt x="2770018" y="1507826"/>
                </a:lnTo>
                <a:lnTo>
                  <a:pt x="2729843" y="1507412"/>
                </a:lnTo>
                <a:lnTo>
                  <a:pt x="2721145" y="1507412"/>
                </a:lnTo>
                <a:lnTo>
                  <a:pt x="2712447" y="1507412"/>
                </a:lnTo>
                <a:lnTo>
                  <a:pt x="2703749" y="1507412"/>
                </a:lnTo>
                <a:lnTo>
                  <a:pt x="2695052" y="1507412"/>
                </a:lnTo>
                <a:lnTo>
                  <a:pt x="2615944" y="1509069"/>
                </a:lnTo>
                <a:lnTo>
                  <a:pt x="2536422" y="1512383"/>
                </a:lnTo>
                <a:lnTo>
                  <a:pt x="2458142" y="1517768"/>
                </a:lnTo>
                <a:lnTo>
                  <a:pt x="2380691" y="1524396"/>
                </a:lnTo>
                <a:lnTo>
                  <a:pt x="2302826" y="1533095"/>
                </a:lnTo>
                <a:lnTo>
                  <a:pt x="2225789" y="1543451"/>
                </a:lnTo>
                <a:lnTo>
                  <a:pt x="2149580" y="1555463"/>
                </a:lnTo>
                <a:lnTo>
                  <a:pt x="2073786" y="1568719"/>
                </a:lnTo>
                <a:lnTo>
                  <a:pt x="1998406" y="1584046"/>
                </a:lnTo>
                <a:lnTo>
                  <a:pt x="1923854" y="1600615"/>
                </a:lnTo>
                <a:lnTo>
                  <a:pt x="1850130" y="1619256"/>
                </a:lnTo>
                <a:lnTo>
                  <a:pt x="1776407" y="1639554"/>
                </a:lnTo>
                <a:lnTo>
                  <a:pt x="1703511" y="1660680"/>
                </a:lnTo>
                <a:lnTo>
                  <a:pt x="1631445" y="1683877"/>
                </a:lnTo>
                <a:lnTo>
                  <a:pt x="1560206" y="1708731"/>
                </a:lnTo>
                <a:lnTo>
                  <a:pt x="1489796" y="1734828"/>
                </a:lnTo>
                <a:lnTo>
                  <a:pt x="1419386" y="1762168"/>
                </a:lnTo>
                <a:lnTo>
                  <a:pt x="1350632" y="1791579"/>
                </a:lnTo>
                <a:lnTo>
                  <a:pt x="1282293" y="1822233"/>
                </a:lnTo>
                <a:lnTo>
                  <a:pt x="1214782" y="1854129"/>
                </a:lnTo>
                <a:lnTo>
                  <a:pt x="1147685" y="1887682"/>
                </a:lnTo>
                <a:lnTo>
                  <a:pt x="1081831" y="1922478"/>
                </a:lnTo>
                <a:lnTo>
                  <a:pt x="1016391" y="1958517"/>
                </a:lnTo>
                <a:lnTo>
                  <a:pt x="952194" y="1995798"/>
                </a:lnTo>
                <a:lnTo>
                  <a:pt x="888825" y="2034322"/>
                </a:lnTo>
                <a:lnTo>
                  <a:pt x="826698" y="2074503"/>
                </a:lnTo>
                <a:lnTo>
                  <a:pt x="764986" y="2116341"/>
                </a:lnTo>
                <a:lnTo>
                  <a:pt x="704516" y="2158594"/>
                </a:lnTo>
                <a:lnTo>
                  <a:pt x="644874" y="2202503"/>
                </a:lnTo>
                <a:lnTo>
                  <a:pt x="586061" y="2247655"/>
                </a:lnTo>
                <a:lnTo>
                  <a:pt x="528490" y="2294049"/>
                </a:lnTo>
                <a:lnTo>
                  <a:pt x="472162" y="2341273"/>
                </a:lnTo>
                <a:lnTo>
                  <a:pt x="465121" y="2347900"/>
                </a:lnTo>
                <a:lnTo>
                  <a:pt x="458494" y="2353700"/>
                </a:lnTo>
                <a:lnTo>
                  <a:pt x="427431" y="2381039"/>
                </a:lnTo>
                <a:lnTo>
                  <a:pt x="396782" y="2408793"/>
                </a:lnTo>
                <a:lnTo>
                  <a:pt x="365719" y="2436547"/>
                </a:lnTo>
                <a:lnTo>
                  <a:pt x="335898" y="2465130"/>
                </a:lnTo>
                <a:lnTo>
                  <a:pt x="305663" y="2494126"/>
                </a:lnTo>
                <a:lnTo>
                  <a:pt x="275842" y="2523537"/>
                </a:lnTo>
                <a:lnTo>
                  <a:pt x="246850" y="2553362"/>
                </a:lnTo>
                <a:lnTo>
                  <a:pt x="217857" y="2583187"/>
                </a:lnTo>
                <a:lnTo>
                  <a:pt x="189279" y="2613841"/>
                </a:lnTo>
                <a:lnTo>
                  <a:pt x="161529" y="2644080"/>
                </a:lnTo>
                <a:lnTo>
                  <a:pt x="133365" y="2675148"/>
                </a:lnTo>
                <a:lnTo>
                  <a:pt x="105615" y="2706630"/>
                </a:lnTo>
                <a:lnTo>
                  <a:pt x="78694" y="2738527"/>
                </a:lnTo>
                <a:lnTo>
                  <a:pt x="52187" y="2770423"/>
                </a:lnTo>
                <a:lnTo>
                  <a:pt x="26093" y="2802734"/>
                </a:lnTo>
                <a:lnTo>
                  <a:pt x="0" y="2835044"/>
                </a:lnTo>
                <a:lnTo>
                  <a:pt x="71653" y="2679705"/>
                </a:lnTo>
                <a:lnTo>
                  <a:pt x="148690" y="2527680"/>
                </a:lnTo>
                <a:lnTo>
                  <a:pt x="231111" y="2378554"/>
                </a:lnTo>
                <a:lnTo>
                  <a:pt x="318503" y="2233156"/>
                </a:lnTo>
                <a:lnTo>
                  <a:pt x="410864" y="2091073"/>
                </a:lnTo>
                <a:lnTo>
                  <a:pt x="507782" y="1952303"/>
                </a:lnTo>
                <a:lnTo>
                  <a:pt x="609669" y="1817262"/>
                </a:lnTo>
                <a:lnTo>
                  <a:pt x="716527" y="1686363"/>
                </a:lnTo>
                <a:lnTo>
                  <a:pt x="827526" y="1559192"/>
                </a:lnTo>
                <a:lnTo>
                  <a:pt x="943082" y="1436577"/>
                </a:lnTo>
                <a:lnTo>
                  <a:pt x="1062779" y="1317277"/>
                </a:lnTo>
                <a:lnTo>
                  <a:pt x="1187032" y="1202947"/>
                </a:lnTo>
                <a:lnTo>
                  <a:pt x="1315013" y="1092760"/>
                </a:lnTo>
                <a:lnTo>
                  <a:pt x="1446721" y="986715"/>
                </a:lnTo>
                <a:lnTo>
                  <a:pt x="1582157" y="885641"/>
                </a:lnTo>
                <a:lnTo>
                  <a:pt x="1721321" y="789538"/>
                </a:lnTo>
                <a:lnTo>
                  <a:pt x="1864626" y="697991"/>
                </a:lnTo>
                <a:lnTo>
                  <a:pt x="2010831" y="612244"/>
                </a:lnTo>
                <a:lnTo>
                  <a:pt x="2160349" y="531053"/>
                </a:lnTo>
                <a:lnTo>
                  <a:pt x="2312766" y="454833"/>
                </a:lnTo>
                <a:lnTo>
                  <a:pt x="2468911" y="384413"/>
                </a:lnTo>
                <a:lnTo>
                  <a:pt x="2627541" y="319378"/>
                </a:lnTo>
                <a:lnTo>
                  <a:pt x="2788656" y="260142"/>
                </a:lnTo>
                <a:lnTo>
                  <a:pt x="2953084" y="207119"/>
                </a:lnTo>
                <a:lnTo>
                  <a:pt x="3119583" y="159068"/>
                </a:lnTo>
                <a:lnTo>
                  <a:pt x="3288982" y="117644"/>
                </a:lnTo>
                <a:lnTo>
                  <a:pt x="3460451" y="81605"/>
                </a:lnTo>
                <a:lnTo>
                  <a:pt x="3634406" y="52608"/>
                </a:lnTo>
                <a:lnTo>
                  <a:pt x="3809603" y="29411"/>
                </a:lnTo>
                <a:lnTo>
                  <a:pt x="3987699" y="13256"/>
                </a:lnTo>
                <a:lnTo>
                  <a:pt x="4167452" y="331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33" name="Полилиния 32"/>
          <p:cNvSpPr>
            <a:spLocks/>
          </p:cNvSpPr>
          <p:nvPr userDrawn="1"/>
        </p:nvSpPr>
        <p:spPr bwMode="auto">
          <a:xfrm rot="21014560">
            <a:off x="4762081" y="5861915"/>
            <a:ext cx="2729786" cy="1172544"/>
          </a:xfrm>
          <a:custGeom>
            <a:avLst/>
            <a:gdLst>
              <a:gd name="connsiteX0" fmla="*/ 2545958 w 2729786"/>
              <a:gd name="connsiteY0" fmla="*/ 43242 h 1172544"/>
              <a:gd name="connsiteX1" fmla="*/ 2590914 w 2729786"/>
              <a:gd name="connsiteY1" fmla="*/ 51314 h 1172544"/>
              <a:gd name="connsiteX2" fmla="*/ 2635869 w 2729786"/>
              <a:gd name="connsiteY2" fmla="*/ 59963 h 1172544"/>
              <a:gd name="connsiteX3" fmla="*/ 2681400 w 2729786"/>
              <a:gd name="connsiteY3" fmla="*/ 69764 h 1172544"/>
              <a:gd name="connsiteX4" fmla="*/ 2725778 w 2729786"/>
              <a:gd name="connsiteY4" fmla="*/ 78989 h 1172544"/>
              <a:gd name="connsiteX5" fmla="*/ 2729786 w 2729786"/>
              <a:gd name="connsiteY5" fmla="*/ 79978 h 1172544"/>
              <a:gd name="connsiteX6" fmla="*/ 2650077 w 2729786"/>
              <a:gd name="connsiteY6" fmla="*/ 191814 h 1172544"/>
              <a:gd name="connsiteX7" fmla="*/ 2382633 w 2729786"/>
              <a:gd name="connsiteY7" fmla="*/ 882348 h 1172544"/>
              <a:gd name="connsiteX8" fmla="*/ 2355679 w 2729786"/>
              <a:gd name="connsiteY8" fmla="*/ 1165874 h 1172544"/>
              <a:gd name="connsiteX9" fmla="*/ 2356054 w 2729786"/>
              <a:gd name="connsiteY9" fmla="*/ 1172544 h 1172544"/>
              <a:gd name="connsiteX10" fmla="*/ 0 w 2729786"/>
              <a:gd name="connsiteY10" fmla="*/ 767390 h 1172544"/>
              <a:gd name="connsiteX11" fmla="*/ 53263 w 2729786"/>
              <a:gd name="connsiteY11" fmla="*/ 722432 h 1172544"/>
              <a:gd name="connsiteX12" fmla="*/ 108592 w 2729786"/>
              <a:gd name="connsiteY12" fmla="*/ 675731 h 1172544"/>
              <a:gd name="connsiteX13" fmla="*/ 166226 w 2729786"/>
              <a:gd name="connsiteY13" fmla="*/ 631336 h 1172544"/>
              <a:gd name="connsiteX14" fmla="*/ 223861 w 2729786"/>
              <a:gd name="connsiteY14" fmla="*/ 587517 h 1172544"/>
              <a:gd name="connsiteX15" fmla="*/ 283225 w 2729786"/>
              <a:gd name="connsiteY15" fmla="*/ 546004 h 1172544"/>
              <a:gd name="connsiteX16" fmla="*/ 343741 w 2729786"/>
              <a:gd name="connsiteY16" fmla="*/ 505068 h 1172544"/>
              <a:gd name="connsiteX17" fmla="*/ 404834 w 2729786"/>
              <a:gd name="connsiteY17" fmla="*/ 465862 h 1172544"/>
              <a:gd name="connsiteX18" fmla="*/ 466503 w 2729786"/>
              <a:gd name="connsiteY18" fmla="*/ 428386 h 1172544"/>
              <a:gd name="connsiteX19" fmla="*/ 529901 w 2729786"/>
              <a:gd name="connsiteY19" fmla="*/ 390909 h 1172544"/>
              <a:gd name="connsiteX20" fmla="*/ 594452 w 2729786"/>
              <a:gd name="connsiteY20" fmla="*/ 356892 h 1172544"/>
              <a:gd name="connsiteX21" fmla="*/ 659002 w 2729786"/>
              <a:gd name="connsiteY21" fmla="*/ 323451 h 1172544"/>
              <a:gd name="connsiteX22" fmla="*/ 724706 w 2729786"/>
              <a:gd name="connsiteY22" fmla="*/ 291164 h 1172544"/>
              <a:gd name="connsiteX23" fmla="*/ 792138 w 2729786"/>
              <a:gd name="connsiteY23" fmla="*/ 260606 h 1172544"/>
              <a:gd name="connsiteX24" fmla="*/ 858994 w 2729786"/>
              <a:gd name="connsiteY24" fmla="*/ 231778 h 1172544"/>
              <a:gd name="connsiteX25" fmla="*/ 927579 w 2729786"/>
              <a:gd name="connsiteY25" fmla="*/ 204679 h 1172544"/>
              <a:gd name="connsiteX26" fmla="*/ 996741 w 2729786"/>
              <a:gd name="connsiteY26" fmla="*/ 179311 h 1172544"/>
              <a:gd name="connsiteX27" fmla="*/ 1067055 w 2729786"/>
              <a:gd name="connsiteY27" fmla="*/ 155095 h 1172544"/>
              <a:gd name="connsiteX28" fmla="*/ 1137369 w 2729786"/>
              <a:gd name="connsiteY28" fmla="*/ 132033 h 1172544"/>
              <a:gd name="connsiteX29" fmla="*/ 1208836 w 2729786"/>
              <a:gd name="connsiteY29" fmla="*/ 111853 h 1172544"/>
              <a:gd name="connsiteX30" fmla="*/ 1281456 w 2729786"/>
              <a:gd name="connsiteY30" fmla="*/ 92250 h 1172544"/>
              <a:gd name="connsiteX31" fmla="*/ 1354076 w 2729786"/>
              <a:gd name="connsiteY31" fmla="*/ 75529 h 1172544"/>
              <a:gd name="connsiteX32" fmla="*/ 1427271 w 2729786"/>
              <a:gd name="connsiteY32" fmla="*/ 59963 h 1172544"/>
              <a:gd name="connsiteX33" fmla="*/ 1501043 w 2729786"/>
              <a:gd name="connsiteY33" fmla="*/ 46125 h 1172544"/>
              <a:gd name="connsiteX34" fmla="*/ 1576545 w 2729786"/>
              <a:gd name="connsiteY34" fmla="*/ 34017 h 1172544"/>
              <a:gd name="connsiteX35" fmla="*/ 1650893 w 2729786"/>
              <a:gd name="connsiteY35" fmla="*/ 23639 h 1172544"/>
              <a:gd name="connsiteX36" fmla="*/ 1726971 w 2729786"/>
              <a:gd name="connsiteY36" fmla="*/ 14990 h 1172544"/>
              <a:gd name="connsiteX37" fmla="*/ 1803625 w 2729786"/>
              <a:gd name="connsiteY37" fmla="*/ 9225 h 1172544"/>
              <a:gd name="connsiteX38" fmla="*/ 1880279 w 2729786"/>
              <a:gd name="connsiteY38" fmla="*/ 4036 h 1172544"/>
              <a:gd name="connsiteX39" fmla="*/ 1957509 w 2729786"/>
              <a:gd name="connsiteY39" fmla="*/ 1730 h 1172544"/>
              <a:gd name="connsiteX40" fmla="*/ 2035892 w 2729786"/>
              <a:gd name="connsiteY40" fmla="*/ 0 h 1172544"/>
              <a:gd name="connsiteX41" fmla="*/ 2083729 w 2729786"/>
              <a:gd name="connsiteY41" fmla="*/ 1153 h 1172544"/>
              <a:gd name="connsiteX42" fmla="*/ 2130413 w 2729786"/>
              <a:gd name="connsiteY42" fmla="*/ 2306 h 1172544"/>
              <a:gd name="connsiteX43" fmla="*/ 2177674 w 2729786"/>
              <a:gd name="connsiteY43" fmla="*/ 3459 h 1172544"/>
              <a:gd name="connsiteX44" fmla="*/ 2223781 w 2729786"/>
              <a:gd name="connsiteY44" fmla="*/ 6342 h 1172544"/>
              <a:gd name="connsiteX45" fmla="*/ 2271042 w 2729786"/>
              <a:gd name="connsiteY45" fmla="*/ 9802 h 1172544"/>
              <a:gd name="connsiteX46" fmla="*/ 2317726 w 2729786"/>
              <a:gd name="connsiteY46" fmla="*/ 13837 h 1172544"/>
              <a:gd name="connsiteX47" fmla="*/ 2363257 w 2729786"/>
              <a:gd name="connsiteY47" fmla="*/ 18450 h 1172544"/>
              <a:gd name="connsiteX48" fmla="*/ 2409365 w 2729786"/>
              <a:gd name="connsiteY48" fmla="*/ 23639 h 1172544"/>
              <a:gd name="connsiteX49" fmla="*/ 2455472 w 2729786"/>
              <a:gd name="connsiteY49" fmla="*/ 29981 h 1172544"/>
              <a:gd name="connsiteX50" fmla="*/ 2501004 w 2729786"/>
              <a:gd name="connsiteY50" fmla="*/ 35747 h 1172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2729786" h="1172544">
                <a:moveTo>
                  <a:pt x="2545958" y="43242"/>
                </a:moveTo>
                <a:lnTo>
                  <a:pt x="2590914" y="51314"/>
                </a:lnTo>
                <a:lnTo>
                  <a:pt x="2635869" y="59963"/>
                </a:lnTo>
                <a:lnTo>
                  <a:pt x="2681400" y="69764"/>
                </a:lnTo>
                <a:lnTo>
                  <a:pt x="2725778" y="78989"/>
                </a:lnTo>
                <a:lnTo>
                  <a:pt x="2729786" y="79978"/>
                </a:lnTo>
                <a:lnTo>
                  <a:pt x="2650077" y="191814"/>
                </a:lnTo>
                <a:cubicBezTo>
                  <a:pt x="2519266" y="395697"/>
                  <a:pt x="2426269" y="628596"/>
                  <a:pt x="2382633" y="882348"/>
                </a:cubicBezTo>
                <a:cubicBezTo>
                  <a:pt x="2366270" y="977505"/>
                  <a:pt x="2357428" y="1072217"/>
                  <a:pt x="2355679" y="1165874"/>
                </a:cubicBezTo>
                <a:lnTo>
                  <a:pt x="2356054" y="1172544"/>
                </a:lnTo>
                <a:lnTo>
                  <a:pt x="0" y="767390"/>
                </a:lnTo>
                <a:lnTo>
                  <a:pt x="53263" y="722432"/>
                </a:lnTo>
                <a:lnTo>
                  <a:pt x="108592" y="675731"/>
                </a:lnTo>
                <a:lnTo>
                  <a:pt x="166226" y="631336"/>
                </a:lnTo>
                <a:lnTo>
                  <a:pt x="223861" y="587517"/>
                </a:lnTo>
                <a:lnTo>
                  <a:pt x="283225" y="546004"/>
                </a:lnTo>
                <a:lnTo>
                  <a:pt x="343741" y="505068"/>
                </a:lnTo>
                <a:lnTo>
                  <a:pt x="404834" y="465862"/>
                </a:lnTo>
                <a:lnTo>
                  <a:pt x="466503" y="428386"/>
                </a:lnTo>
                <a:lnTo>
                  <a:pt x="529901" y="390909"/>
                </a:lnTo>
                <a:lnTo>
                  <a:pt x="594452" y="356892"/>
                </a:lnTo>
                <a:lnTo>
                  <a:pt x="659002" y="323451"/>
                </a:lnTo>
                <a:lnTo>
                  <a:pt x="724706" y="291164"/>
                </a:lnTo>
                <a:lnTo>
                  <a:pt x="792138" y="260606"/>
                </a:lnTo>
                <a:lnTo>
                  <a:pt x="858994" y="231778"/>
                </a:lnTo>
                <a:lnTo>
                  <a:pt x="927579" y="204679"/>
                </a:lnTo>
                <a:lnTo>
                  <a:pt x="996741" y="179311"/>
                </a:lnTo>
                <a:lnTo>
                  <a:pt x="1067055" y="155095"/>
                </a:lnTo>
                <a:lnTo>
                  <a:pt x="1137369" y="132033"/>
                </a:lnTo>
                <a:lnTo>
                  <a:pt x="1208836" y="111853"/>
                </a:lnTo>
                <a:lnTo>
                  <a:pt x="1281456" y="92250"/>
                </a:lnTo>
                <a:lnTo>
                  <a:pt x="1354076" y="75529"/>
                </a:lnTo>
                <a:lnTo>
                  <a:pt x="1427271" y="59963"/>
                </a:lnTo>
                <a:lnTo>
                  <a:pt x="1501043" y="46125"/>
                </a:lnTo>
                <a:lnTo>
                  <a:pt x="1576545" y="34017"/>
                </a:lnTo>
                <a:lnTo>
                  <a:pt x="1650893" y="23639"/>
                </a:lnTo>
                <a:lnTo>
                  <a:pt x="1726971" y="14990"/>
                </a:lnTo>
                <a:lnTo>
                  <a:pt x="1803625" y="9225"/>
                </a:lnTo>
                <a:lnTo>
                  <a:pt x="1880279" y="4036"/>
                </a:lnTo>
                <a:lnTo>
                  <a:pt x="1957509" y="1730"/>
                </a:lnTo>
                <a:lnTo>
                  <a:pt x="2035892" y="0"/>
                </a:lnTo>
                <a:lnTo>
                  <a:pt x="2083729" y="1153"/>
                </a:lnTo>
                <a:lnTo>
                  <a:pt x="2130413" y="2306"/>
                </a:lnTo>
                <a:lnTo>
                  <a:pt x="2177674" y="3459"/>
                </a:lnTo>
                <a:lnTo>
                  <a:pt x="2223781" y="6342"/>
                </a:lnTo>
                <a:lnTo>
                  <a:pt x="2271042" y="9802"/>
                </a:lnTo>
                <a:lnTo>
                  <a:pt x="2317726" y="13837"/>
                </a:lnTo>
                <a:lnTo>
                  <a:pt x="2363257" y="18450"/>
                </a:lnTo>
                <a:lnTo>
                  <a:pt x="2409365" y="23639"/>
                </a:lnTo>
                <a:lnTo>
                  <a:pt x="2455472" y="29981"/>
                </a:lnTo>
                <a:lnTo>
                  <a:pt x="2501004" y="3574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623888" y="420976"/>
            <a:ext cx="0" cy="746497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Текст 15"/>
          <p:cNvSpPr>
            <a:spLocks noGrp="1"/>
          </p:cNvSpPr>
          <p:nvPr>
            <p:ph type="body" sz="quarter" idx="11" hasCustomPrompt="1"/>
          </p:nvPr>
        </p:nvSpPr>
        <p:spPr>
          <a:xfrm>
            <a:off x="780942" y="461825"/>
            <a:ext cx="894476" cy="6647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buNone/>
              <a:defRPr lang="ru-RU" sz="48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 smtClean="0"/>
              <a:t>##</a:t>
            </a:r>
            <a:endParaRPr lang="ru-RU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-1709204" y="138032"/>
            <a:ext cx="1362807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Clr>
                <a:schemeClr val="accent1"/>
              </a:buClr>
            </a:pPr>
            <a:r>
              <a:rPr lang="ru-RU" sz="1100" b="1" dirty="0" smtClean="0"/>
              <a:t>Этот разделитель предназначен</a:t>
            </a:r>
            <a:r>
              <a:rPr lang="ru-RU" sz="1100" b="1" baseline="0" dirty="0" smtClean="0"/>
              <a:t> </a:t>
            </a:r>
            <a:br>
              <a:rPr lang="ru-RU" sz="1100" b="1" baseline="0" dirty="0" smtClean="0"/>
            </a:br>
            <a:r>
              <a:rPr lang="ru-RU" sz="1100" b="1" baseline="0" dirty="0" smtClean="0"/>
              <a:t>для титула №1</a:t>
            </a:r>
            <a:endParaRPr lang="ru-RU" sz="1100" b="1" dirty="0" smtClean="0"/>
          </a:p>
        </p:txBody>
      </p:sp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09204" y="794223"/>
            <a:ext cx="1440847" cy="1080000"/>
          </a:xfrm>
          <a:prstGeom prst="rect">
            <a:avLst/>
          </a:prstGeom>
          <a:ln>
            <a:solidFill>
              <a:schemeClr val="accent3"/>
            </a:solidFill>
          </a:ln>
        </p:spPr>
      </p:pic>
      <p:sp>
        <p:nvSpPr>
          <p:cNvPr id="19" name="TextBox 18"/>
          <p:cNvSpPr txBox="1"/>
          <p:nvPr userDrawn="1"/>
        </p:nvSpPr>
        <p:spPr>
          <a:xfrm>
            <a:off x="-1709204" y="2311692"/>
            <a:ext cx="1337546" cy="13234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Clr>
                <a:schemeClr val="accent1"/>
              </a:buClr>
            </a:pPr>
            <a:r>
              <a:rPr lang="ru-RU" sz="1100" b="1" dirty="0" smtClean="0"/>
              <a:t>Введите</a:t>
            </a:r>
            <a:r>
              <a:rPr lang="ru-RU" sz="1100" b="1" baseline="0" dirty="0" smtClean="0"/>
              <a:t> </a:t>
            </a:r>
            <a:br>
              <a:rPr lang="ru-RU" sz="1100" b="1" baseline="0" dirty="0" smtClean="0"/>
            </a:br>
            <a:r>
              <a:rPr lang="ru-RU" sz="1100" b="1" baseline="0" dirty="0" smtClean="0"/>
              <a:t>в заполнитель текст:</a:t>
            </a:r>
          </a:p>
          <a:p>
            <a:pPr marL="171450" indent="-171450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b="0" baseline="0" dirty="0" smtClean="0"/>
              <a:t>Заголовок</a:t>
            </a:r>
          </a:p>
          <a:p>
            <a:pPr marL="171450" indent="-171450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b="0" baseline="0" dirty="0" smtClean="0"/>
              <a:t>Подзаголовок (если требуется)</a:t>
            </a:r>
          </a:p>
        </p:txBody>
      </p:sp>
    </p:spTree>
    <p:extLst>
      <p:ext uri="{BB962C8B-B14F-4D97-AF65-F5344CB8AC3E}">
        <p14:creationId xmlns:p14="http://schemas.microsoft.com/office/powerpoint/2010/main" val="18565092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10266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17040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6138" y="2717798"/>
            <a:ext cx="4600800" cy="1257870"/>
          </a:xfrm>
        </p:spPr>
        <p:txBody>
          <a:bodyPr lIns="0" tIns="0" rIns="0" bIns="0" anchor="b">
            <a:noAutofit/>
          </a:bodyPr>
          <a:lstStyle>
            <a:lvl1pPr algn="l"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Заголовок презентации,</a:t>
            </a:r>
            <a:br>
              <a:rPr lang="ru-RU" dirty="0" smtClean="0"/>
            </a:br>
            <a:r>
              <a:rPr lang="ru-RU" dirty="0" smtClean="0"/>
              <a:t>в одну, две или три</a:t>
            </a:r>
            <a:br>
              <a:rPr lang="ru-RU" dirty="0" smtClean="0"/>
            </a:br>
            <a:r>
              <a:rPr lang="ru-RU" dirty="0" smtClean="0"/>
              <a:t>строки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10819" y="4127822"/>
            <a:ext cx="4600800" cy="73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Подзаголовок в одну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или две строки</a:t>
            </a:r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2680790" y="353061"/>
            <a:ext cx="3526627" cy="362305"/>
            <a:chOff x="511423" y="414244"/>
            <a:chExt cx="7085956" cy="727969"/>
          </a:xfrm>
        </p:grpSpPr>
        <p:grpSp>
          <p:nvGrpSpPr>
            <p:cNvPr id="9" name="Группа 8"/>
            <p:cNvGrpSpPr/>
            <p:nvPr/>
          </p:nvGrpSpPr>
          <p:grpSpPr>
            <a:xfrm>
              <a:off x="511423" y="414244"/>
              <a:ext cx="727969" cy="727969"/>
              <a:chOff x="609076" y="4151667"/>
              <a:chExt cx="393700" cy="393700"/>
            </a:xfrm>
          </p:grpSpPr>
          <p:sp>
            <p:nvSpPr>
              <p:cNvPr id="11" name="Freeform 6"/>
              <p:cNvSpPr>
                <a:spLocks/>
              </p:cNvSpPr>
              <p:nvPr/>
            </p:nvSpPr>
            <p:spPr bwMode="auto">
              <a:xfrm>
                <a:off x="617014" y="4151667"/>
                <a:ext cx="385762" cy="339725"/>
              </a:xfrm>
              <a:custGeom>
                <a:avLst/>
                <a:gdLst>
                  <a:gd name="T0" fmla="*/ 170 w 1698"/>
                  <a:gd name="T1" fmla="*/ 303 h 1496"/>
                  <a:gd name="T2" fmla="*/ 225 w 1698"/>
                  <a:gd name="T3" fmla="*/ 245 h 1496"/>
                  <a:gd name="T4" fmla="*/ 460 w 1698"/>
                  <a:gd name="T5" fmla="*/ 83 h 1496"/>
                  <a:gd name="T6" fmla="*/ 785 w 1698"/>
                  <a:gd name="T7" fmla="*/ 1 h 1496"/>
                  <a:gd name="T8" fmla="*/ 1128 w 1698"/>
                  <a:gd name="T9" fmla="*/ 53 h 1496"/>
                  <a:gd name="T10" fmla="*/ 1414 w 1698"/>
                  <a:gd name="T11" fmla="*/ 226 h 1496"/>
                  <a:gd name="T12" fmla="*/ 1612 w 1698"/>
                  <a:gd name="T13" fmla="*/ 493 h 1496"/>
                  <a:gd name="T14" fmla="*/ 1697 w 1698"/>
                  <a:gd name="T15" fmla="*/ 824 h 1496"/>
                  <a:gd name="T16" fmla="*/ 1684 w 1698"/>
                  <a:gd name="T17" fmla="*/ 1026 h 1496"/>
                  <a:gd name="T18" fmla="*/ 1566 w 1698"/>
                  <a:gd name="T19" fmla="*/ 1331 h 1496"/>
                  <a:gd name="T20" fmla="*/ 1484 w 1698"/>
                  <a:gd name="T21" fmla="*/ 1429 h 1496"/>
                  <a:gd name="T22" fmla="*/ 1579 w 1698"/>
                  <a:gd name="T23" fmla="*/ 1218 h 1496"/>
                  <a:gd name="T24" fmla="*/ 1590 w 1698"/>
                  <a:gd name="T25" fmla="*/ 981 h 1496"/>
                  <a:gd name="T26" fmla="*/ 1521 w 1698"/>
                  <a:gd name="T27" fmla="*/ 768 h 1496"/>
                  <a:gd name="T28" fmla="*/ 1400 w 1698"/>
                  <a:gd name="T29" fmla="*/ 558 h 1496"/>
                  <a:gd name="T30" fmla="*/ 1217 w 1698"/>
                  <a:gd name="T31" fmla="*/ 348 h 1496"/>
                  <a:gd name="T32" fmla="*/ 979 w 1698"/>
                  <a:gd name="T33" fmla="*/ 237 h 1496"/>
                  <a:gd name="T34" fmla="*/ 728 w 1698"/>
                  <a:gd name="T35" fmla="*/ 228 h 1496"/>
                  <a:gd name="T36" fmla="*/ 482 w 1698"/>
                  <a:gd name="T37" fmla="*/ 320 h 1496"/>
                  <a:gd name="T38" fmla="*/ 342 w 1698"/>
                  <a:gd name="T39" fmla="*/ 438 h 1496"/>
                  <a:gd name="T40" fmla="*/ 246 w 1698"/>
                  <a:gd name="T41" fmla="*/ 622 h 1496"/>
                  <a:gd name="T42" fmla="*/ 246 w 1698"/>
                  <a:gd name="T43" fmla="*/ 804 h 1496"/>
                  <a:gd name="T44" fmla="*/ 303 w 1698"/>
                  <a:gd name="T45" fmla="*/ 935 h 1496"/>
                  <a:gd name="T46" fmla="*/ 433 w 1698"/>
                  <a:gd name="T47" fmla="*/ 1061 h 1496"/>
                  <a:gd name="T48" fmla="*/ 598 w 1698"/>
                  <a:gd name="T49" fmla="*/ 1115 h 1496"/>
                  <a:gd name="T50" fmla="*/ 746 w 1698"/>
                  <a:gd name="T51" fmla="*/ 1104 h 1496"/>
                  <a:gd name="T52" fmla="*/ 893 w 1698"/>
                  <a:gd name="T53" fmla="*/ 1030 h 1496"/>
                  <a:gd name="T54" fmla="*/ 966 w 1698"/>
                  <a:gd name="T55" fmla="*/ 953 h 1496"/>
                  <a:gd name="T56" fmla="*/ 974 w 1698"/>
                  <a:gd name="T57" fmla="*/ 940 h 1496"/>
                  <a:gd name="T58" fmla="*/ 980 w 1698"/>
                  <a:gd name="T59" fmla="*/ 926 h 1496"/>
                  <a:gd name="T60" fmla="*/ 988 w 1698"/>
                  <a:gd name="T61" fmla="*/ 897 h 1496"/>
                  <a:gd name="T62" fmla="*/ 989 w 1698"/>
                  <a:gd name="T63" fmla="*/ 853 h 1496"/>
                  <a:gd name="T64" fmla="*/ 931 w 1698"/>
                  <a:gd name="T65" fmla="*/ 745 h 1496"/>
                  <a:gd name="T66" fmla="*/ 816 w 1698"/>
                  <a:gd name="T67" fmla="*/ 709 h 1496"/>
                  <a:gd name="T68" fmla="*/ 728 w 1698"/>
                  <a:gd name="T69" fmla="*/ 745 h 1496"/>
                  <a:gd name="T70" fmla="*/ 753 w 1698"/>
                  <a:gd name="T71" fmla="*/ 724 h 1496"/>
                  <a:gd name="T72" fmla="*/ 761 w 1698"/>
                  <a:gd name="T73" fmla="*/ 718 h 1496"/>
                  <a:gd name="T74" fmla="*/ 775 w 1698"/>
                  <a:gd name="T75" fmla="*/ 710 h 1496"/>
                  <a:gd name="T76" fmla="*/ 781 w 1698"/>
                  <a:gd name="T77" fmla="*/ 707 h 1496"/>
                  <a:gd name="T78" fmla="*/ 800 w 1698"/>
                  <a:gd name="T79" fmla="*/ 697 h 1496"/>
                  <a:gd name="T80" fmla="*/ 816 w 1698"/>
                  <a:gd name="T81" fmla="*/ 688 h 1496"/>
                  <a:gd name="T82" fmla="*/ 835 w 1698"/>
                  <a:gd name="T83" fmla="*/ 680 h 1496"/>
                  <a:gd name="T84" fmla="*/ 853 w 1698"/>
                  <a:gd name="T85" fmla="*/ 673 h 1496"/>
                  <a:gd name="T86" fmla="*/ 872 w 1698"/>
                  <a:gd name="T87" fmla="*/ 668 h 1496"/>
                  <a:gd name="T88" fmla="*/ 923 w 1698"/>
                  <a:gd name="T89" fmla="*/ 656 h 1496"/>
                  <a:gd name="T90" fmla="*/ 1014 w 1698"/>
                  <a:gd name="T91" fmla="*/ 653 h 1496"/>
                  <a:gd name="T92" fmla="*/ 1156 w 1698"/>
                  <a:gd name="T93" fmla="*/ 690 h 1496"/>
                  <a:gd name="T94" fmla="*/ 1220 w 1698"/>
                  <a:gd name="T95" fmla="*/ 805 h 1496"/>
                  <a:gd name="T96" fmla="*/ 1208 w 1698"/>
                  <a:gd name="T97" fmla="*/ 985 h 1496"/>
                  <a:gd name="T98" fmla="*/ 1089 w 1698"/>
                  <a:gd name="T99" fmla="*/ 1170 h 1496"/>
                  <a:gd name="T100" fmla="*/ 907 w 1698"/>
                  <a:gd name="T101" fmla="*/ 1301 h 1496"/>
                  <a:gd name="T102" fmla="*/ 703 w 1698"/>
                  <a:gd name="T103" fmla="*/ 1357 h 1496"/>
                  <a:gd name="T104" fmla="*/ 488 w 1698"/>
                  <a:gd name="T105" fmla="*/ 1341 h 1496"/>
                  <a:gd name="T106" fmla="*/ 331 w 1698"/>
                  <a:gd name="T107" fmla="*/ 1284 h 1496"/>
                  <a:gd name="T108" fmla="*/ 196 w 1698"/>
                  <a:gd name="T109" fmla="*/ 1186 h 1496"/>
                  <a:gd name="T110" fmla="*/ 92 w 1698"/>
                  <a:gd name="T111" fmla="*/ 1056 h 1496"/>
                  <a:gd name="T112" fmla="*/ 23 w 1698"/>
                  <a:gd name="T113" fmla="*/ 901 h 1496"/>
                  <a:gd name="T114" fmla="*/ 0 w 1698"/>
                  <a:gd name="T115" fmla="*/ 729 h 1496"/>
                  <a:gd name="T116" fmla="*/ 42 w 1698"/>
                  <a:gd name="T117" fmla="*/ 503 h 1496"/>
                  <a:gd name="T118" fmla="*/ 79 w 1698"/>
                  <a:gd name="T119" fmla="*/ 432 h 1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98" h="1496">
                    <a:moveTo>
                      <a:pt x="100" y="398"/>
                    </a:moveTo>
                    <a:lnTo>
                      <a:pt x="110" y="382"/>
                    </a:lnTo>
                    <a:lnTo>
                      <a:pt x="122" y="366"/>
                    </a:lnTo>
                    <a:lnTo>
                      <a:pt x="133" y="349"/>
                    </a:lnTo>
                    <a:lnTo>
                      <a:pt x="145" y="333"/>
                    </a:lnTo>
                    <a:lnTo>
                      <a:pt x="152" y="326"/>
                    </a:lnTo>
                    <a:lnTo>
                      <a:pt x="158" y="318"/>
                    </a:lnTo>
                    <a:lnTo>
                      <a:pt x="170" y="303"/>
                    </a:lnTo>
                    <a:lnTo>
                      <a:pt x="183" y="288"/>
                    </a:lnTo>
                    <a:lnTo>
                      <a:pt x="197" y="274"/>
                    </a:lnTo>
                    <a:lnTo>
                      <a:pt x="211" y="259"/>
                    </a:lnTo>
                    <a:lnTo>
                      <a:pt x="218" y="252"/>
                    </a:lnTo>
                    <a:lnTo>
                      <a:pt x="225" y="246"/>
                    </a:lnTo>
                    <a:lnTo>
                      <a:pt x="225" y="245"/>
                    </a:lnTo>
                    <a:lnTo>
                      <a:pt x="225" y="245"/>
                    </a:lnTo>
                    <a:lnTo>
                      <a:pt x="225" y="245"/>
                    </a:lnTo>
                    <a:lnTo>
                      <a:pt x="225" y="245"/>
                    </a:lnTo>
                    <a:lnTo>
                      <a:pt x="255" y="217"/>
                    </a:lnTo>
                    <a:lnTo>
                      <a:pt x="286" y="191"/>
                    </a:lnTo>
                    <a:lnTo>
                      <a:pt x="319" y="167"/>
                    </a:lnTo>
                    <a:lnTo>
                      <a:pt x="352" y="143"/>
                    </a:lnTo>
                    <a:lnTo>
                      <a:pt x="387" y="121"/>
                    </a:lnTo>
                    <a:lnTo>
                      <a:pt x="423" y="102"/>
                    </a:lnTo>
                    <a:lnTo>
                      <a:pt x="460" y="83"/>
                    </a:lnTo>
                    <a:lnTo>
                      <a:pt x="498" y="66"/>
                    </a:lnTo>
                    <a:lnTo>
                      <a:pt x="536" y="51"/>
                    </a:lnTo>
                    <a:lnTo>
                      <a:pt x="576" y="38"/>
                    </a:lnTo>
                    <a:lnTo>
                      <a:pt x="616" y="27"/>
                    </a:lnTo>
                    <a:lnTo>
                      <a:pt x="658" y="17"/>
                    </a:lnTo>
                    <a:lnTo>
                      <a:pt x="700" y="10"/>
                    </a:lnTo>
                    <a:lnTo>
                      <a:pt x="743" y="5"/>
                    </a:lnTo>
                    <a:lnTo>
                      <a:pt x="785" y="1"/>
                    </a:lnTo>
                    <a:lnTo>
                      <a:pt x="829" y="0"/>
                    </a:lnTo>
                    <a:lnTo>
                      <a:pt x="875" y="1"/>
                    </a:lnTo>
                    <a:lnTo>
                      <a:pt x="919" y="5"/>
                    </a:lnTo>
                    <a:lnTo>
                      <a:pt x="961" y="10"/>
                    </a:lnTo>
                    <a:lnTo>
                      <a:pt x="1004" y="18"/>
                    </a:lnTo>
                    <a:lnTo>
                      <a:pt x="1047" y="28"/>
                    </a:lnTo>
                    <a:lnTo>
                      <a:pt x="1088" y="39"/>
                    </a:lnTo>
                    <a:lnTo>
                      <a:pt x="1128" y="53"/>
                    </a:lnTo>
                    <a:lnTo>
                      <a:pt x="1168" y="68"/>
                    </a:lnTo>
                    <a:lnTo>
                      <a:pt x="1206" y="86"/>
                    </a:lnTo>
                    <a:lnTo>
                      <a:pt x="1244" y="105"/>
                    </a:lnTo>
                    <a:lnTo>
                      <a:pt x="1280" y="126"/>
                    </a:lnTo>
                    <a:lnTo>
                      <a:pt x="1316" y="149"/>
                    </a:lnTo>
                    <a:lnTo>
                      <a:pt x="1349" y="173"/>
                    </a:lnTo>
                    <a:lnTo>
                      <a:pt x="1382" y="199"/>
                    </a:lnTo>
                    <a:lnTo>
                      <a:pt x="1414" y="226"/>
                    </a:lnTo>
                    <a:lnTo>
                      <a:pt x="1444" y="254"/>
                    </a:lnTo>
                    <a:lnTo>
                      <a:pt x="1473" y="285"/>
                    </a:lnTo>
                    <a:lnTo>
                      <a:pt x="1500" y="317"/>
                    </a:lnTo>
                    <a:lnTo>
                      <a:pt x="1525" y="349"/>
                    </a:lnTo>
                    <a:lnTo>
                      <a:pt x="1550" y="383"/>
                    </a:lnTo>
                    <a:lnTo>
                      <a:pt x="1573" y="419"/>
                    </a:lnTo>
                    <a:lnTo>
                      <a:pt x="1594" y="455"/>
                    </a:lnTo>
                    <a:lnTo>
                      <a:pt x="1612" y="493"/>
                    </a:lnTo>
                    <a:lnTo>
                      <a:pt x="1631" y="531"/>
                    </a:lnTo>
                    <a:lnTo>
                      <a:pt x="1646" y="570"/>
                    </a:lnTo>
                    <a:lnTo>
                      <a:pt x="1660" y="611"/>
                    </a:lnTo>
                    <a:lnTo>
                      <a:pt x="1671" y="651"/>
                    </a:lnTo>
                    <a:lnTo>
                      <a:pt x="1681" y="694"/>
                    </a:lnTo>
                    <a:lnTo>
                      <a:pt x="1689" y="737"/>
                    </a:lnTo>
                    <a:lnTo>
                      <a:pt x="1695" y="780"/>
                    </a:lnTo>
                    <a:lnTo>
                      <a:pt x="1697" y="824"/>
                    </a:lnTo>
                    <a:lnTo>
                      <a:pt x="1698" y="869"/>
                    </a:lnTo>
                    <a:lnTo>
                      <a:pt x="1698" y="892"/>
                    </a:lnTo>
                    <a:lnTo>
                      <a:pt x="1697" y="915"/>
                    </a:lnTo>
                    <a:lnTo>
                      <a:pt x="1696" y="937"/>
                    </a:lnTo>
                    <a:lnTo>
                      <a:pt x="1693" y="960"/>
                    </a:lnTo>
                    <a:lnTo>
                      <a:pt x="1691" y="982"/>
                    </a:lnTo>
                    <a:lnTo>
                      <a:pt x="1688" y="1004"/>
                    </a:lnTo>
                    <a:lnTo>
                      <a:pt x="1684" y="1026"/>
                    </a:lnTo>
                    <a:lnTo>
                      <a:pt x="1679" y="1048"/>
                    </a:lnTo>
                    <a:lnTo>
                      <a:pt x="1669" y="1092"/>
                    </a:lnTo>
                    <a:lnTo>
                      <a:pt x="1657" y="1134"/>
                    </a:lnTo>
                    <a:lnTo>
                      <a:pt x="1642" y="1176"/>
                    </a:lnTo>
                    <a:lnTo>
                      <a:pt x="1626" y="1216"/>
                    </a:lnTo>
                    <a:lnTo>
                      <a:pt x="1608" y="1255"/>
                    </a:lnTo>
                    <a:lnTo>
                      <a:pt x="1588" y="1294"/>
                    </a:lnTo>
                    <a:lnTo>
                      <a:pt x="1566" y="1331"/>
                    </a:lnTo>
                    <a:lnTo>
                      <a:pt x="1542" y="1367"/>
                    </a:lnTo>
                    <a:lnTo>
                      <a:pt x="1516" y="1401"/>
                    </a:lnTo>
                    <a:lnTo>
                      <a:pt x="1490" y="1434"/>
                    </a:lnTo>
                    <a:lnTo>
                      <a:pt x="1461" y="1466"/>
                    </a:lnTo>
                    <a:lnTo>
                      <a:pt x="1430" y="1496"/>
                    </a:lnTo>
                    <a:lnTo>
                      <a:pt x="1449" y="1474"/>
                    </a:lnTo>
                    <a:lnTo>
                      <a:pt x="1468" y="1452"/>
                    </a:lnTo>
                    <a:lnTo>
                      <a:pt x="1484" y="1429"/>
                    </a:lnTo>
                    <a:lnTo>
                      <a:pt x="1500" y="1405"/>
                    </a:lnTo>
                    <a:lnTo>
                      <a:pt x="1515" y="1380"/>
                    </a:lnTo>
                    <a:lnTo>
                      <a:pt x="1528" y="1355"/>
                    </a:lnTo>
                    <a:lnTo>
                      <a:pt x="1540" y="1328"/>
                    </a:lnTo>
                    <a:lnTo>
                      <a:pt x="1552" y="1302"/>
                    </a:lnTo>
                    <a:lnTo>
                      <a:pt x="1562" y="1275"/>
                    </a:lnTo>
                    <a:lnTo>
                      <a:pt x="1571" y="1246"/>
                    </a:lnTo>
                    <a:lnTo>
                      <a:pt x="1579" y="1218"/>
                    </a:lnTo>
                    <a:lnTo>
                      <a:pt x="1584" y="1189"/>
                    </a:lnTo>
                    <a:lnTo>
                      <a:pt x="1590" y="1159"/>
                    </a:lnTo>
                    <a:lnTo>
                      <a:pt x="1594" y="1129"/>
                    </a:lnTo>
                    <a:lnTo>
                      <a:pt x="1596" y="1099"/>
                    </a:lnTo>
                    <a:lnTo>
                      <a:pt x="1596" y="1069"/>
                    </a:lnTo>
                    <a:lnTo>
                      <a:pt x="1596" y="1039"/>
                    </a:lnTo>
                    <a:lnTo>
                      <a:pt x="1594" y="1010"/>
                    </a:lnTo>
                    <a:lnTo>
                      <a:pt x="1590" y="981"/>
                    </a:lnTo>
                    <a:lnTo>
                      <a:pt x="1586" y="953"/>
                    </a:lnTo>
                    <a:lnTo>
                      <a:pt x="1580" y="926"/>
                    </a:lnTo>
                    <a:lnTo>
                      <a:pt x="1573" y="898"/>
                    </a:lnTo>
                    <a:lnTo>
                      <a:pt x="1565" y="871"/>
                    </a:lnTo>
                    <a:lnTo>
                      <a:pt x="1556" y="845"/>
                    </a:lnTo>
                    <a:lnTo>
                      <a:pt x="1545" y="818"/>
                    </a:lnTo>
                    <a:lnTo>
                      <a:pt x="1534" y="794"/>
                    </a:lnTo>
                    <a:lnTo>
                      <a:pt x="1521" y="768"/>
                    </a:lnTo>
                    <a:lnTo>
                      <a:pt x="1507" y="745"/>
                    </a:lnTo>
                    <a:lnTo>
                      <a:pt x="1493" y="721"/>
                    </a:lnTo>
                    <a:lnTo>
                      <a:pt x="1477" y="699"/>
                    </a:lnTo>
                    <a:lnTo>
                      <a:pt x="1461" y="677"/>
                    </a:lnTo>
                    <a:lnTo>
                      <a:pt x="1443" y="655"/>
                    </a:lnTo>
                    <a:lnTo>
                      <a:pt x="1430" y="622"/>
                    </a:lnTo>
                    <a:lnTo>
                      <a:pt x="1417" y="590"/>
                    </a:lnTo>
                    <a:lnTo>
                      <a:pt x="1400" y="558"/>
                    </a:lnTo>
                    <a:lnTo>
                      <a:pt x="1382" y="528"/>
                    </a:lnTo>
                    <a:lnTo>
                      <a:pt x="1363" y="499"/>
                    </a:lnTo>
                    <a:lnTo>
                      <a:pt x="1342" y="470"/>
                    </a:lnTo>
                    <a:lnTo>
                      <a:pt x="1320" y="443"/>
                    </a:lnTo>
                    <a:lnTo>
                      <a:pt x="1296" y="418"/>
                    </a:lnTo>
                    <a:lnTo>
                      <a:pt x="1272" y="393"/>
                    </a:lnTo>
                    <a:lnTo>
                      <a:pt x="1245" y="370"/>
                    </a:lnTo>
                    <a:lnTo>
                      <a:pt x="1217" y="348"/>
                    </a:lnTo>
                    <a:lnTo>
                      <a:pt x="1188" y="327"/>
                    </a:lnTo>
                    <a:lnTo>
                      <a:pt x="1159" y="309"/>
                    </a:lnTo>
                    <a:lnTo>
                      <a:pt x="1128" y="293"/>
                    </a:lnTo>
                    <a:lnTo>
                      <a:pt x="1096" y="276"/>
                    </a:lnTo>
                    <a:lnTo>
                      <a:pt x="1063" y="263"/>
                    </a:lnTo>
                    <a:lnTo>
                      <a:pt x="1036" y="253"/>
                    </a:lnTo>
                    <a:lnTo>
                      <a:pt x="1008" y="244"/>
                    </a:lnTo>
                    <a:lnTo>
                      <a:pt x="979" y="237"/>
                    </a:lnTo>
                    <a:lnTo>
                      <a:pt x="950" y="231"/>
                    </a:lnTo>
                    <a:lnTo>
                      <a:pt x="921" y="226"/>
                    </a:lnTo>
                    <a:lnTo>
                      <a:pt x="891" y="222"/>
                    </a:lnTo>
                    <a:lnTo>
                      <a:pt x="861" y="221"/>
                    </a:lnTo>
                    <a:lnTo>
                      <a:pt x="829" y="220"/>
                    </a:lnTo>
                    <a:lnTo>
                      <a:pt x="795" y="221"/>
                    </a:lnTo>
                    <a:lnTo>
                      <a:pt x="761" y="223"/>
                    </a:lnTo>
                    <a:lnTo>
                      <a:pt x="728" y="228"/>
                    </a:lnTo>
                    <a:lnTo>
                      <a:pt x="694" y="234"/>
                    </a:lnTo>
                    <a:lnTo>
                      <a:pt x="662" y="242"/>
                    </a:lnTo>
                    <a:lnTo>
                      <a:pt x="630" y="251"/>
                    </a:lnTo>
                    <a:lnTo>
                      <a:pt x="599" y="261"/>
                    </a:lnTo>
                    <a:lnTo>
                      <a:pt x="569" y="274"/>
                    </a:lnTo>
                    <a:lnTo>
                      <a:pt x="539" y="288"/>
                    </a:lnTo>
                    <a:lnTo>
                      <a:pt x="510" y="303"/>
                    </a:lnTo>
                    <a:lnTo>
                      <a:pt x="482" y="320"/>
                    </a:lnTo>
                    <a:lnTo>
                      <a:pt x="455" y="338"/>
                    </a:lnTo>
                    <a:lnTo>
                      <a:pt x="430" y="357"/>
                    </a:lnTo>
                    <a:lnTo>
                      <a:pt x="404" y="378"/>
                    </a:lnTo>
                    <a:lnTo>
                      <a:pt x="380" y="400"/>
                    </a:lnTo>
                    <a:lnTo>
                      <a:pt x="358" y="422"/>
                    </a:lnTo>
                    <a:lnTo>
                      <a:pt x="357" y="423"/>
                    </a:lnTo>
                    <a:lnTo>
                      <a:pt x="357" y="423"/>
                    </a:lnTo>
                    <a:lnTo>
                      <a:pt x="342" y="438"/>
                    </a:lnTo>
                    <a:lnTo>
                      <a:pt x="328" y="455"/>
                    </a:lnTo>
                    <a:lnTo>
                      <a:pt x="315" y="472"/>
                    </a:lnTo>
                    <a:lnTo>
                      <a:pt x="303" y="489"/>
                    </a:lnTo>
                    <a:lnTo>
                      <a:pt x="287" y="514"/>
                    </a:lnTo>
                    <a:lnTo>
                      <a:pt x="275" y="540"/>
                    </a:lnTo>
                    <a:lnTo>
                      <a:pt x="263" y="567"/>
                    </a:lnTo>
                    <a:lnTo>
                      <a:pt x="253" y="595"/>
                    </a:lnTo>
                    <a:lnTo>
                      <a:pt x="246" y="622"/>
                    </a:lnTo>
                    <a:lnTo>
                      <a:pt x="240" y="651"/>
                    </a:lnTo>
                    <a:lnTo>
                      <a:pt x="237" y="681"/>
                    </a:lnTo>
                    <a:lnTo>
                      <a:pt x="235" y="713"/>
                    </a:lnTo>
                    <a:lnTo>
                      <a:pt x="237" y="731"/>
                    </a:lnTo>
                    <a:lnTo>
                      <a:pt x="238" y="750"/>
                    </a:lnTo>
                    <a:lnTo>
                      <a:pt x="240" y="768"/>
                    </a:lnTo>
                    <a:lnTo>
                      <a:pt x="242" y="787"/>
                    </a:lnTo>
                    <a:lnTo>
                      <a:pt x="246" y="804"/>
                    </a:lnTo>
                    <a:lnTo>
                      <a:pt x="250" y="823"/>
                    </a:lnTo>
                    <a:lnTo>
                      <a:pt x="256" y="839"/>
                    </a:lnTo>
                    <a:lnTo>
                      <a:pt x="262" y="856"/>
                    </a:lnTo>
                    <a:lnTo>
                      <a:pt x="269" y="872"/>
                    </a:lnTo>
                    <a:lnTo>
                      <a:pt x="276" y="889"/>
                    </a:lnTo>
                    <a:lnTo>
                      <a:pt x="284" y="905"/>
                    </a:lnTo>
                    <a:lnTo>
                      <a:pt x="293" y="920"/>
                    </a:lnTo>
                    <a:lnTo>
                      <a:pt x="303" y="935"/>
                    </a:lnTo>
                    <a:lnTo>
                      <a:pt x="313" y="950"/>
                    </a:lnTo>
                    <a:lnTo>
                      <a:pt x="323" y="964"/>
                    </a:lnTo>
                    <a:lnTo>
                      <a:pt x="335" y="978"/>
                    </a:lnTo>
                    <a:lnTo>
                      <a:pt x="352" y="996"/>
                    </a:lnTo>
                    <a:lnTo>
                      <a:pt x="371" y="1015"/>
                    </a:lnTo>
                    <a:lnTo>
                      <a:pt x="391" y="1031"/>
                    </a:lnTo>
                    <a:lnTo>
                      <a:pt x="411" y="1046"/>
                    </a:lnTo>
                    <a:lnTo>
                      <a:pt x="433" y="1061"/>
                    </a:lnTo>
                    <a:lnTo>
                      <a:pt x="457" y="1074"/>
                    </a:lnTo>
                    <a:lnTo>
                      <a:pt x="481" y="1084"/>
                    </a:lnTo>
                    <a:lnTo>
                      <a:pt x="505" y="1095"/>
                    </a:lnTo>
                    <a:lnTo>
                      <a:pt x="524" y="1100"/>
                    </a:lnTo>
                    <a:lnTo>
                      <a:pt x="543" y="1106"/>
                    </a:lnTo>
                    <a:lnTo>
                      <a:pt x="563" y="1110"/>
                    </a:lnTo>
                    <a:lnTo>
                      <a:pt x="584" y="1113"/>
                    </a:lnTo>
                    <a:lnTo>
                      <a:pt x="598" y="1115"/>
                    </a:lnTo>
                    <a:lnTo>
                      <a:pt x="612" y="1117"/>
                    </a:lnTo>
                    <a:lnTo>
                      <a:pt x="627" y="1117"/>
                    </a:lnTo>
                    <a:lnTo>
                      <a:pt x="641" y="1118"/>
                    </a:lnTo>
                    <a:lnTo>
                      <a:pt x="663" y="1117"/>
                    </a:lnTo>
                    <a:lnTo>
                      <a:pt x="684" y="1115"/>
                    </a:lnTo>
                    <a:lnTo>
                      <a:pt x="706" y="1112"/>
                    </a:lnTo>
                    <a:lnTo>
                      <a:pt x="726" y="1108"/>
                    </a:lnTo>
                    <a:lnTo>
                      <a:pt x="746" y="1104"/>
                    </a:lnTo>
                    <a:lnTo>
                      <a:pt x="767" y="1097"/>
                    </a:lnTo>
                    <a:lnTo>
                      <a:pt x="787" y="1090"/>
                    </a:lnTo>
                    <a:lnTo>
                      <a:pt x="805" y="1083"/>
                    </a:lnTo>
                    <a:lnTo>
                      <a:pt x="824" y="1074"/>
                    </a:lnTo>
                    <a:lnTo>
                      <a:pt x="842" y="1064"/>
                    </a:lnTo>
                    <a:lnTo>
                      <a:pt x="860" y="1053"/>
                    </a:lnTo>
                    <a:lnTo>
                      <a:pt x="877" y="1041"/>
                    </a:lnTo>
                    <a:lnTo>
                      <a:pt x="893" y="1030"/>
                    </a:lnTo>
                    <a:lnTo>
                      <a:pt x="908" y="1016"/>
                    </a:lnTo>
                    <a:lnTo>
                      <a:pt x="923" y="1002"/>
                    </a:lnTo>
                    <a:lnTo>
                      <a:pt x="937" y="988"/>
                    </a:lnTo>
                    <a:lnTo>
                      <a:pt x="945" y="980"/>
                    </a:lnTo>
                    <a:lnTo>
                      <a:pt x="953" y="972"/>
                    </a:lnTo>
                    <a:lnTo>
                      <a:pt x="960" y="963"/>
                    </a:lnTo>
                    <a:lnTo>
                      <a:pt x="966" y="953"/>
                    </a:lnTo>
                    <a:lnTo>
                      <a:pt x="966" y="953"/>
                    </a:lnTo>
                    <a:lnTo>
                      <a:pt x="967" y="952"/>
                    </a:lnTo>
                    <a:lnTo>
                      <a:pt x="968" y="950"/>
                    </a:lnTo>
                    <a:lnTo>
                      <a:pt x="970" y="949"/>
                    </a:lnTo>
                    <a:lnTo>
                      <a:pt x="971" y="946"/>
                    </a:lnTo>
                    <a:lnTo>
                      <a:pt x="972" y="945"/>
                    </a:lnTo>
                    <a:lnTo>
                      <a:pt x="972" y="943"/>
                    </a:lnTo>
                    <a:lnTo>
                      <a:pt x="973" y="942"/>
                    </a:lnTo>
                    <a:lnTo>
                      <a:pt x="974" y="940"/>
                    </a:lnTo>
                    <a:lnTo>
                      <a:pt x="974" y="938"/>
                    </a:lnTo>
                    <a:lnTo>
                      <a:pt x="975" y="936"/>
                    </a:lnTo>
                    <a:lnTo>
                      <a:pt x="977" y="934"/>
                    </a:lnTo>
                    <a:lnTo>
                      <a:pt x="978" y="931"/>
                    </a:lnTo>
                    <a:lnTo>
                      <a:pt x="979" y="929"/>
                    </a:lnTo>
                    <a:lnTo>
                      <a:pt x="979" y="928"/>
                    </a:lnTo>
                    <a:lnTo>
                      <a:pt x="979" y="928"/>
                    </a:lnTo>
                    <a:lnTo>
                      <a:pt x="980" y="926"/>
                    </a:lnTo>
                    <a:lnTo>
                      <a:pt x="981" y="923"/>
                    </a:lnTo>
                    <a:lnTo>
                      <a:pt x="981" y="921"/>
                    </a:lnTo>
                    <a:lnTo>
                      <a:pt x="982" y="919"/>
                    </a:lnTo>
                    <a:lnTo>
                      <a:pt x="983" y="916"/>
                    </a:lnTo>
                    <a:lnTo>
                      <a:pt x="985" y="913"/>
                    </a:lnTo>
                    <a:lnTo>
                      <a:pt x="986" y="907"/>
                    </a:lnTo>
                    <a:lnTo>
                      <a:pt x="987" y="901"/>
                    </a:lnTo>
                    <a:lnTo>
                      <a:pt x="988" y="897"/>
                    </a:lnTo>
                    <a:lnTo>
                      <a:pt x="989" y="892"/>
                    </a:lnTo>
                    <a:lnTo>
                      <a:pt x="989" y="886"/>
                    </a:lnTo>
                    <a:lnTo>
                      <a:pt x="990" y="880"/>
                    </a:lnTo>
                    <a:lnTo>
                      <a:pt x="990" y="878"/>
                    </a:lnTo>
                    <a:lnTo>
                      <a:pt x="990" y="876"/>
                    </a:lnTo>
                    <a:lnTo>
                      <a:pt x="990" y="872"/>
                    </a:lnTo>
                    <a:lnTo>
                      <a:pt x="990" y="869"/>
                    </a:lnTo>
                    <a:lnTo>
                      <a:pt x="989" y="853"/>
                    </a:lnTo>
                    <a:lnTo>
                      <a:pt x="987" y="837"/>
                    </a:lnTo>
                    <a:lnTo>
                      <a:pt x="983" y="821"/>
                    </a:lnTo>
                    <a:lnTo>
                      <a:pt x="978" y="806"/>
                    </a:lnTo>
                    <a:lnTo>
                      <a:pt x="971" y="793"/>
                    </a:lnTo>
                    <a:lnTo>
                      <a:pt x="963" y="779"/>
                    </a:lnTo>
                    <a:lnTo>
                      <a:pt x="953" y="767"/>
                    </a:lnTo>
                    <a:lnTo>
                      <a:pt x="943" y="756"/>
                    </a:lnTo>
                    <a:lnTo>
                      <a:pt x="931" y="745"/>
                    </a:lnTo>
                    <a:lnTo>
                      <a:pt x="920" y="736"/>
                    </a:lnTo>
                    <a:lnTo>
                      <a:pt x="906" y="728"/>
                    </a:lnTo>
                    <a:lnTo>
                      <a:pt x="892" y="721"/>
                    </a:lnTo>
                    <a:lnTo>
                      <a:pt x="877" y="715"/>
                    </a:lnTo>
                    <a:lnTo>
                      <a:pt x="862" y="712"/>
                    </a:lnTo>
                    <a:lnTo>
                      <a:pt x="846" y="709"/>
                    </a:lnTo>
                    <a:lnTo>
                      <a:pt x="829" y="708"/>
                    </a:lnTo>
                    <a:lnTo>
                      <a:pt x="816" y="709"/>
                    </a:lnTo>
                    <a:lnTo>
                      <a:pt x="802" y="710"/>
                    </a:lnTo>
                    <a:lnTo>
                      <a:pt x="788" y="714"/>
                    </a:lnTo>
                    <a:lnTo>
                      <a:pt x="774" y="718"/>
                    </a:lnTo>
                    <a:lnTo>
                      <a:pt x="762" y="723"/>
                    </a:lnTo>
                    <a:lnTo>
                      <a:pt x="750" y="729"/>
                    </a:lnTo>
                    <a:lnTo>
                      <a:pt x="738" y="737"/>
                    </a:lnTo>
                    <a:lnTo>
                      <a:pt x="728" y="745"/>
                    </a:lnTo>
                    <a:lnTo>
                      <a:pt x="728" y="745"/>
                    </a:lnTo>
                    <a:lnTo>
                      <a:pt x="731" y="740"/>
                    </a:lnTo>
                    <a:lnTo>
                      <a:pt x="736" y="737"/>
                    </a:lnTo>
                    <a:lnTo>
                      <a:pt x="739" y="735"/>
                    </a:lnTo>
                    <a:lnTo>
                      <a:pt x="741" y="732"/>
                    </a:lnTo>
                    <a:lnTo>
                      <a:pt x="747" y="729"/>
                    </a:lnTo>
                    <a:lnTo>
                      <a:pt x="752" y="725"/>
                    </a:lnTo>
                    <a:lnTo>
                      <a:pt x="753" y="724"/>
                    </a:lnTo>
                    <a:lnTo>
                      <a:pt x="753" y="724"/>
                    </a:lnTo>
                    <a:lnTo>
                      <a:pt x="754" y="724"/>
                    </a:lnTo>
                    <a:lnTo>
                      <a:pt x="754" y="723"/>
                    </a:lnTo>
                    <a:lnTo>
                      <a:pt x="756" y="722"/>
                    </a:lnTo>
                    <a:lnTo>
                      <a:pt x="759" y="721"/>
                    </a:lnTo>
                    <a:lnTo>
                      <a:pt x="760" y="720"/>
                    </a:lnTo>
                    <a:lnTo>
                      <a:pt x="760" y="720"/>
                    </a:lnTo>
                    <a:lnTo>
                      <a:pt x="761" y="720"/>
                    </a:lnTo>
                    <a:lnTo>
                      <a:pt x="761" y="718"/>
                    </a:lnTo>
                    <a:lnTo>
                      <a:pt x="762" y="718"/>
                    </a:lnTo>
                    <a:lnTo>
                      <a:pt x="762" y="718"/>
                    </a:lnTo>
                    <a:lnTo>
                      <a:pt x="765" y="717"/>
                    </a:lnTo>
                    <a:lnTo>
                      <a:pt x="767" y="715"/>
                    </a:lnTo>
                    <a:lnTo>
                      <a:pt x="769" y="714"/>
                    </a:lnTo>
                    <a:lnTo>
                      <a:pt x="770" y="713"/>
                    </a:lnTo>
                    <a:lnTo>
                      <a:pt x="773" y="712"/>
                    </a:lnTo>
                    <a:lnTo>
                      <a:pt x="775" y="710"/>
                    </a:lnTo>
                    <a:lnTo>
                      <a:pt x="776" y="709"/>
                    </a:lnTo>
                    <a:lnTo>
                      <a:pt x="777" y="709"/>
                    </a:lnTo>
                    <a:lnTo>
                      <a:pt x="777" y="709"/>
                    </a:lnTo>
                    <a:lnTo>
                      <a:pt x="777" y="708"/>
                    </a:lnTo>
                    <a:lnTo>
                      <a:pt x="778" y="708"/>
                    </a:lnTo>
                    <a:lnTo>
                      <a:pt x="780" y="708"/>
                    </a:lnTo>
                    <a:lnTo>
                      <a:pt x="781" y="707"/>
                    </a:lnTo>
                    <a:lnTo>
                      <a:pt x="781" y="707"/>
                    </a:lnTo>
                    <a:lnTo>
                      <a:pt x="783" y="706"/>
                    </a:lnTo>
                    <a:lnTo>
                      <a:pt x="785" y="703"/>
                    </a:lnTo>
                    <a:lnTo>
                      <a:pt x="785" y="703"/>
                    </a:lnTo>
                    <a:lnTo>
                      <a:pt x="787" y="703"/>
                    </a:lnTo>
                    <a:lnTo>
                      <a:pt x="790" y="701"/>
                    </a:lnTo>
                    <a:lnTo>
                      <a:pt x="795" y="699"/>
                    </a:lnTo>
                    <a:lnTo>
                      <a:pt x="797" y="698"/>
                    </a:lnTo>
                    <a:lnTo>
                      <a:pt x="800" y="697"/>
                    </a:lnTo>
                    <a:lnTo>
                      <a:pt x="803" y="695"/>
                    </a:lnTo>
                    <a:lnTo>
                      <a:pt x="805" y="693"/>
                    </a:lnTo>
                    <a:lnTo>
                      <a:pt x="806" y="693"/>
                    </a:lnTo>
                    <a:lnTo>
                      <a:pt x="807" y="693"/>
                    </a:lnTo>
                    <a:lnTo>
                      <a:pt x="811" y="691"/>
                    </a:lnTo>
                    <a:lnTo>
                      <a:pt x="814" y="690"/>
                    </a:lnTo>
                    <a:lnTo>
                      <a:pt x="814" y="690"/>
                    </a:lnTo>
                    <a:lnTo>
                      <a:pt x="816" y="688"/>
                    </a:lnTo>
                    <a:lnTo>
                      <a:pt x="818" y="687"/>
                    </a:lnTo>
                    <a:lnTo>
                      <a:pt x="820" y="686"/>
                    </a:lnTo>
                    <a:lnTo>
                      <a:pt x="822" y="686"/>
                    </a:lnTo>
                    <a:lnTo>
                      <a:pt x="825" y="685"/>
                    </a:lnTo>
                    <a:lnTo>
                      <a:pt x="827" y="684"/>
                    </a:lnTo>
                    <a:lnTo>
                      <a:pt x="829" y="683"/>
                    </a:lnTo>
                    <a:lnTo>
                      <a:pt x="832" y="681"/>
                    </a:lnTo>
                    <a:lnTo>
                      <a:pt x="835" y="680"/>
                    </a:lnTo>
                    <a:lnTo>
                      <a:pt x="836" y="679"/>
                    </a:lnTo>
                    <a:lnTo>
                      <a:pt x="839" y="679"/>
                    </a:lnTo>
                    <a:lnTo>
                      <a:pt x="841" y="678"/>
                    </a:lnTo>
                    <a:lnTo>
                      <a:pt x="843" y="677"/>
                    </a:lnTo>
                    <a:lnTo>
                      <a:pt x="846" y="677"/>
                    </a:lnTo>
                    <a:lnTo>
                      <a:pt x="848" y="676"/>
                    </a:lnTo>
                    <a:lnTo>
                      <a:pt x="850" y="675"/>
                    </a:lnTo>
                    <a:lnTo>
                      <a:pt x="853" y="673"/>
                    </a:lnTo>
                    <a:lnTo>
                      <a:pt x="855" y="673"/>
                    </a:lnTo>
                    <a:lnTo>
                      <a:pt x="857" y="672"/>
                    </a:lnTo>
                    <a:lnTo>
                      <a:pt x="862" y="671"/>
                    </a:lnTo>
                    <a:lnTo>
                      <a:pt x="866" y="669"/>
                    </a:lnTo>
                    <a:lnTo>
                      <a:pt x="868" y="669"/>
                    </a:lnTo>
                    <a:lnTo>
                      <a:pt x="868" y="669"/>
                    </a:lnTo>
                    <a:lnTo>
                      <a:pt x="870" y="668"/>
                    </a:lnTo>
                    <a:lnTo>
                      <a:pt x="872" y="668"/>
                    </a:lnTo>
                    <a:lnTo>
                      <a:pt x="875" y="668"/>
                    </a:lnTo>
                    <a:lnTo>
                      <a:pt x="876" y="666"/>
                    </a:lnTo>
                    <a:lnTo>
                      <a:pt x="880" y="665"/>
                    </a:lnTo>
                    <a:lnTo>
                      <a:pt x="885" y="664"/>
                    </a:lnTo>
                    <a:lnTo>
                      <a:pt x="888" y="663"/>
                    </a:lnTo>
                    <a:lnTo>
                      <a:pt x="892" y="662"/>
                    </a:lnTo>
                    <a:lnTo>
                      <a:pt x="908" y="659"/>
                    </a:lnTo>
                    <a:lnTo>
                      <a:pt x="923" y="656"/>
                    </a:lnTo>
                    <a:lnTo>
                      <a:pt x="939" y="654"/>
                    </a:lnTo>
                    <a:lnTo>
                      <a:pt x="955" y="653"/>
                    </a:lnTo>
                    <a:lnTo>
                      <a:pt x="964" y="653"/>
                    </a:lnTo>
                    <a:lnTo>
                      <a:pt x="973" y="651"/>
                    </a:lnTo>
                    <a:lnTo>
                      <a:pt x="979" y="651"/>
                    </a:lnTo>
                    <a:lnTo>
                      <a:pt x="985" y="651"/>
                    </a:lnTo>
                    <a:lnTo>
                      <a:pt x="1000" y="651"/>
                    </a:lnTo>
                    <a:lnTo>
                      <a:pt x="1014" y="653"/>
                    </a:lnTo>
                    <a:lnTo>
                      <a:pt x="1027" y="654"/>
                    </a:lnTo>
                    <a:lnTo>
                      <a:pt x="1041" y="656"/>
                    </a:lnTo>
                    <a:lnTo>
                      <a:pt x="1062" y="659"/>
                    </a:lnTo>
                    <a:lnTo>
                      <a:pt x="1082" y="663"/>
                    </a:lnTo>
                    <a:lnTo>
                      <a:pt x="1100" y="669"/>
                    </a:lnTo>
                    <a:lnTo>
                      <a:pt x="1120" y="675"/>
                    </a:lnTo>
                    <a:lnTo>
                      <a:pt x="1137" y="681"/>
                    </a:lnTo>
                    <a:lnTo>
                      <a:pt x="1156" y="690"/>
                    </a:lnTo>
                    <a:lnTo>
                      <a:pt x="1173" y="698"/>
                    </a:lnTo>
                    <a:lnTo>
                      <a:pt x="1191" y="708"/>
                    </a:lnTo>
                    <a:lnTo>
                      <a:pt x="1191" y="708"/>
                    </a:lnTo>
                    <a:lnTo>
                      <a:pt x="1199" y="727"/>
                    </a:lnTo>
                    <a:lnTo>
                      <a:pt x="1206" y="746"/>
                    </a:lnTo>
                    <a:lnTo>
                      <a:pt x="1212" y="765"/>
                    </a:lnTo>
                    <a:lnTo>
                      <a:pt x="1216" y="786"/>
                    </a:lnTo>
                    <a:lnTo>
                      <a:pt x="1220" y="805"/>
                    </a:lnTo>
                    <a:lnTo>
                      <a:pt x="1223" y="826"/>
                    </a:lnTo>
                    <a:lnTo>
                      <a:pt x="1224" y="848"/>
                    </a:lnTo>
                    <a:lnTo>
                      <a:pt x="1225" y="869"/>
                    </a:lnTo>
                    <a:lnTo>
                      <a:pt x="1224" y="893"/>
                    </a:lnTo>
                    <a:lnTo>
                      <a:pt x="1222" y="916"/>
                    </a:lnTo>
                    <a:lnTo>
                      <a:pt x="1219" y="940"/>
                    </a:lnTo>
                    <a:lnTo>
                      <a:pt x="1214" y="961"/>
                    </a:lnTo>
                    <a:lnTo>
                      <a:pt x="1208" y="985"/>
                    </a:lnTo>
                    <a:lnTo>
                      <a:pt x="1200" y="1005"/>
                    </a:lnTo>
                    <a:lnTo>
                      <a:pt x="1192" y="1026"/>
                    </a:lnTo>
                    <a:lnTo>
                      <a:pt x="1183" y="1047"/>
                    </a:lnTo>
                    <a:lnTo>
                      <a:pt x="1165" y="1074"/>
                    </a:lnTo>
                    <a:lnTo>
                      <a:pt x="1148" y="1100"/>
                    </a:lnTo>
                    <a:lnTo>
                      <a:pt x="1128" y="1125"/>
                    </a:lnTo>
                    <a:lnTo>
                      <a:pt x="1109" y="1149"/>
                    </a:lnTo>
                    <a:lnTo>
                      <a:pt x="1089" y="1170"/>
                    </a:lnTo>
                    <a:lnTo>
                      <a:pt x="1069" y="1189"/>
                    </a:lnTo>
                    <a:lnTo>
                      <a:pt x="1048" y="1208"/>
                    </a:lnTo>
                    <a:lnTo>
                      <a:pt x="1026" y="1226"/>
                    </a:lnTo>
                    <a:lnTo>
                      <a:pt x="1004" y="1243"/>
                    </a:lnTo>
                    <a:lnTo>
                      <a:pt x="981" y="1259"/>
                    </a:lnTo>
                    <a:lnTo>
                      <a:pt x="957" y="1274"/>
                    </a:lnTo>
                    <a:lnTo>
                      <a:pt x="933" y="1288"/>
                    </a:lnTo>
                    <a:lnTo>
                      <a:pt x="907" y="1301"/>
                    </a:lnTo>
                    <a:lnTo>
                      <a:pt x="880" y="1312"/>
                    </a:lnTo>
                    <a:lnTo>
                      <a:pt x="854" y="1323"/>
                    </a:lnTo>
                    <a:lnTo>
                      <a:pt x="827" y="1332"/>
                    </a:lnTo>
                    <a:lnTo>
                      <a:pt x="799" y="1340"/>
                    </a:lnTo>
                    <a:lnTo>
                      <a:pt x="770" y="1347"/>
                    </a:lnTo>
                    <a:lnTo>
                      <a:pt x="743" y="1353"/>
                    </a:lnTo>
                    <a:lnTo>
                      <a:pt x="712" y="1357"/>
                    </a:lnTo>
                    <a:lnTo>
                      <a:pt x="703" y="1357"/>
                    </a:lnTo>
                    <a:lnTo>
                      <a:pt x="675" y="1358"/>
                    </a:lnTo>
                    <a:lnTo>
                      <a:pt x="656" y="1358"/>
                    </a:lnTo>
                    <a:lnTo>
                      <a:pt x="633" y="1358"/>
                    </a:lnTo>
                    <a:lnTo>
                      <a:pt x="607" y="1357"/>
                    </a:lnTo>
                    <a:lnTo>
                      <a:pt x="580" y="1355"/>
                    </a:lnTo>
                    <a:lnTo>
                      <a:pt x="550" y="1351"/>
                    </a:lnTo>
                    <a:lnTo>
                      <a:pt x="520" y="1347"/>
                    </a:lnTo>
                    <a:lnTo>
                      <a:pt x="488" y="1341"/>
                    </a:lnTo>
                    <a:lnTo>
                      <a:pt x="457" y="1334"/>
                    </a:lnTo>
                    <a:lnTo>
                      <a:pt x="424" y="1325"/>
                    </a:lnTo>
                    <a:lnTo>
                      <a:pt x="393" y="1313"/>
                    </a:lnTo>
                    <a:lnTo>
                      <a:pt x="377" y="1306"/>
                    </a:lnTo>
                    <a:lnTo>
                      <a:pt x="362" y="1299"/>
                    </a:lnTo>
                    <a:lnTo>
                      <a:pt x="347" y="1292"/>
                    </a:lnTo>
                    <a:lnTo>
                      <a:pt x="331" y="1283"/>
                    </a:lnTo>
                    <a:lnTo>
                      <a:pt x="331" y="1284"/>
                    </a:lnTo>
                    <a:lnTo>
                      <a:pt x="313" y="1274"/>
                    </a:lnTo>
                    <a:lnTo>
                      <a:pt x="294" y="1264"/>
                    </a:lnTo>
                    <a:lnTo>
                      <a:pt x="277" y="1252"/>
                    </a:lnTo>
                    <a:lnTo>
                      <a:pt x="261" y="1240"/>
                    </a:lnTo>
                    <a:lnTo>
                      <a:pt x="243" y="1228"/>
                    </a:lnTo>
                    <a:lnTo>
                      <a:pt x="227" y="1214"/>
                    </a:lnTo>
                    <a:lnTo>
                      <a:pt x="211" y="1201"/>
                    </a:lnTo>
                    <a:lnTo>
                      <a:pt x="196" y="1186"/>
                    </a:lnTo>
                    <a:lnTo>
                      <a:pt x="181" y="1172"/>
                    </a:lnTo>
                    <a:lnTo>
                      <a:pt x="167" y="1157"/>
                    </a:lnTo>
                    <a:lnTo>
                      <a:pt x="153" y="1141"/>
                    </a:lnTo>
                    <a:lnTo>
                      <a:pt x="139" y="1125"/>
                    </a:lnTo>
                    <a:lnTo>
                      <a:pt x="126" y="1108"/>
                    </a:lnTo>
                    <a:lnTo>
                      <a:pt x="115" y="1091"/>
                    </a:lnTo>
                    <a:lnTo>
                      <a:pt x="103" y="1075"/>
                    </a:lnTo>
                    <a:lnTo>
                      <a:pt x="92" y="1056"/>
                    </a:lnTo>
                    <a:lnTo>
                      <a:pt x="81" y="1039"/>
                    </a:lnTo>
                    <a:lnTo>
                      <a:pt x="71" y="1021"/>
                    </a:lnTo>
                    <a:lnTo>
                      <a:pt x="62" y="1001"/>
                    </a:lnTo>
                    <a:lnTo>
                      <a:pt x="52" y="982"/>
                    </a:lnTo>
                    <a:lnTo>
                      <a:pt x="44" y="963"/>
                    </a:lnTo>
                    <a:lnTo>
                      <a:pt x="37" y="943"/>
                    </a:lnTo>
                    <a:lnTo>
                      <a:pt x="30" y="922"/>
                    </a:lnTo>
                    <a:lnTo>
                      <a:pt x="23" y="901"/>
                    </a:lnTo>
                    <a:lnTo>
                      <a:pt x="19" y="880"/>
                    </a:lnTo>
                    <a:lnTo>
                      <a:pt x="14" y="860"/>
                    </a:lnTo>
                    <a:lnTo>
                      <a:pt x="10" y="839"/>
                    </a:lnTo>
                    <a:lnTo>
                      <a:pt x="6" y="817"/>
                    </a:lnTo>
                    <a:lnTo>
                      <a:pt x="4" y="795"/>
                    </a:lnTo>
                    <a:lnTo>
                      <a:pt x="1" y="773"/>
                    </a:lnTo>
                    <a:lnTo>
                      <a:pt x="0" y="751"/>
                    </a:lnTo>
                    <a:lnTo>
                      <a:pt x="0" y="729"/>
                    </a:lnTo>
                    <a:lnTo>
                      <a:pt x="0" y="699"/>
                    </a:lnTo>
                    <a:lnTo>
                      <a:pt x="3" y="670"/>
                    </a:lnTo>
                    <a:lnTo>
                      <a:pt x="6" y="641"/>
                    </a:lnTo>
                    <a:lnTo>
                      <a:pt x="11" y="612"/>
                    </a:lnTo>
                    <a:lnTo>
                      <a:pt x="16" y="584"/>
                    </a:lnTo>
                    <a:lnTo>
                      <a:pt x="23" y="556"/>
                    </a:lnTo>
                    <a:lnTo>
                      <a:pt x="32" y="530"/>
                    </a:lnTo>
                    <a:lnTo>
                      <a:pt x="42" y="503"/>
                    </a:lnTo>
                    <a:lnTo>
                      <a:pt x="45" y="494"/>
                    </a:lnTo>
                    <a:lnTo>
                      <a:pt x="50" y="485"/>
                    </a:lnTo>
                    <a:lnTo>
                      <a:pt x="55" y="475"/>
                    </a:lnTo>
                    <a:lnTo>
                      <a:pt x="59" y="467"/>
                    </a:lnTo>
                    <a:lnTo>
                      <a:pt x="64" y="458"/>
                    </a:lnTo>
                    <a:lnTo>
                      <a:pt x="69" y="450"/>
                    </a:lnTo>
                    <a:lnTo>
                      <a:pt x="74" y="441"/>
                    </a:lnTo>
                    <a:lnTo>
                      <a:pt x="79" y="432"/>
                    </a:lnTo>
                    <a:lnTo>
                      <a:pt x="85" y="422"/>
                    </a:lnTo>
                    <a:lnTo>
                      <a:pt x="91" y="413"/>
                    </a:lnTo>
                    <a:lnTo>
                      <a:pt x="95" y="406"/>
                    </a:lnTo>
                    <a:lnTo>
                      <a:pt x="100" y="398"/>
                    </a:lnTo>
                    <a:close/>
                  </a:path>
                </a:pathLst>
              </a:custGeom>
              <a:solidFill>
                <a:srgbClr val="FBC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" name="Freeform 7"/>
              <p:cNvSpPr>
                <a:spLocks noEditPoints="1"/>
              </p:cNvSpPr>
              <p:nvPr/>
            </p:nvSpPr>
            <p:spPr bwMode="auto">
              <a:xfrm>
                <a:off x="609076" y="4250092"/>
                <a:ext cx="369887" cy="295275"/>
              </a:xfrm>
              <a:custGeom>
                <a:avLst/>
                <a:gdLst>
                  <a:gd name="T0" fmla="*/ 762 w 1635"/>
                  <a:gd name="T1" fmla="*/ 312 h 1302"/>
                  <a:gd name="T2" fmla="*/ 732 w 1635"/>
                  <a:gd name="T3" fmla="*/ 349 h 1302"/>
                  <a:gd name="T4" fmla="*/ 711 w 1635"/>
                  <a:gd name="T5" fmla="*/ 466 h 1302"/>
                  <a:gd name="T6" fmla="*/ 767 w 1635"/>
                  <a:gd name="T7" fmla="*/ 558 h 1302"/>
                  <a:gd name="T8" fmla="*/ 868 w 1635"/>
                  <a:gd name="T9" fmla="*/ 595 h 1302"/>
                  <a:gd name="T10" fmla="*/ 966 w 1635"/>
                  <a:gd name="T11" fmla="*/ 562 h 1302"/>
                  <a:gd name="T12" fmla="*/ 881 w 1635"/>
                  <a:gd name="T13" fmla="*/ 629 h 1302"/>
                  <a:gd name="T14" fmla="*/ 745 w 1635"/>
                  <a:gd name="T15" fmla="*/ 677 h 1302"/>
                  <a:gd name="T16" fmla="*/ 623 w 1635"/>
                  <a:gd name="T17" fmla="*/ 678 h 1302"/>
                  <a:gd name="T18" fmla="*/ 502 w 1635"/>
                  <a:gd name="T19" fmla="*/ 582 h 1302"/>
                  <a:gd name="T20" fmla="*/ 474 w 1635"/>
                  <a:gd name="T21" fmla="*/ 434 h 1302"/>
                  <a:gd name="T22" fmla="*/ 504 w 1635"/>
                  <a:gd name="T23" fmla="*/ 282 h 1302"/>
                  <a:gd name="T24" fmla="*/ 585 w 1635"/>
                  <a:gd name="T25" fmla="*/ 159 h 1302"/>
                  <a:gd name="T26" fmla="*/ 717 w 1635"/>
                  <a:gd name="T27" fmla="*/ 67 h 1302"/>
                  <a:gd name="T28" fmla="*/ 897 w 1635"/>
                  <a:gd name="T29" fmla="*/ 8 h 1302"/>
                  <a:gd name="T30" fmla="*/ 1035 w 1635"/>
                  <a:gd name="T31" fmla="*/ 0 h 1302"/>
                  <a:gd name="T32" fmla="*/ 1261 w 1635"/>
                  <a:gd name="T33" fmla="*/ 54 h 1302"/>
                  <a:gd name="T34" fmla="*/ 1457 w 1635"/>
                  <a:gd name="T35" fmla="*/ 193 h 1302"/>
                  <a:gd name="T36" fmla="*/ 1546 w 1635"/>
                  <a:gd name="T37" fmla="*/ 310 h 1302"/>
                  <a:gd name="T38" fmla="*/ 1619 w 1635"/>
                  <a:gd name="T39" fmla="*/ 491 h 1302"/>
                  <a:gd name="T40" fmla="*/ 1633 w 1635"/>
                  <a:gd name="T41" fmla="*/ 694 h 1302"/>
                  <a:gd name="T42" fmla="*/ 1579 w 1635"/>
                  <a:gd name="T43" fmla="*/ 893 h 1302"/>
                  <a:gd name="T44" fmla="*/ 1469 w 1635"/>
                  <a:gd name="T45" fmla="*/ 1061 h 1302"/>
                  <a:gd name="T46" fmla="*/ 1318 w 1635"/>
                  <a:gd name="T47" fmla="*/ 1178 h 1302"/>
                  <a:gd name="T48" fmla="*/ 1132 w 1635"/>
                  <a:gd name="T49" fmla="*/ 1261 h 1302"/>
                  <a:gd name="T50" fmla="*/ 892 w 1635"/>
                  <a:gd name="T51" fmla="*/ 1302 h 1302"/>
                  <a:gd name="T52" fmla="*/ 610 w 1635"/>
                  <a:gd name="T53" fmla="*/ 1264 h 1302"/>
                  <a:gd name="T54" fmla="*/ 348 w 1635"/>
                  <a:gd name="T55" fmla="*/ 1129 h 1302"/>
                  <a:gd name="T56" fmla="*/ 148 w 1635"/>
                  <a:gd name="T57" fmla="*/ 920 h 1302"/>
                  <a:gd name="T58" fmla="*/ 28 w 1635"/>
                  <a:gd name="T59" fmla="*/ 651 h 1302"/>
                  <a:gd name="T60" fmla="*/ 1 w 1635"/>
                  <a:gd name="T61" fmla="*/ 385 h 1302"/>
                  <a:gd name="T62" fmla="*/ 27 w 1635"/>
                  <a:gd name="T63" fmla="*/ 221 h 1302"/>
                  <a:gd name="T64" fmla="*/ 81 w 1635"/>
                  <a:gd name="T65" fmla="*/ 68 h 1302"/>
                  <a:gd name="T66" fmla="*/ 39 w 1635"/>
                  <a:gd name="T67" fmla="*/ 264 h 1302"/>
                  <a:gd name="T68" fmla="*/ 53 w 1635"/>
                  <a:gd name="T69" fmla="*/ 425 h 1302"/>
                  <a:gd name="T70" fmla="*/ 101 w 1635"/>
                  <a:gd name="T71" fmla="*/ 566 h 1302"/>
                  <a:gd name="T72" fmla="*/ 178 w 1635"/>
                  <a:gd name="T73" fmla="*/ 690 h 1302"/>
                  <a:gd name="T74" fmla="*/ 282 w 1635"/>
                  <a:gd name="T75" fmla="*/ 793 h 1302"/>
                  <a:gd name="T76" fmla="*/ 401 w 1635"/>
                  <a:gd name="T77" fmla="*/ 884 h 1302"/>
                  <a:gd name="T78" fmla="*/ 551 w 1635"/>
                  <a:gd name="T79" fmla="*/ 1000 h 1302"/>
                  <a:gd name="T80" fmla="*/ 746 w 1635"/>
                  <a:gd name="T81" fmla="*/ 1072 h 1302"/>
                  <a:gd name="T82" fmla="*/ 955 w 1635"/>
                  <a:gd name="T83" fmla="*/ 1077 h 1302"/>
                  <a:gd name="T84" fmla="*/ 1143 w 1635"/>
                  <a:gd name="T85" fmla="*/ 1023 h 1302"/>
                  <a:gd name="T86" fmla="*/ 1281 w 1635"/>
                  <a:gd name="T87" fmla="*/ 935 h 1302"/>
                  <a:gd name="T88" fmla="*/ 1379 w 1635"/>
                  <a:gd name="T89" fmla="*/ 817 h 1302"/>
                  <a:gd name="T90" fmla="*/ 1427 w 1635"/>
                  <a:gd name="T91" fmla="*/ 668 h 1302"/>
                  <a:gd name="T92" fmla="*/ 1416 w 1635"/>
                  <a:gd name="T93" fmla="*/ 518 h 1302"/>
                  <a:gd name="T94" fmla="*/ 1357 w 1635"/>
                  <a:gd name="T95" fmla="*/ 392 h 1302"/>
                  <a:gd name="T96" fmla="*/ 1251 w 1635"/>
                  <a:gd name="T97" fmla="*/ 286 h 1302"/>
                  <a:gd name="T98" fmla="*/ 1159 w 1635"/>
                  <a:gd name="T99" fmla="*/ 240 h 1302"/>
                  <a:gd name="T100" fmla="*/ 1039 w 1635"/>
                  <a:gd name="T101" fmla="*/ 216 h 1302"/>
                  <a:gd name="T102" fmla="*/ 962 w 1635"/>
                  <a:gd name="T103" fmla="*/ 221 h 1302"/>
                  <a:gd name="T104" fmla="*/ 914 w 1635"/>
                  <a:gd name="T105" fmla="*/ 233 h 1302"/>
                  <a:gd name="T106" fmla="*/ 896 w 1635"/>
                  <a:gd name="T107" fmla="*/ 237 h 1302"/>
                  <a:gd name="T108" fmla="*/ 880 w 1635"/>
                  <a:gd name="T109" fmla="*/ 243 h 1302"/>
                  <a:gd name="T110" fmla="*/ 864 w 1635"/>
                  <a:gd name="T111" fmla="*/ 250 h 1302"/>
                  <a:gd name="T112" fmla="*/ 850 w 1635"/>
                  <a:gd name="T113" fmla="*/ 256 h 1302"/>
                  <a:gd name="T114" fmla="*/ 834 w 1635"/>
                  <a:gd name="T115" fmla="*/ 264 h 1302"/>
                  <a:gd name="T116" fmla="*/ 820 w 1635"/>
                  <a:gd name="T117" fmla="*/ 272 h 1302"/>
                  <a:gd name="T118" fmla="*/ 814 w 1635"/>
                  <a:gd name="T119" fmla="*/ 275 h 1302"/>
                  <a:gd name="T120" fmla="*/ 801 w 1635"/>
                  <a:gd name="T121" fmla="*/ 283 h 1302"/>
                  <a:gd name="T122" fmla="*/ 793 w 1635"/>
                  <a:gd name="T123" fmla="*/ 288 h 1302"/>
                  <a:gd name="T124" fmla="*/ 778 w 1635"/>
                  <a:gd name="T125" fmla="*/ 300 h 1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35" h="1302">
                    <a:moveTo>
                      <a:pt x="756" y="318"/>
                    </a:moveTo>
                    <a:lnTo>
                      <a:pt x="755" y="318"/>
                    </a:lnTo>
                    <a:lnTo>
                      <a:pt x="754" y="319"/>
                    </a:lnTo>
                    <a:lnTo>
                      <a:pt x="755" y="319"/>
                    </a:lnTo>
                    <a:lnTo>
                      <a:pt x="756" y="318"/>
                    </a:lnTo>
                    <a:close/>
                    <a:moveTo>
                      <a:pt x="760" y="315"/>
                    </a:moveTo>
                    <a:lnTo>
                      <a:pt x="762" y="312"/>
                    </a:lnTo>
                    <a:lnTo>
                      <a:pt x="765" y="310"/>
                    </a:lnTo>
                    <a:lnTo>
                      <a:pt x="762" y="312"/>
                    </a:lnTo>
                    <a:lnTo>
                      <a:pt x="760" y="315"/>
                    </a:lnTo>
                    <a:close/>
                    <a:moveTo>
                      <a:pt x="767" y="310"/>
                    </a:moveTo>
                    <a:lnTo>
                      <a:pt x="754" y="322"/>
                    </a:lnTo>
                    <a:lnTo>
                      <a:pt x="742" y="334"/>
                    </a:lnTo>
                    <a:lnTo>
                      <a:pt x="732" y="349"/>
                    </a:lnTo>
                    <a:lnTo>
                      <a:pt x="724" y="364"/>
                    </a:lnTo>
                    <a:lnTo>
                      <a:pt x="717" y="381"/>
                    </a:lnTo>
                    <a:lnTo>
                      <a:pt x="712" y="398"/>
                    </a:lnTo>
                    <a:lnTo>
                      <a:pt x="709" y="415"/>
                    </a:lnTo>
                    <a:lnTo>
                      <a:pt x="707" y="434"/>
                    </a:lnTo>
                    <a:lnTo>
                      <a:pt x="709" y="450"/>
                    </a:lnTo>
                    <a:lnTo>
                      <a:pt x="711" y="466"/>
                    </a:lnTo>
                    <a:lnTo>
                      <a:pt x="716" y="481"/>
                    </a:lnTo>
                    <a:lnTo>
                      <a:pt x="720" y="496"/>
                    </a:lnTo>
                    <a:lnTo>
                      <a:pt x="727" y="510"/>
                    </a:lnTo>
                    <a:lnTo>
                      <a:pt x="735" y="524"/>
                    </a:lnTo>
                    <a:lnTo>
                      <a:pt x="745" y="536"/>
                    </a:lnTo>
                    <a:lnTo>
                      <a:pt x="755" y="547"/>
                    </a:lnTo>
                    <a:lnTo>
                      <a:pt x="767" y="558"/>
                    </a:lnTo>
                    <a:lnTo>
                      <a:pt x="779" y="567"/>
                    </a:lnTo>
                    <a:lnTo>
                      <a:pt x="792" y="575"/>
                    </a:lnTo>
                    <a:lnTo>
                      <a:pt x="806" y="582"/>
                    </a:lnTo>
                    <a:lnTo>
                      <a:pt x="821" y="588"/>
                    </a:lnTo>
                    <a:lnTo>
                      <a:pt x="836" y="591"/>
                    </a:lnTo>
                    <a:lnTo>
                      <a:pt x="852" y="594"/>
                    </a:lnTo>
                    <a:lnTo>
                      <a:pt x="868" y="595"/>
                    </a:lnTo>
                    <a:lnTo>
                      <a:pt x="883" y="594"/>
                    </a:lnTo>
                    <a:lnTo>
                      <a:pt x="899" y="591"/>
                    </a:lnTo>
                    <a:lnTo>
                      <a:pt x="914" y="588"/>
                    </a:lnTo>
                    <a:lnTo>
                      <a:pt x="927" y="583"/>
                    </a:lnTo>
                    <a:lnTo>
                      <a:pt x="940" y="577"/>
                    </a:lnTo>
                    <a:lnTo>
                      <a:pt x="953" y="570"/>
                    </a:lnTo>
                    <a:lnTo>
                      <a:pt x="966" y="562"/>
                    </a:lnTo>
                    <a:lnTo>
                      <a:pt x="976" y="553"/>
                    </a:lnTo>
                    <a:lnTo>
                      <a:pt x="962" y="567"/>
                    </a:lnTo>
                    <a:lnTo>
                      <a:pt x="947" y="581"/>
                    </a:lnTo>
                    <a:lnTo>
                      <a:pt x="932" y="595"/>
                    </a:lnTo>
                    <a:lnTo>
                      <a:pt x="916" y="606"/>
                    </a:lnTo>
                    <a:lnTo>
                      <a:pt x="899" y="618"/>
                    </a:lnTo>
                    <a:lnTo>
                      <a:pt x="881" y="629"/>
                    </a:lnTo>
                    <a:lnTo>
                      <a:pt x="863" y="639"/>
                    </a:lnTo>
                    <a:lnTo>
                      <a:pt x="844" y="648"/>
                    </a:lnTo>
                    <a:lnTo>
                      <a:pt x="826" y="655"/>
                    </a:lnTo>
                    <a:lnTo>
                      <a:pt x="806" y="662"/>
                    </a:lnTo>
                    <a:lnTo>
                      <a:pt x="785" y="669"/>
                    </a:lnTo>
                    <a:lnTo>
                      <a:pt x="765" y="673"/>
                    </a:lnTo>
                    <a:lnTo>
                      <a:pt x="745" y="677"/>
                    </a:lnTo>
                    <a:lnTo>
                      <a:pt x="723" y="680"/>
                    </a:lnTo>
                    <a:lnTo>
                      <a:pt x="702" y="682"/>
                    </a:lnTo>
                    <a:lnTo>
                      <a:pt x="680" y="683"/>
                    </a:lnTo>
                    <a:lnTo>
                      <a:pt x="666" y="682"/>
                    </a:lnTo>
                    <a:lnTo>
                      <a:pt x="651" y="682"/>
                    </a:lnTo>
                    <a:lnTo>
                      <a:pt x="637" y="680"/>
                    </a:lnTo>
                    <a:lnTo>
                      <a:pt x="623" y="678"/>
                    </a:lnTo>
                    <a:lnTo>
                      <a:pt x="602" y="675"/>
                    </a:lnTo>
                    <a:lnTo>
                      <a:pt x="582" y="671"/>
                    </a:lnTo>
                    <a:lnTo>
                      <a:pt x="563" y="665"/>
                    </a:lnTo>
                    <a:lnTo>
                      <a:pt x="544" y="660"/>
                    </a:lnTo>
                    <a:lnTo>
                      <a:pt x="528" y="634"/>
                    </a:lnTo>
                    <a:lnTo>
                      <a:pt x="514" y="609"/>
                    </a:lnTo>
                    <a:lnTo>
                      <a:pt x="502" y="582"/>
                    </a:lnTo>
                    <a:lnTo>
                      <a:pt x="492" y="554"/>
                    </a:lnTo>
                    <a:lnTo>
                      <a:pt x="484" y="525"/>
                    </a:lnTo>
                    <a:lnTo>
                      <a:pt x="478" y="495"/>
                    </a:lnTo>
                    <a:lnTo>
                      <a:pt x="476" y="480"/>
                    </a:lnTo>
                    <a:lnTo>
                      <a:pt x="475" y="465"/>
                    </a:lnTo>
                    <a:lnTo>
                      <a:pt x="474" y="450"/>
                    </a:lnTo>
                    <a:lnTo>
                      <a:pt x="474" y="434"/>
                    </a:lnTo>
                    <a:lnTo>
                      <a:pt x="475" y="411"/>
                    </a:lnTo>
                    <a:lnTo>
                      <a:pt x="476" y="389"/>
                    </a:lnTo>
                    <a:lnTo>
                      <a:pt x="479" y="367"/>
                    </a:lnTo>
                    <a:lnTo>
                      <a:pt x="484" y="345"/>
                    </a:lnTo>
                    <a:lnTo>
                      <a:pt x="489" y="324"/>
                    </a:lnTo>
                    <a:lnTo>
                      <a:pt x="496" y="303"/>
                    </a:lnTo>
                    <a:lnTo>
                      <a:pt x="504" y="282"/>
                    </a:lnTo>
                    <a:lnTo>
                      <a:pt x="512" y="263"/>
                    </a:lnTo>
                    <a:lnTo>
                      <a:pt x="522" y="244"/>
                    </a:lnTo>
                    <a:lnTo>
                      <a:pt x="533" y="226"/>
                    </a:lnTo>
                    <a:lnTo>
                      <a:pt x="544" y="207"/>
                    </a:lnTo>
                    <a:lnTo>
                      <a:pt x="557" y="191"/>
                    </a:lnTo>
                    <a:lnTo>
                      <a:pt x="571" y="174"/>
                    </a:lnTo>
                    <a:lnTo>
                      <a:pt x="585" y="159"/>
                    </a:lnTo>
                    <a:lnTo>
                      <a:pt x="601" y="143"/>
                    </a:lnTo>
                    <a:lnTo>
                      <a:pt x="616" y="130"/>
                    </a:lnTo>
                    <a:lnTo>
                      <a:pt x="633" y="118"/>
                    </a:lnTo>
                    <a:lnTo>
                      <a:pt x="650" y="106"/>
                    </a:lnTo>
                    <a:lnTo>
                      <a:pt x="667" y="95"/>
                    </a:lnTo>
                    <a:lnTo>
                      <a:pt x="684" y="84"/>
                    </a:lnTo>
                    <a:lnTo>
                      <a:pt x="717" y="67"/>
                    </a:lnTo>
                    <a:lnTo>
                      <a:pt x="751" y="51"/>
                    </a:lnTo>
                    <a:lnTo>
                      <a:pt x="786" y="37"/>
                    </a:lnTo>
                    <a:lnTo>
                      <a:pt x="822" y="25"/>
                    </a:lnTo>
                    <a:lnTo>
                      <a:pt x="841" y="20"/>
                    </a:lnTo>
                    <a:lnTo>
                      <a:pt x="859" y="16"/>
                    </a:lnTo>
                    <a:lnTo>
                      <a:pt x="878" y="12"/>
                    </a:lnTo>
                    <a:lnTo>
                      <a:pt x="897" y="8"/>
                    </a:lnTo>
                    <a:lnTo>
                      <a:pt x="916" y="6"/>
                    </a:lnTo>
                    <a:lnTo>
                      <a:pt x="936" y="3"/>
                    </a:lnTo>
                    <a:lnTo>
                      <a:pt x="955" y="1"/>
                    </a:lnTo>
                    <a:lnTo>
                      <a:pt x="975" y="0"/>
                    </a:lnTo>
                    <a:lnTo>
                      <a:pt x="988" y="0"/>
                    </a:lnTo>
                    <a:lnTo>
                      <a:pt x="1002" y="0"/>
                    </a:lnTo>
                    <a:lnTo>
                      <a:pt x="1035" y="0"/>
                    </a:lnTo>
                    <a:lnTo>
                      <a:pt x="1070" y="3"/>
                    </a:lnTo>
                    <a:lnTo>
                      <a:pt x="1104" y="8"/>
                    </a:lnTo>
                    <a:lnTo>
                      <a:pt x="1136" y="14"/>
                    </a:lnTo>
                    <a:lnTo>
                      <a:pt x="1168" y="22"/>
                    </a:lnTo>
                    <a:lnTo>
                      <a:pt x="1200" y="31"/>
                    </a:lnTo>
                    <a:lnTo>
                      <a:pt x="1231" y="43"/>
                    </a:lnTo>
                    <a:lnTo>
                      <a:pt x="1261" y="54"/>
                    </a:lnTo>
                    <a:lnTo>
                      <a:pt x="1292" y="71"/>
                    </a:lnTo>
                    <a:lnTo>
                      <a:pt x="1322" y="87"/>
                    </a:lnTo>
                    <a:lnTo>
                      <a:pt x="1351" y="105"/>
                    </a:lnTo>
                    <a:lnTo>
                      <a:pt x="1379" y="125"/>
                    </a:lnTo>
                    <a:lnTo>
                      <a:pt x="1407" y="146"/>
                    </a:lnTo>
                    <a:lnTo>
                      <a:pt x="1432" y="169"/>
                    </a:lnTo>
                    <a:lnTo>
                      <a:pt x="1457" y="193"/>
                    </a:lnTo>
                    <a:lnTo>
                      <a:pt x="1480" y="218"/>
                    </a:lnTo>
                    <a:lnTo>
                      <a:pt x="1481" y="219"/>
                    </a:lnTo>
                    <a:lnTo>
                      <a:pt x="1482" y="220"/>
                    </a:lnTo>
                    <a:lnTo>
                      <a:pt x="1500" y="242"/>
                    </a:lnTo>
                    <a:lnTo>
                      <a:pt x="1516" y="264"/>
                    </a:lnTo>
                    <a:lnTo>
                      <a:pt x="1532" y="286"/>
                    </a:lnTo>
                    <a:lnTo>
                      <a:pt x="1546" y="310"/>
                    </a:lnTo>
                    <a:lnTo>
                      <a:pt x="1560" y="333"/>
                    </a:lnTo>
                    <a:lnTo>
                      <a:pt x="1573" y="359"/>
                    </a:lnTo>
                    <a:lnTo>
                      <a:pt x="1584" y="383"/>
                    </a:lnTo>
                    <a:lnTo>
                      <a:pt x="1595" y="410"/>
                    </a:lnTo>
                    <a:lnTo>
                      <a:pt x="1604" y="436"/>
                    </a:lnTo>
                    <a:lnTo>
                      <a:pt x="1612" y="463"/>
                    </a:lnTo>
                    <a:lnTo>
                      <a:pt x="1619" y="491"/>
                    </a:lnTo>
                    <a:lnTo>
                      <a:pt x="1625" y="518"/>
                    </a:lnTo>
                    <a:lnTo>
                      <a:pt x="1629" y="546"/>
                    </a:lnTo>
                    <a:lnTo>
                      <a:pt x="1633" y="575"/>
                    </a:lnTo>
                    <a:lnTo>
                      <a:pt x="1635" y="604"/>
                    </a:lnTo>
                    <a:lnTo>
                      <a:pt x="1635" y="634"/>
                    </a:lnTo>
                    <a:lnTo>
                      <a:pt x="1635" y="664"/>
                    </a:lnTo>
                    <a:lnTo>
                      <a:pt x="1633" y="694"/>
                    </a:lnTo>
                    <a:lnTo>
                      <a:pt x="1629" y="724"/>
                    </a:lnTo>
                    <a:lnTo>
                      <a:pt x="1623" y="754"/>
                    </a:lnTo>
                    <a:lnTo>
                      <a:pt x="1618" y="783"/>
                    </a:lnTo>
                    <a:lnTo>
                      <a:pt x="1610" y="811"/>
                    </a:lnTo>
                    <a:lnTo>
                      <a:pt x="1601" y="839"/>
                    </a:lnTo>
                    <a:lnTo>
                      <a:pt x="1591" y="867"/>
                    </a:lnTo>
                    <a:lnTo>
                      <a:pt x="1579" y="893"/>
                    </a:lnTo>
                    <a:lnTo>
                      <a:pt x="1567" y="920"/>
                    </a:lnTo>
                    <a:lnTo>
                      <a:pt x="1554" y="945"/>
                    </a:lnTo>
                    <a:lnTo>
                      <a:pt x="1539" y="970"/>
                    </a:lnTo>
                    <a:lnTo>
                      <a:pt x="1523" y="994"/>
                    </a:lnTo>
                    <a:lnTo>
                      <a:pt x="1507" y="1017"/>
                    </a:lnTo>
                    <a:lnTo>
                      <a:pt x="1488" y="1039"/>
                    </a:lnTo>
                    <a:lnTo>
                      <a:pt x="1469" y="1061"/>
                    </a:lnTo>
                    <a:lnTo>
                      <a:pt x="1469" y="1061"/>
                    </a:lnTo>
                    <a:lnTo>
                      <a:pt x="1469" y="1061"/>
                    </a:lnTo>
                    <a:lnTo>
                      <a:pt x="1441" y="1088"/>
                    </a:lnTo>
                    <a:lnTo>
                      <a:pt x="1412" y="1112"/>
                    </a:lnTo>
                    <a:lnTo>
                      <a:pt x="1381" y="1135"/>
                    </a:lnTo>
                    <a:lnTo>
                      <a:pt x="1350" y="1157"/>
                    </a:lnTo>
                    <a:lnTo>
                      <a:pt x="1318" y="1178"/>
                    </a:lnTo>
                    <a:lnTo>
                      <a:pt x="1284" y="1197"/>
                    </a:lnTo>
                    <a:lnTo>
                      <a:pt x="1249" y="1215"/>
                    </a:lnTo>
                    <a:lnTo>
                      <a:pt x="1215" y="1231"/>
                    </a:lnTo>
                    <a:lnTo>
                      <a:pt x="1215" y="1231"/>
                    </a:lnTo>
                    <a:lnTo>
                      <a:pt x="1214" y="1231"/>
                    </a:lnTo>
                    <a:lnTo>
                      <a:pt x="1174" y="1247"/>
                    </a:lnTo>
                    <a:lnTo>
                      <a:pt x="1132" y="1261"/>
                    </a:lnTo>
                    <a:lnTo>
                      <a:pt x="1091" y="1274"/>
                    </a:lnTo>
                    <a:lnTo>
                      <a:pt x="1048" y="1283"/>
                    </a:lnTo>
                    <a:lnTo>
                      <a:pt x="1004" y="1291"/>
                    </a:lnTo>
                    <a:lnTo>
                      <a:pt x="960" y="1297"/>
                    </a:lnTo>
                    <a:lnTo>
                      <a:pt x="937" y="1299"/>
                    </a:lnTo>
                    <a:lnTo>
                      <a:pt x="915" y="1301"/>
                    </a:lnTo>
                    <a:lnTo>
                      <a:pt x="892" y="1302"/>
                    </a:lnTo>
                    <a:lnTo>
                      <a:pt x="868" y="1302"/>
                    </a:lnTo>
                    <a:lnTo>
                      <a:pt x="824" y="1301"/>
                    </a:lnTo>
                    <a:lnTo>
                      <a:pt x="779" y="1298"/>
                    </a:lnTo>
                    <a:lnTo>
                      <a:pt x="736" y="1293"/>
                    </a:lnTo>
                    <a:lnTo>
                      <a:pt x="694" y="1284"/>
                    </a:lnTo>
                    <a:lnTo>
                      <a:pt x="652" y="1275"/>
                    </a:lnTo>
                    <a:lnTo>
                      <a:pt x="610" y="1264"/>
                    </a:lnTo>
                    <a:lnTo>
                      <a:pt x="570" y="1250"/>
                    </a:lnTo>
                    <a:lnTo>
                      <a:pt x="530" y="1234"/>
                    </a:lnTo>
                    <a:lnTo>
                      <a:pt x="492" y="1216"/>
                    </a:lnTo>
                    <a:lnTo>
                      <a:pt x="455" y="1198"/>
                    </a:lnTo>
                    <a:lnTo>
                      <a:pt x="418" y="1177"/>
                    </a:lnTo>
                    <a:lnTo>
                      <a:pt x="383" y="1154"/>
                    </a:lnTo>
                    <a:lnTo>
                      <a:pt x="348" y="1129"/>
                    </a:lnTo>
                    <a:lnTo>
                      <a:pt x="316" y="1104"/>
                    </a:lnTo>
                    <a:lnTo>
                      <a:pt x="285" y="1077"/>
                    </a:lnTo>
                    <a:lnTo>
                      <a:pt x="255" y="1048"/>
                    </a:lnTo>
                    <a:lnTo>
                      <a:pt x="226" y="1018"/>
                    </a:lnTo>
                    <a:lnTo>
                      <a:pt x="198" y="986"/>
                    </a:lnTo>
                    <a:lnTo>
                      <a:pt x="172" y="953"/>
                    </a:lnTo>
                    <a:lnTo>
                      <a:pt x="148" y="920"/>
                    </a:lnTo>
                    <a:lnTo>
                      <a:pt x="126" y="884"/>
                    </a:lnTo>
                    <a:lnTo>
                      <a:pt x="104" y="848"/>
                    </a:lnTo>
                    <a:lnTo>
                      <a:pt x="86" y="810"/>
                    </a:lnTo>
                    <a:lnTo>
                      <a:pt x="68" y="772"/>
                    </a:lnTo>
                    <a:lnTo>
                      <a:pt x="52" y="732"/>
                    </a:lnTo>
                    <a:lnTo>
                      <a:pt x="39" y="692"/>
                    </a:lnTo>
                    <a:lnTo>
                      <a:pt x="28" y="651"/>
                    </a:lnTo>
                    <a:lnTo>
                      <a:pt x="17" y="609"/>
                    </a:lnTo>
                    <a:lnTo>
                      <a:pt x="10" y="566"/>
                    </a:lnTo>
                    <a:lnTo>
                      <a:pt x="5" y="523"/>
                    </a:lnTo>
                    <a:lnTo>
                      <a:pt x="1" y="479"/>
                    </a:lnTo>
                    <a:lnTo>
                      <a:pt x="0" y="434"/>
                    </a:lnTo>
                    <a:lnTo>
                      <a:pt x="0" y="410"/>
                    </a:lnTo>
                    <a:lnTo>
                      <a:pt x="1" y="385"/>
                    </a:lnTo>
                    <a:lnTo>
                      <a:pt x="3" y="361"/>
                    </a:lnTo>
                    <a:lnTo>
                      <a:pt x="6" y="337"/>
                    </a:lnTo>
                    <a:lnTo>
                      <a:pt x="8" y="314"/>
                    </a:lnTo>
                    <a:lnTo>
                      <a:pt x="11" y="290"/>
                    </a:lnTo>
                    <a:lnTo>
                      <a:pt x="16" y="266"/>
                    </a:lnTo>
                    <a:lnTo>
                      <a:pt x="21" y="243"/>
                    </a:lnTo>
                    <a:lnTo>
                      <a:pt x="27" y="221"/>
                    </a:lnTo>
                    <a:lnTo>
                      <a:pt x="32" y="198"/>
                    </a:lnTo>
                    <a:lnTo>
                      <a:pt x="39" y="176"/>
                    </a:lnTo>
                    <a:lnTo>
                      <a:pt x="46" y="154"/>
                    </a:lnTo>
                    <a:lnTo>
                      <a:pt x="54" y="132"/>
                    </a:lnTo>
                    <a:lnTo>
                      <a:pt x="62" y="110"/>
                    </a:lnTo>
                    <a:lnTo>
                      <a:pt x="72" y="89"/>
                    </a:lnTo>
                    <a:lnTo>
                      <a:pt x="81" y="68"/>
                    </a:lnTo>
                    <a:lnTo>
                      <a:pt x="71" y="95"/>
                    </a:lnTo>
                    <a:lnTo>
                      <a:pt x="62" y="121"/>
                    </a:lnTo>
                    <a:lnTo>
                      <a:pt x="55" y="149"/>
                    </a:lnTo>
                    <a:lnTo>
                      <a:pt x="50" y="177"/>
                    </a:lnTo>
                    <a:lnTo>
                      <a:pt x="45" y="206"/>
                    </a:lnTo>
                    <a:lnTo>
                      <a:pt x="42" y="235"/>
                    </a:lnTo>
                    <a:lnTo>
                      <a:pt x="39" y="264"/>
                    </a:lnTo>
                    <a:lnTo>
                      <a:pt x="39" y="294"/>
                    </a:lnTo>
                    <a:lnTo>
                      <a:pt x="39" y="316"/>
                    </a:lnTo>
                    <a:lnTo>
                      <a:pt x="40" y="338"/>
                    </a:lnTo>
                    <a:lnTo>
                      <a:pt x="43" y="360"/>
                    </a:lnTo>
                    <a:lnTo>
                      <a:pt x="45" y="382"/>
                    </a:lnTo>
                    <a:lnTo>
                      <a:pt x="49" y="404"/>
                    </a:lnTo>
                    <a:lnTo>
                      <a:pt x="53" y="425"/>
                    </a:lnTo>
                    <a:lnTo>
                      <a:pt x="58" y="445"/>
                    </a:lnTo>
                    <a:lnTo>
                      <a:pt x="62" y="466"/>
                    </a:lnTo>
                    <a:lnTo>
                      <a:pt x="69" y="487"/>
                    </a:lnTo>
                    <a:lnTo>
                      <a:pt x="76" y="508"/>
                    </a:lnTo>
                    <a:lnTo>
                      <a:pt x="83" y="528"/>
                    </a:lnTo>
                    <a:lnTo>
                      <a:pt x="91" y="547"/>
                    </a:lnTo>
                    <a:lnTo>
                      <a:pt x="101" y="566"/>
                    </a:lnTo>
                    <a:lnTo>
                      <a:pt x="110" y="586"/>
                    </a:lnTo>
                    <a:lnTo>
                      <a:pt x="120" y="603"/>
                    </a:lnTo>
                    <a:lnTo>
                      <a:pt x="131" y="621"/>
                    </a:lnTo>
                    <a:lnTo>
                      <a:pt x="142" y="639"/>
                    </a:lnTo>
                    <a:lnTo>
                      <a:pt x="154" y="656"/>
                    </a:lnTo>
                    <a:lnTo>
                      <a:pt x="165" y="673"/>
                    </a:lnTo>
                    <a:lnTo>
                      <a:pt x="178" y="690"/>
                    </a:lnTo>
                    <a:lnTo>
                      <a:pt x="192" y="706"/>
                    </a:lnTo>
                    <a:lnTo>
                      <a:pt x="206" y="722"/>
                    </a:lnTo>
                    <a:lnTo>
                      <a:pt x="220" y="737"/>
                    </a:lnTo>
                    <a:lnTo>
                      <a:pt x="235" y="751"/>
                    </a:lnTo>
                    <a:lnTo>
                      <a:pt x="250" y="766"/>
                    </a:lnTo>
                    <a:lnTo>
                      <a:pt x="266" y="779"/>
                    </a:lnTo>
                    <a:lnTo>
                      <a:pt x="282" y="793"/>
                    </a:lnTo>
                    <a:lnTo>
                      <a:pt x="300" y="805"/>
                    </a:lnTo>
                    <a:lnTo>
                      <a:pt x="316" y="817"/>
                    </a:lnTo>
                    <a:lnTo>
                      <a:pt x="335" y="829"/>
                    </a:lnTo>
                    <a:lnTo>
                      <a:pt x="352" y="839"/>
                    </a:lnTo>
                    <a:lnTo>
                      <a:pt x="370" y="849"/>
                    </a:lnTo>
                    <a:lnTo>
                      <a:pt x="386" y="867"/>
                    </a:lnTo>
                    <a:lnTo>
                      <a:pt x="401" y="884"/>
                    </a:lnTo>
                    <a:lnTo>
                      <a:pt x="417" y="899"/>
                    </a:lnTo>
                    <a:lnTo>
                      <a:pt x="433" y="915"/>
                    </a:lnTo>
                    <a:lnTo>
                      <a:pt x="455" y="934"/>
                    </a:lnTo>
                    <a:lnTo>
                      <a:pt x="478" y="952"/>
                    </a:lnTo>
                    <a:lnTo>
                      <a:pt x="501" y="970"/>
                    </a:lnTo>
                    <a:lnTo>
                      <a:pt x="526" y="986"/>
                    </a:lnTo>
                    <a:lnTo>
                      <a:pt x="551" y="1000"/>
                    </a:lnTo>
                    <a:lnTo>
                      <a:pt x="577" y="1014"/>
                    </a:lnTo>
                    <a:lnTo>
                      <a:pt x="603" y="1026"/>
                    </a:lnTo>
                    <a:lnTo>
                      <a:pt x="631" y="1038"/>
                    </a:lnTo>
                    <a:lnTo>
                      <a:pt x="659" y="1048"/>
                    </a:lnTo>
                    <a:lnTo>
                      <a:pt x="688" y="1058"/>
                    </a:lnTo>
                    <a:lnTo>
                      <a:pt x="717" y="1065"/>
                    </a:lnTo>
                    <a:lnTo>
                      <a:pt x="746" y="1072"/>
                    </a:lnTo>
                    <a:lnTo>
                      <a:pt x="776" y="1076"/>
                    </a:lnTo>
                    <a:lnTo>
                      <a:pt x="806" y="1080"/>
                    </a:lnTo>
                    <a:lnTo>
                      <a:pt x="837" y="1082"/>
                    </a:lnTo>
                    <a:lnTo>
                      <a:pt x="868" y="1083"/>
                    </a:lnTo>
                    <a:lnTo>
                      <a:pt x="897" y="1082"/>
                    </a:lnTo>
                    <a:lnTo>
                      <a:pt x="926" y="1081"/>
                    </a:lnTo>
                    <a:lnTo>
                      <a:pt x="955" y="1077"/>
                    </a:lnTo>
                    <a:lnTo>
                      <a:pt x="983" y="1073"/>
                    </a:lnTo>
                    <a:lnTo>
                      <a:pt x="1011" y="1067"/>
                    </a:lnTo>
                    <a:lnTo>
                      <a:pt x="1039" y="1061"/>
                    </a:lnTo>
                    <a:lnTo>
                      <a:pt x="1065" y="1053"/>
                    </a:lnTo>
                    <a:lnTo>
                      <a:pt x="1092" y="1044"/>
                    </a:lnTo>
                    <a:lnTo>
                      <a:pt x="1117" y="1033"/>
                    </a:lnTo>
                    <a:lnTo>
                      <a:pt x="1143" y="1023"/>
                    </a:lnTo>
                    <a:lnTo>
                      <a:pt x="1167" y="1010"/>
                    </a:lnTo>
                    <a:lnTo>
                      <a:pt x="1192" y="997"/>
                    </a:lnTo>
                    <a:lnTo>
                      <a:pt x="1215" y="984"/>
                    </a:lnTo>
                    <a:lnTo>
                      <a:pt x="1238" y="969"/>
                    </a:lnTo>
                    <a:lnTo>
                      <a:pt x="1260" y="952"/>
                    </a:lnTo>
                    <a:lnTo>
                      <a:pt x="1282" y="935"/>
                    </a:lnTo>
                    <a:lnTo>
                      <a:pt x="1281" y="935"/>
                    </a:lnTo>
                    <a:lnTo>
                      <a:pt x="1298" y="920"/>
                    </a:lnTo>
                    <a:lnTo>
                      <a:pt x="1313" y="905"/>
                    </a:lnTo>
                    <a:lnTo>
                      <a:pt x="1328" y="889"/>
                    </a:lnTo>
                    <a:lnTo>
                      <a:pt x="1342" y="872"/>
                    </a:lnTo>
                    <a:lnTo>
                      <a:pt x="1356" y="854"/>
                    </a:lnTo>
                    <a:lnTo>
                      <a:pt x="1368" y="837"/>
                    </a:lnTo>
                    <a:lnTo>
                      <a:pt x="1379" y="817"/>
                    </a:lnTo>
                    <a:lnTo>
                      <a:pt x="1388" y="797"/>
                    </a:lnTo>
                    <a:lnTo>
                      <a:pt x="1398" y="778"/>
                    </a:lnTo>
                    <a:lnTo>
                      <a:pt x="1406" y="757"/>
                    </a:lnTo>
                    <a:lnTo>
                      <a:pt x="1413" y="735"/>
                    </a:lnTo>
                    <a:lnTo>
                      <a:pt x="1419" y="713"/>
                    </a:lnTo>
                    <a:lnTo>
                      <a:pt x="1423" y="691"/>
                    </a:lnTo>
                    <a:lnTo>
                      <a:pt x="1427" y="668"/>
                    </a:lnTo>
                    <a:lnTo>
                      <a:pt x="1429" y="645"/>
                    </a:lnTo>
                    <a:lnTo>
                      <a:pt x="1429" y="621"/>
                    </a:lnTo>
                    <a:lnTo>
                      <a:pt x="1429" y="601"/>
                    </a:lnTo>
                    <a:lnTo>
                      <a:pt x="1427" y="580"/>
                    </a:lnTo>
                    <a:lnTo>
                      <a:pt x="1424" y="559"/>
                    </a:lnTo>
                    <a:lnTo>
                      <a:pt x="1421" y="538"/>
                    </a:lnTo>
                    <a:lnTo>
                      <a:pt x="1416" y="518"/>
                    </a:lnTo>
                    <a:lnTo>
                      <a:pt x="1410" y="499"/>
                    </a:lnTo>
                    <a:lnTo>
                      <a:pt x="1403" y="480"/>
                    </a:lnTo>
                    <a:lnTo>
                      <a:pt x="1397" y="462"/>
                    </a:lnTo>
                    <a:lnTo>
                      <a:pt x="1387" y="443"/>
                    </a:lnTo>
                    <a:lnTo>
                      <a:pt x="1378" y="426"/>
                    </a:lnTo>
                    <a:lnTo>
                      <a:pt x="1369" y="408"/>
                    </a:lnTo>
                    <a:lnTo>
                      <a:pt x="1357" y="392"/>
                    </a:lnTo>
                    <a:lnTo>
                      <a:pt x="1346" y="376"/>
                    </a:lnTo>
                    <a:lnTo>
                      <a:pt x="1333" y="360"/>
                    </a:lnTo>
                    <a:lnTo>
                      <a:pt x="1320" y="346"/>
                    </a:lnTo>
                    <a:lnTo>
                      <a:pt x="1306" y="331"/>
                    </a:lnTo>
                    <a:lnTo>
                      <a:pt x="1289" y="315"/>
                    </a:lnTo>
                    <a:lnTo>
                      <a:pt x="1270" y="300"/>
                    </a:lnTo>
                    <a:lnTo>
                      <a:pt x="1251" y="286"/>
                    </a:lnTo>
                    <a:lnTo>
                      <a:pt x="1230" y="273"/>
                    </a:lnTo>
                    <a:lnTo>
                      <a:pt x="1230" y="273"/>
                    </a:lnTo>
                    <a:lnTo>
                      <a:pt x="1230" y="273"/>
                    </a:lnTo>
                    <a:lnTo>
                      <a:pt x="1212" y="263"/>
                    </a:lnTo>
                    <a:lnTo>
                      <a:pt x="1195" y="255"/>
                    </a:lnTo>
                    <a:lnTo>
                      <a:pt x="1178" y="246"/>
                    </a:lnTo>
                    <a:lnTo>
                      <a:pt x="1159" y="240"/>
                    </a:lnTo>
                    <a:lnTo>
                      <a:pt x="1139" y="234"/>
                    </a:lnTo>
                    <a:lnTo>
                      <a:pt x="1121" y="228"/>
                    </a:lnTo>
                    <a:lnTo>
                      <a:pt x="1101" y="224"/>
                    </a:lnTo>
                    <a:lnTo>
                      <a:pt x="1080" y="221"/>
                    </a:lnTo>
                    <a:lnTo>
                      <a:pt x="1066" y="219"/>
                    </a:lnTo>
                    <a:lnTo>
                      <a:pt x="1053" y="218"/>
                    </a:lnTo>
                    <a:lnTo>
                      <a:pt x="1039" y="216"/>
                    </a:lnTo>
                    <a:lnTo>
                      <a:pt x="1024" y="216"/>
                    </a:lnTo>
                    <a:lnTo>
                      <a:pt x="1018" y="216"/>
                    </a:lnTo>
                    <a:lnTo>
                      <a:pt x="1012" y="216"/>
                    </a:lnTo>
                    <a:lnTo>
                      <a:pt x="1003" y="218"/>
                    </a:lnTo>
                    <a:lnTo>
                      <a:pt x="994" y="218"/>
                    </a:lnTo>
                    <a:lnTo>
                      <a:pt x="978" y="219"/>
                    </a:lnTo>
                    <a:lnTo>
                      <a:pt x="962" y="221"/>
                    </a:lnTo>
                    <a:lnTo>
                      <a:pt x="947" y="224"/>
                    </a:lnTo>
                    <a:lnTo>
                      <a:pt x="931" y="227"/>
                    </a:lnTo>
                    <a:lnTo>
                      <a:pt x="927" y="228"/>
                    </a:lnTo>
                    <a:lnTo>
                      <a:pt x="924" y="229"/>
                    </a:lnTo>
                    <a:lnTo>
                      <a:pt x="919" y="230"/>
                    </a:lnTo>
                    <a:lnTo>
                      <a:pt x="915" y="231"/>
                    </a:lnTo>
                    <a:lnTo>
                      <a:pt x="914" y="233"/>
                    </a:lnTo>
                    <a:lnTo>
                      <a:pt x="911" y="233"/>
                    </a:lnTo>
                    <a:lnTo>
                      <a:pt x="909" y="233"/>
                    </a:lnTo>
                    <a:lnTo>
                      <a:pt x="908" y="234"/>
                    </a:lnTo>
                    <a:lnTo>
                      <a:pt x="907" y="234"/>
                    </a:lnTo>
                    <a:lnTo>
                      <a:pt x="905" y="234"/>
                    </a:lnTo>
                    <a:lnTo>
                      <a:pt x="901" y="236"/>
                    </a:lnTo>
                    <a:lnTo>
                      <a:pt x="896" y="237"/>
                    </a:lnTo>
                    <a:lnTo>
                      <a:pt x="894" y="238"/>
                    </a:lnTo>
                    <a:lnTo>
                      <a:pt x="892" y="238"/>
                    </a:lnTo>
                    <a:lnTo>
                      <a:pt x="889" y="240"/>
                    </a:lnTo>
                    <a:lnTo>
                      <a:pt x="887" y="241"/>
                    </a:lnTo>
                    <a:lnTo>
                      <a:pt x="885" y="242"/>
                    </a:lnTo>
                    <a:lnTo>
                      <a:pt x="882" y="242"/>
                    </a:lnTo>
                    <a:lnTo>
                      <a:pt x="880" y="243"/>
                    </a:lnTo>
                    <a:lnTo>
                      <a:pt x="878" y="244"/>
                    </a:lnTo>
                    <a:lnTo>
                      <a:pt x="875" y="244"/>
                    </a:lnTo>
                    <a:lnTo>
                      <a:pt x="874" y="245"/>
                    </a:lnTo>
                    <a:lnTo>
                      <a:pt x="871" y="246"/>
                    </a:lnTo>
                    <a:lnTo>
                      <a:pt x="868" y="248"/>
                    </a:lnTo>
                    <a:lnTo>
                      <a:pt x="866" y="249"/>
                    </a:lnTo>
                    <a:lnTo>
                      <a:pt x="864" y="250"/>
                    </a:lnTo>
                    <a:lnTo>
                      <a:pt x="861" y="251"/>
                    </a:lnTo>
                    <a:lnTo>
                      <a:pt x="859" y="251"/>
                    </a:lnTo>
                    <a:lnTo>
                      <a:pt x="857" y="252"/>
                    </a:lnTo>
                    <a:lnTo>
                      <a:pt x="855" y="253"/>
                    </a:lnTo>
                    <a:lnTo>
                      <a:pt x="853" y="255"/>
                    </a:lnTo>
                    <a:lnTo>
                      <a:pt x="853" y="255"/>
                    </a:lnTo>
                    <a:lnTo>
                      <a:pt x="850" y="256"/>
                    </a:lnTo>
                    <a:lnTo>
                      <a:pt x="846" y="258"/>
                    </a:lnTo>
                    <a:lnTo>
                      <a:pt x="845" y="258"/>
                    </a:lnTo>
                    <a:lnTo>
                      <a:pt x="844" y="258"/>
                    </a:lnTo>
                    <a:lnTo>
                      <a:pt x="842" y="260"/>
                    </a:lnTo>
                    <a:lnTo>
                      <a:pt x="839" y="262"/>
                    </a:lnTo>
                    <a:lnTo>
                      <a:pt x="836" y="263"/>
                    </a:lnTo>
                    <a:lnTo>
                      <a:pt x="834" y="264"/>
                    </a:lnTo>
                    <a:lnTo>
                      <a:pt x="829" y="266"/>
                    </a:lnTo>
                    <a:lnTo>
                      <a:pt x="826" y="268"/>
                    </a:lnTo>
                    <a:lnTo>
                      <a:pt x="826" y="268"/>
                    </a:lnTo>
                    <a:lnTo>
                      <a:pt x="824" y="268"/>
                    </a:lnTo>
                    <a:lnTo>
                      <a:pt x="822" y="271"/>
                    </a:lnTo>
                    <a:lnTo>
                      <a:pt x="820" y="272"/>
                    </a:lnTo>
                    <a:lnTo>
                      <a:pt x="820" y="272"/>
                    </a:lnTo>
                    <a:lnTo>
                      <a:pt x="819" y="273"/>
                    </a:lnTo>
                    <a:lnTo>
                      <a:pt x="817" y="273"/>
                    </a:lnTo>
                    <a:lnTo>
                      <a:pt x="816" y="273"/>
                    </a:lnTo>
                    <a:lnTo>
                      <a:pt x="816" y="274"/>
                    </a:lnTo>
                    <a:lnTo>
                      <a:pt x="816" y="274"/>
                    </a:lnTo>
                    <a:lnTo>
                      <a:pt x="815" y="274"/>
                    </a:lnTo>
                    <a:lnTo>
                      <a:pt x="814" y="275"/>
                    </a:lnTo>
                    <a:lnTo>
                      <a:pt x="812" y="277"/>
                    </a:lnTo>
                    <a:lnTo>
                      <a:pt x="809" y="278"/>
                    </a:lnTo>
                    <a:lnTo>
                      <a:pt x="808" y="279"/>
                    </a:lnTo>
                    <a:lnTo>
                      <a:pt x="806" y="280"/>
                    </a:lnTo>
                    <a:lnTo>
                      <a:pt x="804" y="281"/>
                    </a:lnTo>
                    <a:lnTo>
                      <a:pt x="801" y="283"/>
                    </a:lnTo>
                    <a:lnTo>
                      <a:pt x="801" y="283"/>
                    </a:lnTo>
                    <a:lnTo>
                      <a:pt x="800" y="283"/>
                    </a:lnTo>
                    <a:lnTo>
                      <a:pt x="800" y="285"/>
                    </a:lnTo>
                    <a:lnTo>
                      <a:pt x="799" y="285"/>
                    </a:lnTo>
                    <a:lnTo>
                      <a:pt x="799" y="285"/>
                    </a:lnTo>
                    <a:lnTo>
                      <a:pt x="799" y="286"/>
                    </a:lnTo>
                    <a:lnTo>
                      <a:pt x="795" y="287"/>
                    </a:lnTo>
                    <a:lnTo>
                      <a:pt x="793" y="288"/>
                    </a:lnTo>
                    <a:lnTo>
                      <a:pt x="793" y="289"/>
                    </a:lnTo>
                    <a:lnTo>
                      <a:pt x="792" y="289"/>
                    </a:lnTo>
                    <a:lnTo>
                      <a:pt x="792" y="289"/>
                    </a:lnTo>
                    <a:lnTo>
                      <a:pt x="791" y="290"/>
                    </a:lnTo>
                    <a:lnTo>
                      <a:pt x="786" y="294"/>
                    </a:lnTo>
                    <a:lnTo>
                      <a:pt x="780" y="297"/>
                    </a:lnTo>
                    <a:lnTo>
                      <a:pt x="778" y="300"/>
                    </a:lnTo>
                    <a:lnTo>
                      <a:pt x="775" y="302"/>
                    </a:lnTo>
                    <a:lnTo>
                      <a:pt x="770" y="305"/>
                    </a:lnTo>
                    <a:lnTo>
                      <a:pt x="767" y="309"/>
                    </a:lnTo>
                    <a:lnTo>
                      <a:pt x="767" y="310"/>
                    </a:lnTo>
                    <a:close/>
                  </a:path>
                </a:pathLst>
              </a:custGeom>
              <a:solidFill>
                <a:srgbClr val="005C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386160" y="643202"/>
              <a:ext cx="6211219" cy="440304"/>
            </a:xfrm>
            <a:custGeom>
              <a:avLst/>
              <a:gdLst>
                <a:gd name="T0" fmla="*/ 14362 w 14811"/>
                <a:gd name="T1" fmla="*/ 579 h 1050"/>
                <a:gd name="T2" fmla="*/ 14431 w 14811"/>
                <a:gd name="T3" fmla="*/ 267 h 1050"/>
                <a:gd name="T4" fmla="*/ 14507 w 14811"/>
                <a:gd name="T5" fmla="*/ 503 h 1050"/>
                <a:gd name="T6" fmla="*/ 12521 w 14811"/>
                <a:gd name="T7" fmla="*/ 850 h 1050"/>
                <a:gd name="T8" fmla="*/ 12405 w 14811"/>
                <a:gd name="T9" fmla="*/ 373 h 1050"/>
                <a:gd name="T10" fmla="*/ 12422 w 14811"/>
                <a:gd name="T11" fmla="*/ 631 h 1050"/>
                <a:gd name="T12" fmla="*/ 12229 w 14811"/>
                <a:gd name="T13" fmla="*/ 468 h 1050"/>
                <a:gd name="T14" fmla="*/ 12244 w 14811"/>
                <a:gd name="T15" fmla="*/ 691 h 1050"/>
                <a:gd name="T16" fmla="*/ 11564 w 14811"/>
                <a:gd name="T17" fmla="*/ 457 h 1050"/>
                <a:gd name="T18" fmla="*/ 11435 w 14811"/>
                <a:gd name="T19" fmla="*/ 438 h 1050"/>
                <a:gd name="T20" fmla="*/ 11757 w 14811"/>
                <a:gd name="T21" fmla="*/ 380 h 1050"/>
                <a:gd name="T22" fmla="*/ 11774 w 14811"/>
                <a:gd name="T23" fmla="*/ 644 h 1050"/>
                <a:gd name="T24" fmla="*/ 11367 w 14811"/>
                <a:gd name="T25" fmla="*/ 834 h 1050"/>
                <a:gd name="T26" fmla="*/ 11554 w 14811"/>
                <a:gd name="T27" fmla="*/ 742 h 1050"/>
                <a:gd name="T28" fmla="*/ 10702 w 14811"/>
                <a:gd name="T29" fmla="*/ 351 h 1050"/>
                <a:gd name="T30" fmla="*/ 11178 w 14811"/>
                <a:gd name="T31" fmla="*/ 389 h 1050"/>
                <a:gd name="T32" fmla="*/ 10830 w 14811"/>
                <a:gd name="T33" fmla="*/ 865 h 1050"/>
                <a:gd name="T34" fmla="*/ 10719 w 14811"/>
                <a:gd name="T35" fmla="*/ 556 h 1050"/>
                <a:gd name="T36" fmla="*/ 10906 w 14811"/>
                <a:gd name="T37" fmla="*/ 357 h 1050"/>
                <a:gd name="T38" fmla="*/ 10846 w 14811"/>
                <a:gd name="T39" fmla="*/ 698 h 1050"/>
                <a:gd name="T40" fmla="*/ 10014 w 14811"/>
                <a:gd name="T41" fmla="*/ 51 h 1050"/>
                <a:gd name="T42" fmla="*/ 10590 w 14811"/>
                <a:gd name="T43" fmla="*/ 417 h 1050"/>
                <a:gd name="T44" fmla="*/ 10363 w 14811"/>
                <a:gd name="T45" fmla="*/ 400 h 1050"/>
                <a:gd name="T46" fmla="*/ 9329 w 14811"/>
                <a:gd name="T47" fmla="*/ 260 h 1050"/>
                <a:gd name="T48" fmla="*/ 7898 w 14811"/>
                <a:gd name="T49" fmla="*/ 335 h 1050"/>
                <a:gd name="T50" fmla="*/ 8365 w 14811"/>
                <a:gd name="T51" fmla="*/ 405 h 1050"/>
                <a:gd name="T52" fmla="*/ 7995 w 14811"/>
                <a:gd name="T53" fmla="*/ 864 h 1050"/>
                <a:gd name="T54" fmla="*/ 7911 w 14811"/>
                <a:gd name="T55" fmla="*/ 549 h 1050"/>
                <a:gd name="T56" fmla="*/ 8083 w 14811"/>
                <a:gd name="T57" fmla="*/ 359 h 1050"/>
                <a:gd name="T58" fmla="*/ 8033 w 14811"/>
                <a:gd name="T59" fmla="*/ 713 h 1050"/>
                <a:gd name="T60" fmla="*/ 7675 w 14811"/>
                <a:gd name="T61" fmla="*/ 51 h 1050"/>
                <a:gd name="T62" fmla="*/ 7756 w 14811"/>
                <a:gd name="T63" fmla="*/ 557 h 1050"/>
                <a:gd name="T64" fmla="*/ 7361 w 14811"/>
                <a:gd name="T65" fmla="*/ 713 h 1050"/>
                <a:gd name="T66" fmla="*/ 7459 w 14811"/>
                <a:gd name="T67" fmla="*/ 485 h 1050"/>
                <a:gd name="T68" fmla="*/ 5791 w 14811"/>
                <a:gd name="T69" fmla="*/ 779 h 1050"/>
                <a:gd name="T70" fmla="*/ 4631 w 14811"/>
                <a:gd name="T71" fmla="*/ 375 h 1050"/>
                <a:gd name="T72" fmla="*/ 4658 w 14811"/>
                <a:gd name="T73" fmla="*/ 732 h 1050"/>
                <a:gd name="T74" fmla="*/ 4796 w 14811"/>
                <a:gd name="T75" fmla="*/ 827 h 1050"/>
                <a:gd name="T76" fmla="*/ 4399 w 14811"/>
                <a:gd name="T77" fmla="*/ 718 h 1050"/>
                <a:gd name="T78" fmla="*/ 4517 w 14811"/>
                <a:gd name="T79" fmla="*/ 270 h 1050"/>
                <a:gd name="T80" fmla="*/ 4899 w 14811"/>
                <a:gd name="T81" fmla="*/ 475 h 1050"/>
                <a:gd name="T82" fmla="*/ 2721 w 14811"/>
                <a:gd name="T83" fmla="*/ 490 h 1050"/>
                <a:gd name="T84" fmla="*/ 2705 w 14811"/>
                <a:gd name="T85" fmla="*/ 361 h 1050"/>
                <a:gd name="T86" fmla="*/ 2875 w 14811"/>
                <a:gd name="T87" fmla="*/ 264 h 1050"/>
                <a:gd name="T88" fmla="*/ 2947 w 14811"/>
                <a:gd name="T89" fmla="*/ 565 h 1050"/>
                <a:gd name="T90" fmla="*/ 2784 w 14811"/>
                <a:gd name="T91" fmla="*/ 864 h 1050"/>
                <a:gd name="T92" fmla="*/ 2718 w 14811"/>
                <a:gd name="T93" fmla="*/ 750 h 1050"/>
                <a:gd name="T94" fmla="*/ 2726 w 14811"/>
                <a:gd name="T95" fmla="*/ 607 h 1050"/>
                <a:gd name="T96" fmla="*/ 2352 w 14811"/>
                <a:gd name="T97" fmla="*/ 293 h 1050"/>
                <a:gd name="T98" fmla="*/ 2177 w 14811"/>
                <a:gd name="T99" fmla="*/ 831 h 1050"/>
                <a:gd name="T100" fmla="*/ 1892 w 14811"/>
                <a:gd name="T101" fmla="*/ 635 h 1050"/>
                <a:gd name="T102" fmla="*/ 2205 w 14811"/>
                <a:gd name="T103" fmla="*/ 366 h 1050"/>
                <a:gd name="T104" fmla="*/ 2108 w 14811"/>
                <a:gd name="T105" fmla="*/ 600 h 1050"/>
                <a:gd name="T106" fmla="*/ 2206 w 14811"/>
                <a:gd name="T107" fmla="*/ 713 h 1050"/>
                <a:gd name="T108" fmla="*/ 1636 w 14811"/>
                <a:gd name="T109" fmla="*/ 256 h 1050"/>
                <a:gd name="T110" fmla="*/ 1764 w 14811"/>
                <a:gd name="T111" fmla="*/ 747 h 1050"/>
                <a:gd name="T112" fmla="*/ 1452 w 14811"/>
                <a:gd name="T113" fmla="*/ 607 h 1050"/>
                <a:gd name="T114" fmla="*/ 1612 w 14811"/>
                <a:gd name="T115" fmla="*/ 576 h 1050"/>
                <a:gd name="T116" fmla="*/ 1453 w 14811"/>
                <a:gd name="T117" fmla="*/ 456 h 1050"/>
                <a:gd name="T118" fmla="*/ 1147 w 14811"/>
                <a:gd name="T119" fmla="*/ 456 h 1050"/>
                <a:gd name="T120" fmla="*/ 1162 w 14811"/>
                <a:gd name="T121" fmla="*/ 746 h 1050"/>
                <a:gd name="T122" fmla="*/ 973 w 14811"/>
                <a:gd name="T123" fmla="*/ 387 h 1050"/>
                <a:gd name="T124" fmla="*/ 985 w 14811"/>
                <a:gd name="T125" fmla="*/ 611 h 1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811" h="1050">
                  <a:moveTo>
                    <a:pt x="0" y="51"/>
                  </a:moveTo>
                  <a:lnTo>
                    <a:pt x="548" y="51"/>
                  </a:lnTo>
                  <a:lnTo>
                    <a:pt x="548" y="189"/>
                  </a:lnTo>
                  <a:lnTo>
                    <a:pt x="199" y="189"/>
                  </a:lnTo>
                  <a:lnTo>
                    <a:pt x="199" y="375"/>
                  </a:lnTo>
                  <a:lnTo>
                    <a:pt x="470" y="375"/>
                  </a:lnTo>
                  <a:lnTo>
                    <a:pt x="470" y="513"/>
                  </a:lnTo>
                  <a:lnTo>
                    <a:pt x="199" y="513"/>
                  </a:lnTo>
                  <a:lnTo>
                    <a:pt x="199" y="707"/>
                  </a:lnTo>
                  <a:lnTo>
                    <a:pt x="548" y="707"/>
                  </a:lnTo>
                  <a:lnTo>
                    <a:pt x="548" y="850"/>
                  </a:lnTo>
                  <a:lnTo>
                    <a:pt x="0" y="850"/>
                  </a:lnTo>
                  <a:lnTo>
                    <a:pt x="0" y="51"/>
                  </a:lnTo>
                  <a:close/>
                  <a:moveTo>
                    <a:pt x="6426" y="159"/>
                  </a:moveTo>
                  <a:lnTo>
                    <a:pt x="6597" y="159"/>
                  </a:lnTo>
                  <a:lnTo>
                    <a:pt x="6597" y="0"/>
                  </a:lnTo>
                  <a:lnTo>
                    <a:pt x="6426" y="0"/>
                  </a:lnTo>
                  <a:lnTo>
                    <a:pt x="6426" y="159"/>
                  </a:lnTo>
                  <a:close/>
                  <a:moveTo>
                    <a:pt x="3928" y="159"/>
                  </a:moveTo>
                  <a:lnTo>
                    <a:pt x="4099" y="159"/>
                  </a:lnTo>
                  <a:lnTo>
                    <a:pt x="4099" y="0"/>
                  </a:lnTo>
                  <a:lnTo>
                    <a:pt x="3928" y="0"/>
                  </a:lnTo>
                  <a:lnTo>
                    <a:pt x="3928" y="159"/>
                  </a:lnTo>
                  <a:close/>
                  <a:moveTo>
                    <a:pt x="14625" y="850"/>
                  </a:moveTo>
                  <a:lnTo>
                    <a:pt x="14625" y="626"/>
                  </a:lnTo>
                  <a:lnTo>
                    <a:pt x="14540" y="626"/>
                  </a:lnTo>
                  <a:lnTo>
                    <a:pt x="14438" y="850"/>
                  </a:lnTo>
                  <a:lnTo>
                    <a:pt x="14250" y="850"/>
                  </a:lnTo>
                  <a:lnTo>
                    <a:pt x="14384" y="592"/>
                  </a:lnTo>
                  <a:lnTo>
                    <a:pt x="14372" y="586"/>
                  </a:lnTo>
                  <a:lnTo>
                    <a:pt x="14362" y="579"/>
                  </a:lnTo>
                  <a:lnTo>
                    <a:pt x="14353" y="572"/>
                  </a:lnTo>
                  <a:lnTo>
                    <a:pt x="14343" y="565"/>
                  </a:lnTo>
                  <a:lnTo>
                    <a:pt x="14334" y="557"/>
                  </a:lnTo>
                  <a:lnTo>
                    <a:pt x="14327" y="549"/>
                  </a:lnTo>
                  <a:lnTo>
                    <a:pt x="14320" y="541"/>
                  </a:lnTo>
                  <a:lnTo>
                    <a:pt x="14313" y="532"/>
                  </a:lnTo>
                  <a:lnTo>
                    <a:pt x="14307" y="522"/>
                  </a:lnTo>
                  <a:lnTo>
                    <a:pt x="14303" y="512"/>
                  </a:lnTo>
                  <a:lnTo>
                    <a:pt x="14299" y="501"/>
                  </a:lnTo>
                  <a:lnTo>
                    <a:pt x="14296" y="491"/>
                  </a:lnTo>
                  <a:lnTo>
                    <a:pt x="14294" y="479"/>
                  </a:lnTo>
                  <a:lnTo>
                    <a:pt x="14291" y="468"/>
                  </a:lnTo>
                  <a:lnTo>
                    <a:pt x="14290" y="456"/>
                  </a:lnTo>
                  <a:lnTo>
                    <a:pt x="14290" y="444"/>
                  </a:lnTo>
                  <a:lnTo>
                    <a:pt x="14290" y="426"/>
                  </a:lnTo>
                  <a:lnTo>
                    <a:pt x="14292" y="409"/>
                  </a:lnTo>
                  <a:lnTo>
                    <a:pt x="14296" y="392"/>
                  </a:lnTo>
                  <a:lnTo>
                    <a:pt x="14302" y="375"/>
                  </a:lnTo>
                  <a:lnTo>
                    <a:pt x="14309" y="359"/>
                  </a:lnTo>
                  <a:lnTo>
                    <a:pt x="14317" y="344"/>
                  </a:lnTo>
                  <a:lnTo>
                    <a:pt x="14326" y="329"/>
                  </a:lnTo>
                  <a:lnTo>
                    <a:pt x="14338" y="315"/>
                  </a:lnTo>
                  <a:lnTo>
                    <a:pt x="14343" y="308"/>
                  </a:lnTo>
                  <a:lnTo>
                    <a:pt x="14350" y="302"/>
                  </a:lnTo>
                  <a:lnTo>
                    <a:pt x="14358" y="297"/>
                  </a:lnTo>
                  <a:lnTo>
                    <a:pt x="14366" y="291"/>
                  </a:lnTo>
                  <a:lnTo>
                    <a:pt x="14376" y="285"/>
                  </a:lnTo>
                  <a:lnTo>
                    <a:pt x="14385" y="280"/>
                  </a:lnTo>
                  <a:lnTo>
                    <a:pt x="14395" y="277"/>
                  </a:lnTo>
                  <a:lnTo>
                    <a:pt x="14407" y="273"/>
                  </a:lnTo>
                  <a:lnTo>
                    <a:pt x="14431" y="267"/>
                  </a:lnTo>
                  <a:lnTo>
                    <a:pt x="14458" y="263"/>
                  </a:lnTo>
                  <a:lnTo>
                    <a:pt x="14488" y="260"/>
                  </a:lnTo>
                  <a:lnTo>
                    <a:pt x="14521" y="260"/>
                  </a:lnTo>
                  <a:lnTo>
                    <a:pt x="14811" y="260"/>
                  </a:lnTo>
                  <a:lnTo>
                    <a:pt x="14811" y="850"/>
                  </a:lnTo>
                  <a:lnTo>
                    <a:pt x="14625" y="850"/>
                  </a:lnTo>
                  <a:close/>
                  <a:moveTo>
                    <a:pt x="14625" y="507"/>
                  </a:moveTo>
                  <a:lnTo>
                    <a:pt x="14625" y="367"/>
                  </a:lnTo>
                  <a:lnTo>
                    <a:pt x="14544" y="367"/>
                  </a:lnTo>
                  <a:lnTo>
                    <a:pt x="14533" y="368"/>
                  </a:lnTo>
                  <a:lnTo>
                    <a:pt x="14523" y="368"/>
                  </a:lnTo>
                  <a:lnTo>
                    <a:pt x="14515" y="371"/>
                  </a:lnTo>
                  <a:lnTo>
                    <a:pt x="14507" y="372"/>
                  </a:lnTo>
                  <a:lnTo>
                    <a:pt x="14500" y="374"/>
                  </a:lnTo>
                  <a:lnTo>
                    <a:pt x="14494" y="378"/>
                  </a:lnTo>
                  <a:lnTo>
                    <a:pt x="14488" y="381"/>
                  </a:lnTo>
                  <a:lnTo>
                    <a:pt x="14485" y="386"/>
                  </a:lnTo>
                  <a:lnTo>
                    <a:pt x="14481" y="390"/>
                  </a:lnTo>
                  <a:lnTo>
                    <a:pt x="14478" y="396"/>
                  </a:lnTo>
                  <a:lnTo>
                    <a:pt x="14475" y="402"/>
                  </a:lnTo>
                  <a:lnTo>
                    <a:pt x="14473" y="409"/>
                  </a:lnTo>
                  <a:lnTo>
                    <a:pt x="14471" y="424"/>
                  </a:lnTo>
                  <a:lnTo>
                    <a:pt x="14470" y="442"/>
                  </a:lnTo>
                  <a:lnTo>
                    <a:pt x="14471" y="456"/>
                  </a:lnTo>
                  <a:lnTo>
                    <a:pt x="14473" y="468"/>
                  </a:lnTo>
                  <a:lnTo>
                    <a:pt x="14476" y="479"/>
                  </a:lnTo>
                  <a:lnTo>
                    <a:pt x="14482" y="489"/>
                  </a:lnTo>
                  <a:lnTo>
                    <a:pt x="14487" y="493"/>
                  </a:lnTo>
                  <a:lnTo>
                    <a:pt x="14493" y="497"/>
                  </a:lnTo>
                  <a:lnTo>
                    <a:pt x="14499" y="500"/>
                  </a:lnTo>
                  <a:lnTo>
                    <a:pt x="14507" y="503"/>
                  </a:lnTo>
                  <a:lnTo>
                    <a:pt x="14516" y="505"/>
                  </a:lnTo>
                  <a:lnTo>
                    <a:pt x="14527" y="506"/>
                  </a:lnTo>
                  <a:lnTo>
                    <a:pt x="14539" y="507"/>
                  </a:lnTo>
                  <a:lnTo>
                    <a:pt x="14552" y="507"/>
                  </a:lnTo>
                  <a:lnTo>
                    <a:pt x="14625" y="507"/>
                  </a:lnTo>
                  <a:close/>
                  <a:moveTo>
                    <a:pt x="13841" y="779"/>
                  </a:moveTo>
                  <a:lnTo>
                    <a:pt x="13841" y="850"/>
                  </a:lnTo>
                  <a:lnTo>
                    <a:pt x="13654" y="850"/>
                  </a:lnTo>
                  <a:lnTo>
                    <a:pt x="13654" y="260"/>
                  </a:lnTo>
                  <a:lnTo>
                    <a:pt x="13841" y="260"/>
                  </a:lnTo>
                  <a:lnTo>
                    <a:pt x="13841" y="543"/>
                  </a:lnTo>
                  <a:lnTo>
                    <a:pt x="13991" y="335"/>
                  </a:lnTo>
                  <a:lnTo>
                    <a:pt x="13991" y="260"/>
                  </a:lnTo>
                  <a:lnTo>
                    <a:pt x="14179" y="260"/>
                  </a:lnTo>
                  <a:lnTo>
                    <a:pt x="14179" y="850"/>
                  </a:lnTo>
                  <a:lnTo>
                    <a:pt x="13991" y="850"/>
                  </a:lnTo>
                  <a:lnTo>
                    <a:pt x="13991" y="574"/>
                  </a:lnTo>
                  <a:lnTo>
                    <a:pt x="13961" y="619"/>
                  </a:lnTo>
                  <a:lnTo>
                    <a:pt x="13841" y="779"/>
                  </a:lnTo>
                  <a:close/>
                  <a:moveTo>
                    <a:pt x="13094" y="260"/>
                  </a:moveTo>
                  <a:lnTo>
                    <a:pt x="13596" y="260"/>
                  </a:lnTo>
                  <a:lnTo>
                    <a:pt x="13596" y="392"/>
                  </a:lnTo>
                  <a:lnTo>
                    <a:pt x="13439" y="392"/>
                  </a:lnTo>
                  <a:lnTo>
                    <a:pt x="13439" y="850"/>
                  </a:lnTo>
                  <a:lnTo>
                    <a:pt x="13252" y="850"/>
                  </a:lnTo>
                  <a:lnTo>
                    <a:pt x="13252" y="392"/>
                  </a:lnTo>
                  <a:lnTo>
                    <a:pt x="13094" y="392"/>
                  </a:lnTo>
                  <a:lnTo>
                    <a:pt x="13094" y="260"/>
                  </a:lnTo>
                  <a:close/>
                  <a:moveTo>
                    <a:pt x="12707" y="779"/>
                  </a:moveTo>
                  <a:lnTo>
                    <a:pt x="12707" y="850"/>
                  </a:lnTo>
                  <a:lnTo>
                    <a:pt x="12521" y="850"/>
                  </a:lnTo>
                  <a:lnTo>
                    <a:pt x="12521" y="260"/>
                  </a:lnTo>
                  <a:lnTo>
                    <a:pt x="12707" y="260"/>
                  </a:lnTo>
                  <a:lnTo>
                    <a:pt x="12707" y="543"/>
                  </a:lnTo>
                  <a:lnTo>
                    <a:pt x="12858" y="335"/>
                  </a:lnTo>
                  <a:lnTo>
                    <a:pt x="12858" y="260"/>
                  </a:lnTo>
                  <a:lnTo>
                    <a:pt x="13045" y="260"/>
                  </a:lnTo>
                  <a:lnTo>
                    <a:pt x="13045" y="850"/>
                  </a:lnTo>
                  <a:lnTo>
                    <a:pt x="12858" y="850"/>
                  </a:lnTo>
                  <a:lnTo>
                    <a:pt x="12858" y="574"/>
                  </a:lnTo>
                  <a:lnTo>
                    <a:pt x="12827" y="619"/>
                  </a:lnTo>
                  <a:lnTo>
                    <a:pt x="12707" y="779"/>
                  </a:lnTo>
                  <a:close/>
                  <a:moveTo>
                    <a:pt x="11872" y="850"/>
                  </a:moveTo>
                  <a:lnTo>
                    <a:pt x="11872" y="260"/>
                  </a:lnTo>
                  <a:lnTo>
                    <a:pt x="12212" y="260"/>
                  </a:lnTo>
                  <a:lnTo>
                    <a:pt x="12241" y="260"/>
                  </a:lnTo>
                  <a:lnTo>
                    <a:pt x="12268" y="262"/>
                  </a:lnTo>
                  <a:lnTo>
                    <a:pt x="12292" y="267"/>
                  </a:lnTo>
                  <a:lnTo>
                    <a:pt x="12312" y="271"/>
                  </a:lnTo>
                  <a:lnTo>
                    <a:pt x="12321" y="275"/>
                  </a:lnTo>
                  <a:lnTo>
                    <a:pt x="12331" y="279"/>
                  </a:lnTo>
                  <a:lnTo>
                    <a:pt x="12340" y="284"/>
                  </a:lnTo>
                  <a:lnTo>
                    <a:pt x="12348" y="290"/>
                  </a:lnTo>
                  <a:lnTo>
                    <a:pt x="12356" y="297"/>
                  </a:lnTo>
                  <a:lnTo>
                    <a:pt x="12364" y="304"/>
                  </a:lnTo>
                  <a:lnTo>
                    <a:pt x="12372" y="312"/>
                  </a:lnTo>
                  <a:lnTo>
                    <a:pt x="12379" y="321"/>
                  </a:lnTo>
                  <a:lnTo>
                    <a:pt x="12386" y="330"/>
                  </a:lnTo>
                  <a:lnTo>
                    <a:pt x="12392" y="341"/>
                  </a:lnTo>
                  <a:lnTo>
                    <a:pt x="12398" y="351"/>
                  </a:lnTo>
                  <a:lnTo>
                    <a:pt x="12401" y="361"/>
                  </a:lnTo>
                  <a:lnTo>
                    <a:pt x="12405" y="373"/>
                  </a:lnTo>
                  <a:lnTo>
                    <a:pt x="12407" y="385"/>
                  </a:lnTo>
                  <a:lnTo>
                    <a:pt x="12408" y="397"/>
                  </a:lnTo>
                  <a:lnTo>
                    <a:pt x="12409" y="410"/>
                  </a:lnTo>
                  <a:lnTo>
                    <a:pt x="12408" y="419"/>
                  </a:lnTo>
                  <a:lnTo>
                    <a:pt x="12407" y="430"/>
                  </a:lnTo>
                  <a:lnTo>
                    <a:pt x="12406" y="439"/>
                  </a:lnTo>
                  <a:lnTo>
                    <a:pt x="12404" y="448"/>
                  </a:lnTo>
                  <a:lnTo>
                    <a:pt x="12401" y="456"/>
                  </a:lnTo>
                  <a:lnTo>
                    <a:pt x="12397" y="466"/>
                  </a:lnTo>
                  <a:lnTo>
                    <a:pt x="12393" y="474"/>
                  </a:lnTo>
                  <a:lnTo>
                    <a:pt x="12389" y="482"/>
                  </a:lnTo>
                  <a:lnTo>
                    <a:pt x="12383" y="489"/>
                  </a:lnTo>
                  <a:lnTo>
                    <a:pt x="12376" y="497"/>
                  </a:lnTo>
                  <a:lnTo>
                    <a:pt x="12370" y="504"/>
                  </a:lnTo>
                  <a:lnTo>
                    <a:pt x="12362" y="511"/>
                  </a:lnTo>
                  <a:lnTo>
                    <a:pt x="12354" y="516"/>
                  </a:lnTo>
                  <a:lnTo>
                    <a:pt x="12345" y="523"/>
                  </a:lnTo>
                  <a:lnTo>
                    <a:pt x="12335" y="529"/>
                  </a:lnTo>
                  <a:lnTo>
                    <a:pt x="12325" y="535"/>
                  </a:lnTo>
                  <a:lnTo>
                    <a:pt x="12338" y="541"/>
                  </a:lnTo>
                  <a:lnTo>
                    <a:pt x="12349" y="547"/>
                  </a:lnTo>
                  <a:lnTo>
                    <a:pt x="12361" y="554"/>
                  </a:lnTo>
                  <a:lnTo>
                    <a:pt x="12370" y="560"/>
                  </a:lnTo>
                  <a:lnTo>
                    <a:pt x="12379" y="567"/>
                  </a:lnTo>
                  <a:lnTo>
                    <a:pt x="12389" y="576"/>
                  </a:lnTo>
                  <a:lnTo>
                    <a:pt x="12395" y="584"/>
                  </a:lnTo>
                  <a:lnTo>
                    <a:pt x="12402" y="592"/>
                  </a:lnTo>
                  <a:lnTo>
                    <a:pt x="12408" y="601"/>
                  </a:lnTo>
                  <a:lnTo>
                    <a:pt x="12414" y="610"/>
                  </a:lnTo>
                  <a:lnTo>
                    <a:pt x="12417" y="621"/>
                  </a:lnTo>
                  <a:lnTo>
                    <a:pt x="12422" y="631"/>
                  </a:lnTo>
                  <a:lnTo>
                    <a:pt x="12424" y="641"/>
                  </a:lnTo>
                  <a:lnTo>
                    <a:pt x="12427" y="653"/>
                  </a:lnTo>
                  <a:lnTo>
                    <a:pt x="12428" y="665"/>
                  </a:lnTo>
                  <a:lnTo>
                    <a:pt x="12428" y="677"/>
                  </a:lnTo>
                  <a:lnTo>
                    <a:pt x="12427" y="696"/>
                  </a:lnTo>
                  <a:lnTo>
                    <a:pt x="12424" y="713"/>
                  </a:lnTo>
                  <a:lnTo>
                    <a:pt x="12421" y="731"/>
                  </a:lnTo>
                  <a:lnTo>
                    <a:pt x="12415" y="746"/>
                  </a:lnTo>
                  <a:lnTo>
                    <a:pt x="12408" y="762"/>
                  </a:lnTo>
                  <a:lnTo>
                    <a:pt x="12400" y="776"/>
                  </a:lnTo>
                  <a:lnTo>
                    <a:pt x="12390" y="790"/>
                  </a:lnTo>
                  <a:lnTo>
                    <a:pt x="12378" y="801"/>
                  </a:lnTo>
                  <a:lnTo>
                    <a:pt x="12364" y="813"/>
                  </a:lnTo>
                  <a:lnTo>
                    <a:pt x="12350" y="823"/>
                  </a:lnTo>
                  <a:lnTo>
                    <a:pt x="12334" y="831"/>
                  </a:lnTo>
                  <a:lnTo>
                    <a:pt x="12318" y="838"/>
                  </a:lnTo>
                  <a:lnTo>
                    <a:pt x="12299" y="843"/>
                  </a:lnTo>
                  <a:lnTo>
                    <a:pt x="12281" y="847"/>
                  </a:lnTo>
                  <a:lnTo>
                    <a:pt x="12260" y="850"/>
                  </a:lnTo>
                  <a:lnTo>
                    <a:pt x="12238" y="850"/>
                  </a:lnTo>
                  <a:lnTo>
                    <a:pt x="11872" y="850"/>
                  </a:lnTo>
                  <a:close/>
                  <a:moveTo>
                    <a:pt x="12071" y="489"/>
                  </a:moveTo>
                  <a:lnTo>
                    <a:pt x="12174" y="489"/>
                  </a:lnTo>
                  <a:lnTo>
                    <a:pt x="12189" y="488"/>
                  </a:lnTo>
                  <a:lnTo>
                    <a:pt x="12202" y="485"/>
                  </a:lnTo>
                  <a:lnTo>
                    <a:pt x="12208" y="483"/>
                  </a:lnTo>
                  <a:lnTo>
                    <a:pt x="12214" y="482"/>
                  </a:lnTo>
                  <a:lnTo>
                    <a:pt x="12218" y="478"/>
                  </a:lnTo>
                  <a:lnTo>
                    <a:pt x="12222" y="476"/>
                  </a:lnTo>
                  <a:lnTo>
                    <a:pt x="12225" y="473"/>
                  </a:lnTo>
                  <a:lnTo>
                    <a:pt x="12229" y="468"/>
                  </a:lnTo>
                  <a:lnTo>
                    <a:pt x="12231" y="463"/>
                  </a:lnTo>
                  <a:lnTo>
                    <a:pt x="12233" y="459"/>
                  </a:lnTo>
                  <a:lnTo>
                    <a:pt x="12236" y="446"/>
                  </a:lnTo>
                  <a:lnTo>
                    <a:pt x="12237" y="431"/>
                  </a:lnTo>
                  <a:lnTo>
                    <a:pt x="12236" y="418"/>
                  </a:lnTo>
                  <a:lnTo>
                    <a:pt x="12234" y="408"/>
                  </a:lnTo>
                  <a:lnTo>
                    <a:pt x="12231" y="397"/>
                  </a:lnTo>
                  <a:lnTo>
                    <a:pt x="12228" y="387"/>
                  </a:lnTo>
                  <a:lnTo>
                    <a:pt x="12224" y="382"/>
                  </a:lnTo>
                  <a:lnTo>
                    <a:pt x="12221" y="379"/>
                  </a:lnTo>
                  <a:lnTo>
                    <a:pt x="12215" y="375"/>
                  </a:lnTo>
                  <a:lnTo>
                    <a:pt x="12209" y="373"/>
                  </a:lnTo>
                  <a:lnTo>
                    <a:pt x="12202" y="371"/>
                  </a:lnTo>
                  <a:lnTo>
                    <a:pt x="12194" y="368"/>
                  </a:lnTo>
                  <a:lnTo>
                    <a:pt x="12185" y="368"/>
                  </a:lnTo>
                  <a:lnTo>
                    <a:pt x="12174" y="367"/>
                  </a:lnTo>
                  <a:lnTo>
                    <a:pt x="12071" y="367"/>
                  </a:lnTo>
                  <a:lnTo>
                    <a:pt x="12071" y="489"/>
                  </a:lnTo>
                  <a:close/>
                  <a:moveTo>
                    <a:pt x="12071" y="722"/>
                  </a:moveTo>
                  <a:lnTo>
                    <a:pt x="12184" y="722"/>
                  </a:lnTo>
                  <a:lnTo>
                    <a:pt x="12193" y="722"/>
                  </a:lnTo>
                  <a:lnTo>
                    <a:pt x="12201" y="721"/>
                  </a:lnTo>
                  <a:lnTo>
                    <a:pt x="12209" y="720"/>
                  </a:lnTo>
                  <a:lnTo>
                    <a:pt x="12216" y="718"/>
                  </a:lnTo>
                  <a:lnTo>
                    <a:pt x="12222" y="716"/>
                  </a:lnTo>
                  <a:lnTo>
                    <a:pt x="12226" y="713"/>
                  </a:lnTo>
                  <a:lnTo>
                    <a:pt x="12231" y="710"/>
                  </a:lnTo>
                  <a:lnTo>
                    <a:pt x="12236" y="706"/>
                  </a:lnTo>
                  <a:lnTo>
                    <a:pt x="12238" y="702"/>
                  </a:lnTo>
                  <a:lnTo>
                    <a:pt x="12241" y="697"/>
                  </a:lnTo>
                  <a:lnTo>
                    <a:pt x="12244" y="691"/>
                  </a:lnTo>
                  <a:lnTo>
                    <a:pt x="12245" y="685"/>
                  </a:lnTo>
                  <a:lnTo>
                    <a:pt x="12247" y="672"/>
                  </a:lnTo>
                  <a:lnTo>
                    <a:pt x="12248" y="657"/>
                  </a:lnTo>
                  <a:lnTo>
                    <a:pt x="12247" y="641"/>
                  </a:lnTo>
                  <a:lnTo>
                    <a:pt x="12245" y="628"/>
                  </a:lnTo>
                  <a:lnTo>
                    <a:pt x="12243" y="622"/>
                  </a:lnTo>
                  <a:lnTo>
                    <a:pt x="12240" y="616"/>
                  </a:lnTo>
                  <a:lnTo>
                    <a:pt x="12238" y="611"/>
                  </a:lnTo>
                  <a:lnTo>
                    <a:pt x="12234" y="607"/>
                  </a:lnTo>
                  <a:lnTo>
                    <a:pt x="12231" y="603"/>
                  </a:lnTo>
                  <a:lnTo>
                    <a:pt x="12226" y="600"/>
                  </a:lnTo>
                  <a:lnTo>
                    <a:pt x="12221" y="596"/>
                  </a:lnTo>
                  <a:lnTo>
                    <a:pt x="12215" y="594"/>
                  </a:lnTo>
                  <a:lnTo>
                    <a:pt x="12208" y="592"/>
                  </a:lnTo>
                  <a:lnTo>
                    <a:pt x="12200" y="591"/>
                  </a:lnTo>
                  <a:lnTo>
                    <a:pt x="12192" y="589"/>
                  </a:lnTo>
                  <a:lnTo>
                    <a:pt x="12184" y="589"/>
                  </a:lnTo>
                  <a:lnTo>
                    <a:pt x="12071" y="589"/>
                  </a:lnTo>
                  <a:lnTo>
                    <a:pt x="12071" y="722"/>
                  </a:lnTo>
                  <a:close/>
                  <a:moveTo>
                    <a:pt x="11438" y="491"/>
                  </a:moveTo>
                  <a:lnTo>
                    <a:pt x="11468" y="491"/>
                  </a:lnTo>
                  <a:lnTo>
                    <a:pt x="11492" y="490"/>
                  </a:lnTo>
                  <a:lnTo>
                    <a:pt x="11511" y="489"/>
                  </a:lnTo>
                  <a:lnTo>
                    <a:pt x="11523" y="488"/>
                  </a:lnTo>
                  <a:lnTo>
                    <a:pt x="11533" y="485"/>
                  </a:lnTo>
                  <a:lnTo>
                    <a:pt x="11541" y="482"/>
                  </a:lnTo>
                  <a:lnTo>
                    <a:pt x="11549" y="477"/>
                  </a:lnTo>
                  <a:lnTo>
                    <a:pt x="11556" y="470"/>
                  </a:lnTo>
                  <a:lnTo>
                    <a:pt x="11559" y="467"/>
                  </a:lnTo>
                  <a:lnTo>
                    <a:pt x="11562" y="462"/>
                  </a:lnTo>
                  <a:lnTo>
                    <a:pt x="11564" y="457"/>
                  </a:lnTo>
                  <a:lnTo>
                    <a:pt x="11566" y="452"/>
                  </a:lnTo>
                  <a:lnTo>
                    <a:pt x="11569" y="440"/>
                  </a:lnTo>
                  <a:lnTo>
                    <a:pt x="11570" y="426"/>
                  </a:lnTo>
                  <a:lnTo>
                    <a:pt x="11569" y="409"/>
                  </a:lnTo>
                  <a:lnTo>
                    <a:pt x="11565" y="394"/>
                  </a:lnTo>
                  <a:lnTo>
                    <a:pt x="11563" y="388"/>
                  </a:lnTo>
                  <a:lnTo>
                    <a:pt x="11560" y="381"/>
                  </a:lnTo>
                  <a:lnTo>
                    <a:pt x="11557" y="376"/>
                  </a:lnTo>
                  <a:lnTo>
                    <a:pt x="11554" y="372"/>
                  </a:lnTo>
                  <a:lnTo>
                    <a:pt x="11550" y="367"/>
                  </a:lnTo>
                  <a:lnTo>
                    <a:pt x="11545" y="364"/>
                  </a:lnTo>
                  <a:lnTo>
                    <a:pt x="11540" y="360"/>
                  </a:lnTo>
                  <a:lnTo>
                    <a:pt x="11535" y="358"/>
                  </a:lnTo>
                  <a:lnTo>
                    <a:pt x="11528" y="356"/>
                  </a:lnTo>
                  <a:lnTo>
                    <a:pt x="11522" y="354"/>
                  </a:lnTo>
                  <a:lnTo>
                    <a:pt x="11515" y="353"/>
                  </a:lnTo>
                  <a:lnTo>
                    <a:pt x="11507" y="353"/>
                  </a:lnTo>
                  <a:lnTo>
                    <a:pt x="11500" y="353"/>
                  </a:lnTo>
                  <a:lnTo>
                    <a:pt x="11494" y="354"/>
                  </a:lnTo>
                  <a:lnTo>
                    <a:pt x="11488" y="357"/>
                  </a:lnTo>
                  <a:lnTo>
                    <a:pt x="11482" y="359"/>
                  </a:lnTo>
                  <a:lnTo>
                    <a:pt x="11476" y="361"/>
                  </a:lnTo>
                  <a:lnTo>
                    <a:pt x="11471" y="365"/>
                  </a:lnTo>
                  <a:lnTo>
                    <a:pt x="11466" y="370"/>
                  </a:lnTo>
                  <a:lnTo>
                    <a:pt x="11461" y="374"/>
                  </a:lnTo>
                  <a:lnTo>
                    <a:pt x="11456" y="380"/>
                  </a:lnTo>
                  <a:lnTo>
                    <a:pt x="11453" y="386"/>
                  </a:lnTo>
                  <a:lnTo>
                    <a:pt x="11449" y="393"/>
                  </a:lnTo>
                  <a:lnTo>
                    <a:pt x="11446" y="401"/>
                  </a:lnTo>
                  <a:lnTo>
                    <a:pt x="11440" y="418"/>
                  </a:lnTo>
                  <a:lnTo>
                    <a:pt x="11435" y="438"/>
                  </a:lnTo>
                  <a:lnTo>
                    <a:pt x="11270" y="410"/>
                  </a:lnTo>
                  <a:lnTo>
                    <a:pt x="11274" y="389"/>
                  </a:lnTo>
                  <a:lnTo>
                    <a:pt x="11281" y="371"/>
                  </a:lnTo>
                  <a:lnTo>
                    <a:pt x="11288" y="353"/>
                  </a:lnTo>
                  <a:lnTo>
                    <a:pt x="11298" y="337"/>
                  </a:lnTo>
                  <a:lnTo>
                    <a:pt x="11308" y="323"/>
                  </a:lnTo>
                  <a:lnTo>
                    <a:pt x="11321" y="309"/>
                  </a:lnTo>
                  <a:lnTo>
                    <a:pt x="11334" y="297"/>
                  </a:lnTo>
                  <a:lnTo>
                    <a:pt x="11349" y="286"/>
                  </a:lnTo>
                  <a:lnTo>
                    <a:pt x="11365" y="276"/>
                  </a:lnTo>
                  <a:lnTo>
                    <a:pt x="11383" y="268"/>
                  </a:lnTo>
                  <a:lnTo>
                    <a:pt x="11402" y="261"/>
                  </a:lnTo>
                  <a:lnTo>
                    <a:pt x="11423" y="255"/>
                  </a:lnTo>
                  <a:lnTo>
                    <a:pt x="11445" y="250"/>
                  </a:lnTo>
                  <a:lnTo>
                    <a:pt x="11468" y="247"/>
                  </a:lnTo>
                  <a:lnTo>
                    <a:pt x="11493" y="246"/>
                  </a:lnTo>
                  <a:lnTo>
                    <a:pt x="11520" y="245"/>
                  </a:lnTo>
                  <a:lnTo>
                    <a:pt x="11549" y="246"/>
                  </a:lnTo>
                  <a:lnTo>
                    <a:pt x="11576" y="248"/>
                  </a:lnTo>
                  <a:lnTo>
                    <a:pt x="11601" y="251"/>
                  </a:lnTo>
                  <a:lnTo>
                    <a:pt x="11624" y="257"/>
                  </a:lnTo>
                  <a:lnTo>
                    <a:pt x="11646" y="264"/>
                  </a:lnTo>
                  <a:lnTo>
                    <a:pt x="11666" y="272"/>
                  </a:lnTo>
                  <a:lnTo>
                    <a:pt x="11683" y="283"/>
                  </a:lnTo>
                  <a:lnTo>
                    <a:pt x="11699" y="294"/>
                  </a:lnTo>
                  <a:lnTo>
                    <a:pt x="11715" y="307"/>
                  </a:lnTo>
                  <a:lnTo>
                    <a:pt x="11726" y="320"/>
                  </a:lnTo>
                  <a:lnTo>
                    <a:pt x="11737" y="334"/>
                  </a:lnTo>
                  <a:lnTo>
                    <a:pt x="11746" y="349"/>
                  </a:lnTo>
                  <a:lnTo>
                    <a:pt x="11752" y="364"/>
                  </a:lnTo>
                  <a:lnTo>
                    <a:pt x="11757" y="380"/>
                  </a:lnTo>
                  <a:lnTo>
                    <a:pt x="11760" y="396"/>
                  </a:lnTo>
                  <a:lnTo>
                    <a:pt x="11761" y="413"/>
                  </a:lnTo>
                  <a:lnTo>
                    <a:pt x="11761" y="424"/>
                  </a:lnTo>
                  <a:lnTo>
                    <a:pt x="11760" y="433"/>
                  </a:lnTo>
                  <a:lnTo>
                    <a:pt x="11757" y="442"/>
                  </a:lnTo>
                  <a:lnTo>
                    <a:pt x="11755" y="452"/>
                  </a:lnTo>
                  <a:lnTo>
                    <a:pt x="11752" y="461"/>
                  </a:lnTo>
                  <a:lnTo>
                    <a:pt x="11748" y="470"/>
                  </a:lnTo>
                  <a:lnTo>
                    <a:pt x="11743" y="478"/>
                  </a:lnTo>
                  <a:lnTo>
                    <a:pt x="11739" y="486"/>
                  </a:lnTo>
                  <a:lnTo>
                    <a:pt x="11733" y="495"/>
                  </a:lnTo>
                  <a:lnTo>
                    <a:pt x="11726" y="501"/>
                  </a:lnTo>
                  <a:lnTo>
                    <a:pt x="11718" y="508"/>
                  </a:lnTo>
                  <a:lnTo>
                    <a:pt x="11711" y="515"/>
                  </a:lnTo>
                  <a:lnTo>
                    <a:pt x="11702" y="522"/>
                  </a:lnTo>
                  <a:lnTo>
                    <a:pt x="11693" y="528"/>
                  </a:lnTo>
                  <a:lnTo>
                    <a:pt x="11682" y="534"/>
                  </a:lnTo>
                  <a:lnTo>
                    <a:pt x="11672" y="540"/>
                  </a:lnTo>
                  <a:lnTo>
                    <a:pt x="11684" y="545"/>
                  </a:lnTo>
                  <a:lnTo>
                    <a:pt x="11696" y="551"/>
                  </a:lnTo>
                  <a:lnTo>
                    <a:pt x="11708" y="558"/>
                  </a:lnTo>
                  <a:lnTo>
                    <a:pt x="11718" y="565"/>
                  </a:lnTo>
                  <a:lnTo>
                    <a:pt x="11727" y="572"/>
                  </a:lnTo>
                  <a:lnTo>
                    <a:pt x="11737" y="580"/>
                  </a:lnTo>
                  <a:lnTo>
                    <a:pt x="11743" y="588"/>
                  </a:lnTo>
                  <a:lnTo>
                    <a:pt x="11752" y="596"/>
                  </a:lnTo>
                  <a:lnTo>
                    <a:pt x="11757" y="604"/>
                  </a:lnTo>
                  <a:lnTo>
                    <a:pt x="11763" y="614"/>
                  </a:lnTo>
                  <a:lnTo>
                    <a:pt x="11767" y="624"/>
                  </a:lnTo>
                  <a:lnTo>
                    <a:pt x="11771" y="633"/>
                  </a:lnTo>
                  <a:lnTo>
                    <a:pt x="11774" y="644"/>
                  </a:lnTo>
                  <a:lnTo>
                    <a:pt x="11776" y="655"/>
                  </a:lnTo>
                  <a:lnTo>
                    <a:pt x="11777" y="666"/>
                  </a:lnTo>
                  <a:lnTo>
                    <a:pt x="11777" y="677"/>
                  </a:lnTo>
                  <a:lnTo>
                    <a:pt x="11777" y="696"/>
                  </a:lnTo>
                  <a:lnTo>
                    <a:pt x="11774" y="713"/>
                  </a:lnTo>
                  <a:lnTo>
                    <a:pt x="11769" y="731"/>
                  </a:lnTo>
                  <a:lnTo>
                    <a:pt x="11763" y="748"/>
                  </a:lnTo>
                  <a:lnTo>
                    <a:pt x="11754" y="764"/>
                  </a:lnTo>
                  <a:lnTo>
                    <a:pt x="11745" y="779"/>
                  </a:lnTo>
                  <a:lnTo>
                    <a:pt x="11732" y="794"/>
                  </a:lnTo>
                  <a:lnTo>
                    <a:pt x="11718" y="808"/>
                  </a:lnTo>
                  <a:lnTo>
                    <a:pt x="11710" y="815"/>
                  </a:lnTo>
                  <a:lnTo>
                    <a:pt x="11702" y="822"/>
                  </a:lnTo>
                  <a:lnTo>
                    <a:pt x="11694" y="828"/>
                  </a:lnTo>
                  <a:lnTo>
                    <a:pt x="11683" y="834"/>
                  </a:lnTo>
                  <a:lnTo>
                    <a:pt x="11674" y="838"/>
                  </a:lnTo>
                  <a:lnTo>
                    <a:pt x="11662" y="843"/>
                  </a:lnTo>
                  <a:lnTo>
                    <a:pt x="11651" y="847"/>
                  </a:lnTo>
                  <a:lnTo>
                    <a:pt x="11639" y="851"/>
                  </a:lnTo>
                  <a:lnTo>
                    <a:pt x="11614" y="857"/>
                  </a:lnTo>
                  <a:lnTo>
                    <a:pt x="11585" y="861"/>
                  </a:lnTo>
                  <a:lnTo>
                    <a:pt x="11555" y="864"/>
                  </a:lnTo>
                  <a:lnTo>
                    <a:pt x="11521" y="865"/>
                  </a:lnTo>
                  <a:lnTo>
                    <a:pt x="11499" y="864"/>
                  </a:lnTo>
                  <a:lnTo>
                    <a:pt x="11478" y="862"/>
                  </a:lnTo>
                  <a:lnTo>
                    <a:pt x="11457" y="860"/>
                  </a:lnTo>
                  <a:lnTo>
                    <a:pt x="11438" y="857"/>
                  </a:lnTo>
                  <a:lnTo>
                    <a:pt x="11419" y="852"/>
                  </a:lnTo>
                  <a:lnTo>
                    <a:pt x="11401" y="847"/>
                  </a:lnTo>
                  <a:lnTo>
                    <a:pt x="11384" y="840"/>
                  </a:lnTo>
                  <a:lnTo>
                    <a:pt x="11367" y="834"/>
                  </a:lnTo>
                  <a:lnTo>
                    <a:pt x="11359" y="829"/>
                  </a:lnTo>
                  <a:lnTo>
                    <a:pt x="11352" y="824"/>
                  </a:lnTo>
                  <a:lnTo>
                    <a:pt x="11344" y="819"/>
                  </a:lnTo>
                  <a:lnTo>
                    <a:pt x="11336" y="813"/>
                  </a:lnTo>
                  <a:lnTo>
                    <a:pt x="11322" y="799"/>
                  </a:lnTo>
                  <a:lnTo>
                    <a:pt x="11307" y="781"/>
                  </a:lnTo>
                  <a:lnTo>
                    <a:pt x="11294" y="763"/>
                  </a:lnTo>
                  <a:lnTo>
                    <a:pt x="11280" y="741"/>
                  </a:lnTo>
                  <a:lnTo>
                    <a:pt x="11268" y="717"/>
                  </a:lnTo>
                  <a:lnTo>
                    <a:pt x="11256" y="690"/>
                  </a:lnTo>
                  <a:lnTo>
                    <a:pt x="11416" y="665"/>
                  </a:lnTo>
                  <a:lnTo>
                    <a:pt x="11424" y="685"/>
                  </a:lnTo>
                  <a:lnTo>
                    <a:pt x="11433" y="704"/>
                  </a:lnTo>
                  <a:lnTo>
                    <a:pt x="11438" y="712"/>
                  </a:lnTo>
                  <a:lnTo>
                    <a:pt x="11444" y="719"/>
                  </a:lnTo>
                  <a:lnTo>
                    <a:pt x="11449" y="726"/>
                  </a:lnTo>
                  <a:lnTo>
                    <a:pt x="11455" y="732"/>
                  </a:lnTo>
                  <a:lnTo>
                    <a:pt x="11461" y="736"/>
                  </a:lnTo>
                  <a:lnTo>
                    <a:pt x="11468" y="741"/>
                  </a:lnTo>
                  <a:lnTo>
                    <a:pt x="11475" y="746"/>
                  </a:lnTo>
                  <a:lnTo>
                    <a:pt x="11482" y="748"/>
                  </a:lnTo>
                  <a:lnTo>
                    <a:pt x="11489" y="750"/>
                  </a:lnTo>
                  <a:lnTo>
                    <a:pt x="11497" y="753"/>
                  </a:lnTo>
                  <a:lnTo>
                    <a:pt x="11505" y="754"/>
                  </a:lnTo>
                  <a:lnTo>
                    <a:pt x="11513" y="754"/>
                  </a:lnTo>
                  <a:lnTo>
                    <a:pt x="11521" y="754"/>
                  </a:lnTo>
                  <a:lnTo>
                    <a:pt x="11528" y="753"/>
                  </a:lnTo>
                  <a:lnTo>
                    <a:pt x="11535" y="751"/>
                  </a:lnTo>
                  <a:lnTo>
                    <a:pt x="11542" y="749"/>
                  </a:lnTo>
                  <a:lnTo>
                    <a:pt x="11548" y="746"/>
                  </a:lnTo>
                  <a:lnTo>
                    <a:pt x="11554" y="742"/>
                  </a:lnTo>
                  <a:lnTo>
                    <a:pt x="11559" y="738"/>
                  </a:lnTo>
                  <a:lnTo>
                    <a:pt x="11565" y="733"/>
                  </a:lnTo>
                  <a:lnTo>
                    <a:pt x="11570" y="727"/>
                  </a:lnTo>
                  <a:lnTo>
                    <a:pt x="11574" y="721"/>
                  </a:lnTo>
                  <a:lnTo>
                    <a:pt x="11578" y="714"/>
                  </a:lnTo>
                  <a:lnTo>
                    <a:pt x="11580" y="707"/>
                  </a:lnTo>
                  <a:lnTo>
                    <a:pt x="11582" y="699"/>
                  </a:lnTo>
                  <a:lnTo>
                    <a:pt x="11585" y="691"/>
                  </a:lnTo>
                  <a:lnTo>
                    <a:pt x="11586" y="682"/>
                  </a:lnTo>
                  <a:lnTo>
                    <a:pt x="11586" y="673"/>
                  </a:lnTo>
                  <a:lnTo>
                    <a:pt x="11585" y="658"/>
                  </a:lnTo>
                  <a:lnTo>
                    <a:pt x="11582" y="646"/>
                  </a:lnTo>
                  <a:lnTo>
                    <a:pt x="11580" y="640"/>
                  </a:lnTo>
                  <a:lnTo>
                    <a:pt x="11577" y="636"/>
                  </a:lnTo>
                  <a:lnTo>
                    <a:pt x="11573" y="631"/>
                  </a:lnTo>
                  <a:lnTo>
                    <a:pt x="11570" y="626"/>
                  </a:lnTo>
                  <a:lnTo>
                    <a:pt x="11562" y="619"/>
                  </a:lnTo>
                  <a:lnTo>
                    <a:pt x="11552" y="615"/>
                  </a:lnTo>
                  <a:lnTo>
                    <a:pt x="11542" y="611"/>
                  </a:lnTo>
                  <a:lnTo>
                    <a:pt x="11532" y="609"/>
                  </a:lnTo>
                  <a:lnTo>
                    <a:pt x="11516" y="608"/>
                  </a:lnTo>
                  <a:lnTo>
                    <a:pt x="11497" y="607"/>
                  </a:lnTo>
                  <a:lnTo>
                    <a:pt x="11470" y="607"/>
                  </a:lnTo>
                  <a:lnTo>
                    <a:pt x="11438" y="607"/>
                  </a:lnTo>
                  <a:lnTo>
                    <a:pt x="11438" y="491"/>
                  </a:lnTo>
                  <a:close/>
                  <a:moveTo>
                    <a:pt x="10852" y="445"/>
                  </a:moveTo>
                  <a:lnTo>
                    <a:pt x="10675" y="430"/>
                  </a:lnTo>
                  <a:lnTo>
                    <a:pt x="10678" y="408"/>
                  </a:lnTo>
                  <a:lnTo>
                    <a:pt x="10685" y="388"/>
                  </a:lnTo>
                  <a:lnTo>
                    <a:pt x="10693" y="368"/>
                  </a:lnTo>
                  <a:lnTo>
                    <a:pt x="10702" y="351"/>
                  </a:lnTo>
                  <a:lnTo>
                    <a:pt x="10714" y="335"/>
                  </a:lnTo>
                  <a:lnTo>
                    <a:pt x="10728" y="320"/>
                  </a:lnTo>
                  <a:lnTo>
                    <a:pt x="10743" y="306"/>
                  </a:lnTo>
                  <a:lnTo>
                    <a:pt x="10760" y="293"/>
                  </a:lnTo>
                  <a:lnTo>
                    <a:pt x="10780" y="282"/>
                  </a:lnTo>
                  <a:lnTo>
                    <a:pt x="10800" y="272"/>
                  </a:lnTo>
                  <a:lnTo>
                    <a:pt x="10822" y="263"/>
                  </a:lnTo>
                  <a:lnTo>
                    <a:pt x="10844" y="257"/>
                  </a:lnTo>
                  <a:lnTo>
                    <a:pt x="10868" y="251"/>
                  </a:lnTo>
                  <a:lnTo>
                    <a:pt x="10892" y="248"/>
                  </a:lnTo>
                  <a:lnTo>
                    <a:pt x="10919" y="246"/>
                  </a:lnTo>
                  <a:lnTo>
                    <a:pt x="10946" y="245"/>
                  </a:lnTo>
                  <a:lnTo>
                    <a:pt x="10969" y="246"/>
                  </a:lnTo>
                  <a:lnTo>
                    <a:pt x="10991" y="247"/>
                  </a:lnTo>
                  <a:lnTo>
                    <a:pt x="11012" y="249"/>
                  </a:lnTo>
                  <a:lnTo>
                    <a:pt x="11031" y="253"/>
                  </a:lnTo>
                  <a:lnTo>
                    <a:pt x="11050" y="257"/>
                  </a:lnTo>
                  <a:lnTo>
                    <a:pt x="11066" y="263"/>
                  </a:lnTo>
                  <a:lnTo>
                    <a:pt x="11082" y="269"/>
                  </a:lnTo>
                  <a:lnTo>
                    <a:pt x="11097" y="277"/>
                  </a:lnTo>
                  <a:lnTo>
                    <a:pt x="11111" y="285"/>
                  </a:lnTo>
                  <a:lnTo>
                    <a:pt x="11124" y="293"/>
                  </a:lnTo>
                  <a:lnTo>
                    <a:pt x="11134" y="302"/>
                  </a:lnTo>
                  <a:lnTo>
                    <a:pt x="11144" y="312"/>
                  </a:lnTo>
                  <a:lnTo>
                    <a:pt x="11153" y="321"/>
                  </a:lnTo>
                  <a:lnTo>
                    <a:pt x="11160" y="330"/>
                  </a:lnTo>
                  <a:lnTo>
                    <a:pt x="11166" y="341"/>
                  </a:lnTo>
                  <a:lnTo>
                    <a:pt x="11169" y="351"/>
                  </a:lnTo>
                  <a:lnTo>
                    <a:pt x="11173" y="363"/>
                  </a:lnTo>
                  <a:lnTo>
                    <a:pt x="11176" y="375"/>
                  </a:lnTo>
                  <a:lnTo>
                    <a:pt x="11178" y="389"/>
                  </a:lnTo>
                  <a:lnTo>
                    <a:pt x="11181" y="405"/>
                  </a:lnTo>
                  <a:lnTo>
                    <a:pt x="11184" y="440"/>
                  </a:lnTo>
                  <a:lnTo>
                    <a:pt x="11184" y="482"/>
                  </a:lnTo>
                  <a:lnTo>
                    <a:pt x="11184" y="719"/>
                  </a:lnTo>
                  <a:lnTo>
                    <a:pt x="11185" y="769"/>
                  </a:lnTo>
                  <a:lnTo>
                    <a:pt x="11186" y="807"/>
                  </a:lnTo>
                  <a:lnTo>
                    <a:pt x="11189" y="822"/>
                  </a:lnTo>
                  <a:lnTo>
                    <a:pt x="11190" y="834"/>
                  </a:lnTo>
                  <a:lnTo>
                    <a:pt x="11192" y="844"/>
                  </a:lnTo>
                  <a:lnTo>
                    <a:pt x="11195" y="850"/>
                  </a:lnTo>
                  <a:lnTo>
                    <a:pt x="11022" y="850"/>
                  </a:lnTo>
                  <a:lnTo>
                    <a:pt x="11019" y="836"/>
                  </a:lnTo>
                  <a:lnTo>
                    <a:pt x="11015" y="816"/>
                  </a:lnTo>
                  <a:lnTo>
                    <a:pt x="11014" y="791"/>
                  </a:lnTo>
                  <a:lnTo>
                    <a:pt x="11013" y="759"/>
                  </a:lnTo>
                  <a:lnTo>
                    <a:pt x="11005" y="772"/>
                  </a:lnTo>
                  <a:lnTo>
                    <a:pt x="10997" y="784"/>
                  </a:lnTo>
                  <a:lnTo>
                    <a:pt x="10987" y="795"/>
                  </a:lnTo>
                  <a:lnTo>
                    <a:pt x="10978" y="806"/>
                  </a:lnTo>
                  <a:lnTo>
                    <a:pt x="10969" y="815"/>
                  </a:lnTo>
                  <a:lnTo>
                    <a:pt x="10958" y="823"/>
                  </a:lnTo>
                  <a:lnTo>
                    <a:pt x="10948" y="831"/>
                  </a:lnTo>
                  <a:lnTo>
                    <a:pt x="10936" y="838"/>
                  </a:lnTo>
                  <a:lnTo>
                    <a:pt x="10925" y="845"/>
                  </a:lnTo>
                  <a:lnTo>
                    <a:pt x="10912" y="850"/>
                  </a:lnTo>
                  <a:lnTo>
                    <a:pt x="10899" y="854"/>
                  </a:lnTo>
                  <a:lnTo>
                    <a:pt x="10887" y="858"/>
                  </a:lnTo>
                  <a:lnTo>
                    <a:pt x="10873" y="861"/>
                  </a:lnTo>
                  <a:lnTo>
                    <a:pt x="10859" y="864"/>
                  </a:lnTo>
                  <a:lnTo>
                    <a:pt x="10845" y="865"/>
                  </a:lnTo>
                  <a:lnTo>
                    <a:pt x="10830" y="865"/>
                  </a:lnTo>
                  <a:lnTo>
                    <a:pt x="10810" y="864"/>
                  </a:lnTo>
                  <a:lnTo>
                    <a:pt x="10792" y="862"/>
                  </a:lnTo>
                  <a:lnTo>
                    <a:pt x="10775" y="859"/>
                  </a:lnTo>
                  <a:lnTo>
                    <a:pt x="10758" y="854"/>
                  </a:lnTo>
                  <a:lnTo>
                    <a:pt x="10743" y="849"/>
                  </a:lnTo>
                  <a:lnTo>
                    <a:pt x="10728" y="842"/>
                  </a:lnTo>
                  <a:lnTo>
                    <a:pt x="10715" y="832"/>
                  </a:lnTo>
                  <a:lnTo>
                    <a:pt x="10702" y="823"/>
                  </a:lnTo>
                  <a:lnTo>
                    <a:pt x="10691" y="813"/>
                  </a:lnTo>
                  <a:lnTo>
                    <a:pt x="10680" y="800"/>
                  </a:lnTo>
                  <a:lnTo>
                    <a:pt x="10672" y="787"/>
                  </a:lnTo>
                  <a:lnTo>
                    <a:pt x="10665" y="772"/>
                  </a:lnTo>
                  <a:lnTo>
                    <a:pt x="10660" y="757"/>
                  </a:lnTo>
                  <a:lnTo>
                    <a:pt x="10656" y="740"/>
                  </a:lnTo>
                  <a:lnTo>
                    <a:pt x="10654" y="721"/>
                  </a:lnTo>
                  <a:lnTo>
                    <a:pt x="10653" y="703"/>
                  </a:lnTo>
                  <a:lnTo>
                    <a:pt x="10654" y="690"/>
                  </a:lnTo>
                  <a:lnTo>
                    <a:pt x="10654" y="678"/>
                  </a:lnTo>
                  <a:lnTo>
                    <a:pt x="10656" y="667"/>
                  </a:lnTo>
                  <a:lnTo>
                    <a:pt x="10657" y="655"/>
                  </a:lnTo>
                  <a:lnTo>
                    <a:pt x="10661" y="645"/>
                  </a:lnTo>
                  <a:lnTo>
                    <a:pt x="10663" y="635"/>
                  </a:lnTo>
                  <a:lnTo>
                    <a:pt x="10668" y="624"/>
                  </a:lnTo>
                  <a:lnTo>
                    <a:pt x="10671" y="615"/>
                  </a:lnTo>
                  <a:lnTo>
                    <a:pt x="10677" y="604"/>
                  </a:lnTo>
                  <a:lnTo>
                    <a:pt x="10682" y="596"/>
                  </a:lnTo>
                  <a:lnTo>
                    <a:pt x="10688" y="587"/>
                  </a:lnTo>
                  <a:lnTo>
                    <a:pt x="10694" y="579"/>
                  </a:lnTo>
                  <a:lnTo>
                    <a:pt x="10702" y="571"/>
                  </a:lnTo>
                  <a:lnTo>
                    <a:pt x="10709" y="563"/>
                  </a:lnTo>
                  <a:lnTo>
                    <a:pt x="10719" y="556"/>
                  </a:lnTo>
                  <a:lnTo>
                    <a:pt x="10728" y="549"/>
                  </a:lnTo>
                  <a:lnTo>
                    <a:pt x="10737" y="542"/>
                  </a:lnTo>
                  <a:lnTo>
                    <a:pt x="10748" y="536"/>
                  </a:lnTo>
                  <a:lnTo>
                    <a:pt x="10759" y="530"/>
                  </a:lnTo>
                  <a:lnTo>
                    <a:pt x="10772" y="525"/>
                  </a:lnTo>
                  <a:lnTo>
                    <a:pt x="10786" y="519"/>
                  </a:lnTo>
                  <a:lnTo>
                    <a:pt x="10800" y="514"/>
                  </a:lnTo>
                  <a:lnTo>
                    <a:pt x="10816" y="510"/>
                  </a:lnTo>
                  <a:lnTo>
                    <a:pt x="10832" y="505"/>
                  </a:lnTo>
                  <a:lnTo>
                    <a:pt x="10868" y="498"/>
                  </a:lnTo>
                  <a:lnTo>
                    <a:pt x="10907" y="492"/>
                  </a:lnTo>
                  <a:lnTo>
                    <a:pt x="10950" y="486"/>
                  </a:lnTo>
                  <a:lnTo>
                    <a:pt x="10998" y="484"/>
                  </a:lnTo>
                  <a:lnTo>
                    <a:pt x="10998" y="461"/>
                  </a:lnTo>
                  <a:lnTo>
                    <a:pt x="10997" y="433"/>
                  </a:lnTo>
                  <a:lnTo>
                    <a:pt x="10994" y="410"/>
                  </a:lnTo>
                  <a:lnTo>
                    <a:pt x="10992" y="400"/>
                  </a:lnTo>
                  <a:lnTo>
                    <a:pt x="10990" y="390"/>
                  </a:lnTo>
                  <a:lnTo>
                    <a:pt x="10987" y="383"/>
                  </a:lnTo>
                  <a:lnTo>
                    <a:pt x="10984" y="376"/>
                  </a:lnTo>
                  <a:lnTo>
                    <a:pt x="10980" y="372"/>
                  </a:lnTo>
                  <a:lnTo>
                    <a:pt x="10976" y="366"/>
                  </a:lnTo>
                  <a:lnTo>
                    <a:pt x="10970" y="363"/>
                  </a:lnTo>
                  <a:lnTo>
                    <a:pt x="10964" y="359"/>
                  </a:lnTo>
                  <a:lnTo>
                    <a:pt x="10957" y="357"/>
                  </a:lnTo>
                  <a:lnTo>
                    <a:pt x="10949" y="354"/>
                  </a:lnTo>
                  <a:lnTo>
                    <a:pt x="10941" y="353"/>
                  </a:lnTo>
                  <a:lnTo>
                    <a:pt x="10932" y="353"/>
                  </a:lnTo>
                  <a:lnTo>
                    <a:pt x="10922" y="353"/>
                  </a:lnTo>
                  <a:lnTo>
                    <a:pt x="10914" y="354"/>
                  </a:lnTo>
                  <a:lnTo>
                    <a:pt x="10906" y="357"/>
                  </a:lnTo>
                  <a:lnTo>
                    <a:pt x="10899" y="359"/>
                  </a:lnTo>
                  <a:lnTo>
                    <a:pt x="10892" y="363"/>
                  </a:lnTo>
                  <a:lnTo>
                    <a:pt x="10887" y="366"/>
                  </a:lnTo>
                  <a:lnTo>
                    <a:pt x="10881" y="371"/>
                  </a:lnTo>
                  <a:lnTo>
                    <a:pt x="10875" y="376"/>
                  </a:lnTo>
                  <a:lnTo>
                    <a:pt x="10870" y="382"/>
                  </a:lnTo>
                  <a:lnTo>
                    <a:pt x="10867" y="389"/>
                  </a:lnTo>
                  <a:lnTo>
                    <a:pt x="10862" y="396"/>
                  </a:lnTo>
                  <a:lnTo>
                    <a:pt x="10860" y="405"/>
                  </a:lnTo>
                  <a:lnTo>
                    <a:pt x="10856" y="413"/>
                  </a:lnTo>
                  <a:lnTo>
                    <a:pt x="10854" y="424"/>
                  </a:lnTo>
                  <a:lnTo>
                    <a:pt x="10853" y="434"/>
                  </a:lnTo>
                  <a:lnTo>
                    <a:pt x="10852" y="445"/>
                  </a:lnTo>
                  <a:close/>
                  <a:moveTo>
                    <a:pt x="10998" y="569"/>
                  </a:moveTo>
                  <a:lnTo>
                    <a:pt x="10978" y="571"/>
                  </a:lnTo>
                  <a:lnTo>
                    <a:pt x="10959" y="573"/>
                  </a:lnTo>
                  <a:lnTo>
                    <a:pt x="10942" y="577"/>
                  </a:lnTo>
                  <a:lnTo>
                    <a:pt x="10927" y="580"/>
                  </a:lnTo>
                  <a:lnTo>
                    <a:pt x="10913" y="585"/>
                  </a:lnTo>
                  <a:lnTo>
                    <a:pt x="10900" y="589"/>
                  </a:lnTo>
                  <a:lnTo>
                    <a:pt x="10889" y="594"/>
                  </a:lnTo>
                  <a:lnTo>
                    <a:pt x="10880" y="600"/>
                  </a:lnTo>
                  <a:lnTo>
                    <a:pt x="10871" y="607"/>
                  </a:lnTo>
                  <a:lnTo>
                    <a:pt x="10865" y="614"/>
                  </a:lnTo>
                  <a:lnTo>
                    <a:pt x="10859" y="623"/>
                  </a:lnTo>
                  <a:lnTo>
                    <a:pt x="10853" y="632"/>
                  </a:lnTo>
                  <a:lnTo>
                    <a:pt x="10849" y="643"/>
                  </a:lnTo>
                  <a:lnTo>
                    <a:pt x="10847" y="654"/>
                  </a:lnTo>
                  <a:lnTo>
                    <a:pt x="10845" y="667"/>
                  </a:lnTo>
                  <a:lnTo>
                    <a:pt x="10845" y="681"/>
                  </a:lnTo>
                  <a:lnTo>
                    <a:pt x="10846" y="698"/>
                  </a:lnTo>
                  <a:lnTo>
                    <a:pt x="10848" y="713"/>
                  </a:lnTo>
                  <a:lnTo>
                    <a:pt x="10851" y="720"/>
                  </a:lnTo>
                  <a:lnTo>
                    <a:pt x="10854" y="727"/>
                  </a:lnTo>
                  <a:lnTo>
                    <a:pt x="10856" y="732"/>
                  </a:lnTo>
                  <a:lnTo>
                    <a:pt x="10860" y="738"/>
                  </a:lnTo>
                  <a:lnTo>
                    <a:pt x="10865" y="742"/>
                  </a:lnTo>
                  <a:lnTo>
                    <a:pt x="10869" y="746"/>
                  </a:lnTo>
                  <a:lnTo>
                    <a:pt x="10875" y="749"/>
                  </a:lnTo>
                  <a:lnTo>
                    <a:pt x="10881" y="751"/>
                  </a:lnTo>
                  <a:lnTo>
                    <a:pt x="10887" y="754"/>
                  </a:lnTo>
                  <a:lnTo>
                    <a:pt x="10893" y="755"/>
                  </a:lnTo>
                  <a:lnTo>
                    <a:pt x="10900" y="756"/>
                  </a:lnTo>
                  <a:lnTo>
                    <a:pt x="10907" y="756"/>
                  </a:lnTo>
                  <a:lnTo>
                    <a:pt x="10917" y="756"/>
                  </a:lnTo>
                  <a:lnTo>
                    <a:pt x="10925" y="754"/>
                  </a:lnTo>
                  <a:lnTo>
                    <a:pt x="10933" y="751"/>
                  </a:lnTo>
                  <a:lnTo>
                    <a:pt x="10941" y="748"/>
                  </a:lnTo>
                  <a:lnTo>
                    <a:pt x="10948" y="743"/>
                  </a:lnTo>
                  <a:lnTo>
                    <a:pt x="10956" y="738"/>
                  </a:lnTo>
                  <a:lnTo>
                    <a:pt x="10963" y="731"/>
                  </a:lnTo>
                  <a:lnTo>
                    <a:pt x="10970" y="722"/>
                  </a:lnTo>
                  <a:lnTo>
                    <a:pt x="10977" y="713"/>
                  </a:lnTo>
                  <a:lnTo>
                    <a:pt x="10983" y="702"/>
                  </a:lnTo>
                  <a:lnTo>
                    <a:pt x="10987" y="689"/>
                  </a:lnTo>
                  <a:lnTo>
                    <a:pt x="10991" y="674"/>
                  </a:lnTo>
                  <a:lnTo>
                    <a:pt x="10994" y="658"/>
                  </a:lnTo>
                  <a:lnTo>
                    <a:pt x="10997" y="639"/>
                  </a:lnTo>
                  <a:lnTo>
                    <a:pt x="10998" y="619"/>
                  </a:lnTo>
                  <a:lnTo>
                    <a:pt x="10998" y="597"/>
                  </a:lnTo>
                  <a:lnTo>
                    <a:pt x="10998" y="569"/>
                  </a:lnTo>
                  <a:close/>
                  <a:moveTo>
                    <a:pt x="10014" y="51"/>
                  </a:moveTo>
                  <a:lnTo>
                    <a:pt x="10274" y="51"/>
                  </a:lnTo>
                  <a:lnTo>
                    <a:pt x="10303" y="52"/>
                  </a:lnTo>
                  <a:lnTo>
                    <a:pt x="10329" y="52"/>
                  </a:lnTo>
                  <a:lnTo>
                    <a:pt x="10355" y="55"/>
                  </a:lnTo>
                  <a:lnTo>
                    <a:pt x="10378" y="56"/>
                  </a:lnTo>
                  <a:lnTo>
                    <a:pt x="10401" y="58"/>
                  </a:lnTo>
                  <a:lnTo>
                    <a:pt x="10421" y="62"/>
                  </a:lnTo>
                  <a:lnTo>
                    <a:pt x="10439" y="65"/>
                  </a:lnTo>
                  <a:lnTo>
                    <a:pt x="10457" y="70"/>
                  </a:lnTo>
                  <a:lnTo>
                    <a:pt x="10473" y="74"/>
                  </a:lnTo>
                  <a:lnTo>
                    <a:pt x="10488" y="81"/>
                  </a:lnTo>
                  <a:lnTo>
                    <a:pt x="10503" y="88"/>
                  </a:lnTo>
                  <a:lnTo>
                    <a:pt x="10517" y="98"/>
                  </a:lnTo>
                  <a:lnTo>
                    <a:pt x="10530" y="109"/>
                  </a:lnTo>
                  <a:lnTo>
                    <a:pt x="10543" y="121"/>
                  </a:lnTo>
                  <a:lnTo>
                    <a:pt x="10555" y="135"/>
                  </a:lnTo>
                  <a:lnTo>
                    <a:pt x="10566" y="149"/>
                  </a:lnTo>
                  <a:lnTo>
                    <a:pt x="10576" y="165"/>
                  </a:lnTo>
                  <a:lnTo>
                    <a:pt x="10585" y="182"/>
                  </a:lnTo>
                  <a:lnTo>
                    <a:pt x="10594" y="199"/>
                  </a:lnTo>
                  <a:lnTo>
                    <a:pt x="10599" y="218"/>
                  </a:lnTo>
                  <a:lnTo>
                    <a:pt x="10604" y="238"/>
                  </a:lnTo>
                  <a:lnTo>
                    <a:pt x="10607" y="258"/>
                  </a:lnTo>
                  <a:lnTo>
                    <a:pt x="10610" y="279"/>
                  </a:lnTo>
                  <a:lnTo>
                    <a:pt x="10611" y="302"/>
                  </a:lnTo>
                  <a:lnTo>
                    <a:pt x="10610" y="323"/>
                  </a:lnTo>
                  <a:lnTo>
                    <a:pt x="10609" y="344"/>
                  </a:lnTo>
                  <a:lnTo>
                    <a:pt x="10605" y="364"/>
                  </a:lnTo>
                  <a:lnTo>
                    <a:pt x="10602" y="382"/>
                  </a:lnTo>
                  <a:lnTo>
                    <a:pt x="10597" y="401"/>
                  </a:lnTo>
                  <a:lnTo>
                    <a:pt x="10590" y="417"/>
                  </a:lnTo>
                  <a:lnTo>
                    <a:pt x="10583" y="433"/>
                  </a:lnTo>
                  <a:lnTo>
                    <a:pt x="10575" y="447"/>
                  </a:lnTo>
                  <a:lnTo>
                    <a:pt x="10566" y="461"/>
                  </a:lnTo>
                  <a:lnTo>
                    <a:pt x="10555" y="475"/>
                  </a:lnTo>
                  <a:lnTo>
                    <a:pt x="10545" y="486"/>
                  </a:lnTo>
                  <a:lnTo>
                    <a:pt x="10532" y="497"/>
                  </a:lnTo>
                  <a:lnTo>
                    <a:pt x="10519" y="507"/>
                  </a:lnTo>
                  <a:lnTo>
                    <a:pt x="10506" y="515"/>
                  </a:lnTo>
                  <a:lnTo>
                    <a:pt x="10492" y="523"/>
                  </a:lnTo>
                  <a:lnTo>
                    <a:pt x="10477" y="530"/>
                  </a:lnTo>
                  <a:lnTo>
                    <a:pt x="10459" y="536"/>
                  </a:lnTo>
                  <a:lnTo>
                    <a:pt x="10441" y="542"/>
                  </a:lnTo>
                  <a:lnTo>
                    <a:pt x="10420" y="547"/>
                  </a:lnTo>
                  <a:lnTo>
                    <a:pt x="10397" y="550"/>
                  </a:lnTo>
                  <a:lnTo>
                    <a:pt x="10371" y="552"/>
                  </a:lnTo>
                  <a:lnTo>
                    <a:pt x="10343" y="555"/>
                  </a:lnTo>
                  <a:lnTo>
                    <a:pt x="10314" y="556"/>
                  </a:lnTo>
                  <a:lnTo>
                    <a:pt x="10283" y="556"/>
                  </a:lnTo>
                  <a:lnTo>
                    <a:pt x="10213" y="556"/>
                  </a:lnTo>
                  <a:lnTo>
                    <a:pt x="10213" y="850"/>
                  </a:lnTo>
                  <a:lnTo>
                    <a:pt x="10014" y="850"/>
                  </a:lnTo>
                  <a:lnTo>
                    <a:pt x="10014" y="51"/>
                  </a:lnTo>
                  <a:close/>
                  <a:moveTo>
                    <a:pt x="10213" y="182"/>
                  </a:moveTo>
                  <a:lnTo>
                    <a:pt x="10213" y="418"/>
                  </a:lnTo>
                  <a:lnTo>
                    <a:pt x="10274" y="418"/>
                  </a:lnTo>
                  <a:lnTo>
                    <a:pt x="10294" y="418"/>
                  </a:lnTo>
                  <a:lnTo>
                    <a:pt x="10311" y="416"/>
                  </a:lnTo>
                  <a:lnTo>
                    <a:pt x="10327" y="413"/>
                  </a:lnTo>
                  <a:lnTo>
                    <a:pt x="10341" y="410"/>
                  </a:lnTo>
                  <a:lnTo>
                    <a:pt x="10353" y="405"/>
                  </a:lnTo>
                  <a:lnTo>
                    <a:pt x="10363" y="400"/>
                  </a:lnTo>
                  <a:lnTo>
                    <a:pt x="10372" y="393"/>
                  </a:lnTo>
                  <a:lnTo>
                    <a:pt x="10379" y="385"/>
                  </a:lnTo>
                  <a:lnTo>
                    <a:pt x="10384" y="376"/>
                  </a:lnTo>
                  <a:lnTo>
                    <a:pt x="10389" y="367"/>
                  </a:lnTo>
                  <a:lnTo>
                    <a:pt x="10393" y="357"/>
                  </a:lnTo>
                  <a:lnTo>
                    <a:pt x="10397" y="346"/>
                  </a:lnTo>
                  <a:lnTo>
                    <a:pt x="10399" y="336"/>
                  </a:lnTo>
                  <a:lnTo>
                    <a:pt x="10400" y="324"/>
                  </a:lnTo>
                  <a:lnTo>
                    <a:pt x="10401" y="312"/>
                  </a:lnTo>
                  <a:lnTo>
                    <a:pt x="10402" y="299"/>
                  </a:lnTo>
                  <a:lnTo>
                    <a:pt x="10401" y="287"/>
                  </a:lnTo>
                  <a:lnTo>
                    <a:pt x="10401" y="277"/>
                  </a:lnTo>
                  <a:lnTo>
                    <a:pt x="10400" y="268"/>
                  </a:lnTo>
                  <a:lnTo>
                    <a:pt x="10398" y="257"/>
                  </a:lnTo>
                  <a:lnTo>
                    <a:pt x="10395" y="249"/>
                  </a:lnTo>
                  <a:lnTo>
                    <a:pt x="10392" y="241"/>
                  </a:lnTo>
                  <a:lnTo>
                    <a:pt x="10389" y="233"/>
                  </a:lnTo>
                  <a:lnTo>
                    <a:pt x="10384" y="226"/>
                  </a:lnTo>
                  <a:lnTo>
                    <a:pt x="10375" y="213"/>
                  </a:lnTo>
                  <a:lnTo>
                    <a:pt x="10364" y="203"/>
                  </a:lnTo>
                  <a:lnTo>
                    <a:pt x="10360" y="198"/>
                  </a:lnTo>
                  <a:lnTo>
                    <a:pt x="10354" y="195"/>
                  </a:lnTo>
                  <a:lnTo>
                    <a:pt x="10348" y="192"/>
                  </a:lnTo>
                  <a:lnTo>
                    <a:pt x="10342" y="190"/>
                  </a:lnTo>
                  <a:lnTo>
                    <a:pt x="10328" y="187"/>
                  </a:lnTo>
                  <a:lnTo>
                    <a:pt x="10313" y="184"/>
                  </a:lnTo>
                  <a:lnTo>
                    <a:pt x="10295" y="182"/>
                  </a:lnTo>
                  <a:lnTo>
                    <a:pt x="10274" y="182"/>
                  </a:lnTo>
                  <a:lnTo>
                    <a:pt x="10213" y="182"/>
                  </a:lnTo>
                  <a:close/>
                  <a:moveTo>
                    <a:pt x="9142" y="260"/>
                  </a:moveTo>
                  <a:lnTo>
                    <a:pt x="9329" y="260"/>
                  </a:lnTo>
                  <a:lnTo>
                    <a:pt x="9329" y="485"/>
                  </a:lnTo>
                  <a:lnTo>
                    <a:pt x="9513" y="260"/>
                  </a:lnTo>
                  <a:lnTo>
                    <a:pt x="9683" y="260"/>
                  </a:lnTo>
                  <a:lnTo>
                    <a:pt x="9517" y="457"/>
                  </a:lnTo>
                  <a:lnTo>
                    <a:pt x="9701" y="850"/>
                  </a:lnTo>
                  <a:lnTo>
                    <a:pt x="9499" y="850"/>
                  </a:lnTo>
                  <a:lnTo>
                    <a:pt x="9396" y="577"/>
                  </a:lnTo>
                  <a:lnTo>
                    <a:pt x="9329" y="659"/>
                  </a:lnTo>
                  <a:lnTo>
                    <a:pt x="9329" y="850"/>
                  </a:lnTo>
                  <a:lnTo>
                    <a:pt x="9142" y="850"/>
                  </a:lnTo>
                  <a:lnTo>
                    <a:pt x="9142" y="260"/>
                  </a:lnTo>
                  <a:close/>
                  <a:moveTo>
                    <a:pt x="8495" y="850"/>
                  </a:moveTo>
                  <a:lnTo>
                    <a:pt x="8495" y="260"/>
                  </a:lnTo>
                  <a:lnTo>
                    <a:pt x="8682" y="260"/>
                  </a:lnTo>
                  <a:lnTo>
                    <a:pt x="8682" y="471"/>
                  </a:lnTo>
                  <a:lnTo>
                    <a:pt x="8830" y="471"/>
                  </a:lnTo>
                  <a:lnTo>
                    <a:pt x="8830" y="260"/>
                  </a:lnTo>
                  <a:lnTo>
                    <a:pt x="9016" y="260"/>
                  </a:lnTo>
                  <a:lnTo>
                    <a:pt x="9016" y="850"/>
                  </a:lnTo>
                  <a:lnTo>
                    <a:pt x="8830" y="850"/>
                  </a:lnTo>
                  <a:lnTo>
                    <a:pt x="8830" y="600"/>
                  </a:lnTo>
                  <a:lnTo>
                    <a:pt x="8682" y="600"/>
                  </a:lnTo>
                  <a:lnTo>
                    <a:pt x="8682" y="850"/>
                  </a:lnTo>
                  <a:lnTo>
                    <a:pt x="8495" y="850"/>
                  </a:lnTo>
                  <a:close/>
                  <a:moveTo>
                    <a:pt x="8035" y="445"/>
                  </a:moveTo>
                  <a:lnTo>
                    <a:pt x="7858" y="430"/>
                  </a:lnTo>
                  <a:lnTo>
                    <a:pt x="7863" y="408"/>
                  </a:lnTo>
                  <a:lnTo>
                    <a:pt x="7869" y="388"/>
                  </a:lnTo>
                  <a:lnTo>
                    <a:pt x="7877" y="368"/>
                  </a:lnTo>
                  <a:lnTo>
                    <a:pt x="7886" y="351"/>
                  </a:lnTo>
                  <a:lnTo>
                    <a:pt x="7898" y="335"/>
                  </a:lnTo>
                  <a:lnTo>
                    <a:pt x="7911" y="320"/>
                  </a:lnTo>
                  <a:lnTo>
                    <a:pt x="7928" y="306"/>
                  </a:lnTo>
                  <a:lnTo>
                    <a:pt x="7945" y="293"/>
                  </a:lnTo>
                  <a:lnTo>
                    <a:pt x="7964" y="282"/>
                  </a:lnTo>
                  <a:lnTo>
                    <a:pt x="7983" y="272"/>
                  </a:lnTo>
                  <a:lnTo>
                    <a:pt x="8005" y="263"/>
                  </a:lnTo>
                  <a:lnTo>
                    <a:pt x="8027" y="257"/>
                  </a:lnTo>
                  <a:lnTo>
                    <a:pt x="8052" y="251"/>
                  </a:lnTo>
                  <a:lnTo>
                    <a:pt x="8076" y="248"/>
                  </a:lnTo>
                  <a:lnTo>
                    <a:pt x="8103" y="246"/>
                  </a:lnTo>
                  <a:lnTo>
                    <a:pt x="8129" y="245"/>
                  </a:lnTo>
                  <a:lnTo>
                    <a:pt x="8152" y="246"/>
                  </a:lnTo>
                  <a:lnTo>
                    <a:pt x="8174" y="247"/>
                  </a:lnTo>
                  <a:lnTo>
                    <a:pt x="8195" y="249"/>
                  </a:lnTo>
                  <a:lnTo>
                    <a:pt x="8215" y="253"/>
                  </a:lnTo>
                  <a:lnTo>
                    <a:pt x="8233" y="257"/>
                  </a:lnTo>
                  <a:lnTo>
                    <a:pt x="8251" y="263"/>
                  </a:lnTo>
                  <a:lnTo>
                    <a:pt x="8267" y="269"/>
                  </a:lnTo>
                  <a:lnTo>
                    <a:pt x="8281" y="277"/>
                  </a:lnTo>
                  <a:lnTo>
                    <a:pt x="8295" y="285"/>
                  </a:lnTo>
                  <a:lnTo>
                    <a:pt x="8307" y="293"/>
                  </a:lnTo>
                  <a:lnTo>
                    <a:pt x="8318" y="302"/>
                  </a:lnTo>
                  <a:lnTo>
                    <a:pt x="8328" y="312"/>
                  </a:lnTo>
                  <a:lnTo>
                    <a:pt x="8336" y="321"/>
                  </a:lnTo>
                  <a:lnTo>
                    <a:pt x="8343" y="330"/>
                  </a:lnTo>
                  <a:lnTo>
                    <a:pt x="8349" y="341"/>
                  </a:lnTo>
                  <a:lnTo>
                    <a:pt x="8354" y="351"/>
                  </a:lnTo>
                  <a:lnTo>
                    <a:pt x="8357" y="363"/>
                  </a:lnTo>
                  <a:lnTo>
                    <a:pt x="8360" y="375"/>
                  </a:lnTo>
                  <a:lnTo>
                    <a:pt x="8363" y="389"/>
                  </a:lnTo>
                  <a:lnTo>
                    <a:pt x="8365" y="405"/>
                  </a:lnTo>
                  <a:lnTo>
                    <a:pt x="8368" y="440"/>
                  </a:lnTo>
                  <a:lnTo>
                    <a:pt x="8369" y="482"/>
                  </a:lnTo>
                  <a:lnTo>
                    <a:pt x="8369" y="719"/>
                  </a:lnTo>
                  <a:lnTo>
                    <a:pt x="8369" y="769"/>
                  </a:lnTo>
                  <a:lnTo>
                    <a:pt x="8371" y="807"/>
                  </a:lnTo>
                  <a:lnTo>
                    <a:pt x="8372" y="822"/>
                  </a:lnTo>
                  <a:lnTo>
                    <a:pt x="8374" y="834"/>
                  </a:lnTo>
                  <a:lnTo>
                    <a:pt x="8376" y="844"/>
                  </a:lnTo>
                  <a:lnTo>
                    <a:pt x="8378" y="850"/>
                  </a:lnTo>
                  <a:lnTo>
                    <a:pt x="8206" y="850"/>
                  </a:lnTo>
                  <a:lnTo>
                    <a:pt x="8202" y="836"/>
                  </a:lnTo>
                  <a:lnTo>
                    <a:pt x="8200" y="816"/>
                  </a:lnTo>
                  <a:lnTo>
                    <a:pt x="8197" y="791"/>
                  </a:lnTo>
                  <a:lnTo>
                    <a:pt x="8197" y="759"/>
                  </a:lnTo>
                  <a:lnTo>
                    <a:pt x="8189" y="772"/>
                  </a:lnTo>
                  <a:lnTo>
                    <a:pt x="8180" y="784"/>
                  </a:lnTo>
                  <a:lnTo>
                    <a:pt x="8172" y="795"/>
                  </a:lnTo>
                  <a:lnTo>
                    <a:pt x="8163" y="806"/>
                  </a:lnTo>
                  <a:lnTo>
                    <a:pt x="8152" y="815"/>
                  </a:lnTo>
                  <a:lnTo>
                    <a:pt x="8142" y="823"/>
                  </a:lnTo>
                  <a:lnTo>
                    <a:pt x="8131" y="831"/>
                  </a:lnTo>
                  <a:lnTo>
                    <a:pt x="8120" y="838"/>
                  </a:lnTo>
                  <a:lnTo>
                    <a:pt x="8108" y="845"/>
                  </a:lnTo>
                  <a:lnTo>
                    <a:pt x="8097" y="850"/>
                  </a:lnTo>
                  <a:lnTo>
                    <a:pt x="8084" y="854"/>
                  </a:lnTo>
                  <a:lnTo>
                    <a:pt x="8070" y="858"/>
                  </a:lnTo>
                  <a:lnTo>
                    <a:pt x="8057" y="861"/>
                  </a:lnTo>
                  <a:lnTo>
                    <a:pt x="8043" y="864"/>
                  </a:lnTo>
                  <a:lnTo>
                    <a:pt x="8028" y="865"/>
                  </a:lnTo>
                  <a:lnTo>
                    <a:pt x="8013" y="865"/>
                  </a:lnTo>
                  <a:lnTo>
                    <a:pt x="7995" y="864"/>
                  </a:lnTo>
                  <a:lnTo>
                    <a:pt x="7976" y="862"/>
                  </a:lnTo>
                  <a:lnTo>
                    <a:pt x="7959" y="859"/>
                  </a:lnTo>
                  <a:lnTo>
                    <a:pt x="7943" y="854"/>
                  </a:lnTo>
                  <a:lnTo>
                    <a:pt x="7926" y="849"/>
                  </a:lnTo>
                  <a:lnTo>
                    <a:pt x="7913" y="842"/>
                  </a:lnTo>
                  <a:lnTo>
                    <a:pt x="7899" y="832"/>
                  </a:lnTo>
                  <a:lnTo>
                    <a:pt x="7886" y="823"/>
                  </a:lnTo>
                  <a:lnTo>
                    <a:pt x="7874" y="813"/>
                  </a:lnTo>
                  <a:lnTo>
                    <a:pt x="7865" y="800"/>
                  </a:lnTo>
                  <a:lnTo>
                    <a:pt x="7856" y="787"/>
                  </a:lnTo>
                  <a:lnTo>
                    <a:pt x="7849" y="772"/>
                  </a:lnTo>
                  <a:lnTo>
                    <a:pt x="7844" y="757"/>
                  </a:lnTo>
                  <a:lnTo>
                    <a:pt x="7840" y="740"/>
                  </a:lnTo>
                  <a:lnTo>
                    <a:pt x="7837" y="721"/>
                  </a:lnTo>
                  <a:lnTo>
                    <a:pt x="7837" y="703"/>
                  </a:lnTo>
                  <a:lnTo>
                    <a:pt x="7837" y="690"/>
                  </a:lnTo>
                  <a:lnTo>
                    <a:pt x="7838" y="678"/>
                  </a:lnTo>
                  <a:lnTo>
                    <a:pt x="7840" y="667"/>
                  </a:lnTo>
                  <a:lnTo>
                    <a:pt x="7842" y="655"/>
                  </a:lnTo>
                  <a:lnTo>
                    <a:pt x="7844" y="645"/>
                  </a:lnTo>
                  <a:lnTo>
                    <a:pt x="7848" y="635"/>
                  </a:lnTo>
                  <a:lnTo>
                    <a:pt x="7851" y="624"/>
                  </a:lnTo>
                  <a:lnTo>
                    <a:pt x="7856" y="615"/>
                  </a:lnTo>
                  <a:lnTo>
                    <a:pt x="7860" y="604"/>
                  </a:lnTo>
                  <a:lnTo>
                    <a:pt x="7866" y="596"/>
                  </a:lnTo>
                  <a:lnTo>
                    <a:pt x="7872" y="587"/>
                  </a:lnTo>
                  <a:lnTo>
                    <a:pt x="7879" y="579"/>
                  </a:lnTo>
                  <a:lnTo>
                    <a:pt x="7886" y="571"/>
                  </a:lnTo>
                  <a:lnTo>
                    <a:pt x="7894" y="563"/>
                  </a:lnTo>
                  <a:lnTo>
                    <a:pt x="7902" y="556"/>
                  </a:lnTo>
                  <a:lnTo>
                    <a:pt x="7911" y="549"/>
                  </a:lnTo>
                  <a:lnTo>
                    <a:pt x="7921" y="542"/>
                  </a:lnTo>
                  <a:lnTo>
                    <a:pt x="7931" y="536"/>
                  </a:lnTo>
                  <a:lnTo>
                    <a:pt x="7944" y="530"/>
                  </a:lnTo>
                  <a:lnTo>
                    <a:pt x="7955" y="525"/>
                  </a:lnTo>
                  <a:lnTo>
                    <a:pt x="7969" y="519"/>
                  </a:lnTo>
                  <a:lnTo>
                    <a:pt x="7984" y="514"/>
                  </a:lnTo>
                  <a:lnTo>
                    <a:pt x="7999" y="510"/>
                  </a:lnTo>
                  <a:lnTo>
                    <a:pt x="8016" y="505"/>
                  </a:lnTo>
                  <a:lnTo>
                    <a:pt x="8052" y="498"/>
                  </a:lnTo>
                  <a:lnTo>
                    <a:pt x="8091" y="492"/>
                  </a:lnTo>
                  <a:lnTo>
                    <a:pt x="8135" y="486"/>
                  </a:lnTo>
                  <a:lnTo>
                    <a:pt x="8181" y="484"/>
                  </a:lnTo>
                  <a:lnTo>
                    <a:pt x="8181" y="461"/>
                  </a:lnTo>
                  <a:lnTo>
                    <a:pt x="8181" y="433"/>
                  </a:lnTo>
                  <a:lnTo>
                    <a:pt x="8179" y="410"/>
                  </a:lnTo>
                  <a:lnTo>
                    <a:pt x="8177" y="400"/>
                  </a:lnTo>
                  <a:lnTo>
                    <a:pt x="8174" y="390"/>
                  </a:lnTo>
                  <a:lnTo>
                    <a:pt x="8171" y="383"/>
                  </a:lnTo>
                  <a:lnTo>
                    <a:pt x="8169" y="376"/>
                  </a:lnTo>
                  <a:lnTo>
                    <a:pt x="8164" y="372"/>
                  </a:lnTo>
                  <a:lnTo>
                    <a:pt x="8159" y="366"/>
                  </a:lnTo>
                  <a:lnTo>
                    <a:pt x="8155" y="363"/>
                  </a:lnTo>
                  <a:lnTo>
                    <a:pt x="8148" y="359"/>
                  </a:lnTo>
                  <a:lnTo>
                    <a:pt x="8141" y="357"/>
                  </a:lnTo>
                  <a:lnTo>
                    <a:pt x="8133" y="354"/>
                  </a:lnTo>
                  <a:lnTo>
                    <a:pt x="8125" y="353"/>
                  </a:lnTo>
                  <a:lnTo>
                    <a:pt x="8115" y="353"/>
                  </a:lnTo>
                  <a:lnTo>
                    <a:pt x="8106" y="353"/>
                  </a:lnTo>
                  <a:lnTo>
                    <a:pt x="8098" y="354"/>
                  </a:lnTo>
                  <a:lnTo>
                    <a:pt x="8091" y="357"/>
                  </a:lnTo>
                  <a:lnTo>
                    <a:pt x="8083" y="359"/>
                  </a:lnTo>
                  <a:lnTo>
                    <a:pt x="8076" y="363"/>
                  </a:lnTo>
                  <a:lnTo>
                    <a:pt x="8070" y="366"/>
                  </a:lnTo>
                  <a:lnTo>
                    <a:pt x="8064" y="371"/>
                  </a:lnTo>
                  <a:lnTo>
                    <a:pt x="8060" y="376"/>
                  </a:lnTo>
                  <a:lnTo>
                    <a:pt x="8055" y="382"/>
                  </a:lnTo>
                  <a:lnTo>
                    <a:pt x="8050" y="389"/>
                  </a:lnTo>
                  <a:lnTo>
                    <a:pt x="8047" y="396"/>
                  </a:lnTo>
                  <a:lnTo>
                    <a:pt x="8043" y="405"/>
                  </a:lnTo>
                  <a:lnTo>
                    <a:pt x="8041" y="413"/>
                  </a:lnTo>
                  <a:lnTo>
                    <a:pt x="8039" y="424"/>
                  </a:lnTo>
                  <a:lnTo>
                    <a:pt x="8037" y="434"/>
                  </a:lnTo>
                  <a:lnTo>
                    <a:pt x="8035" y="445"/>
                  </a:lnTo>
                  <a:close/>
                  <a:moveTo>
                    <a:pt x="8181" y="569"/>
                  </a:moveTo>
                  <a:lnTo>
                    <a:pt x="8162" y="571"/>
                  </a:lnTo>
                  <a:lnTo>
                    <a:pt x="8143" y="573"/>
                  </a:lnTo>
                  <a:lnTo>
                    <a:pt x="8127" y="577"/>
                  </a:lnTo>
                  <a:lnTo>
                    <a:pt x="8111" y="580"/>
                  </a:lnTo>
                  <a:lnTo>
                    <a:pt x="8097" y="585"/>
                  </a:lnTo>
                  <a:lnTo>
                    <a:pt x="8084" y="589"/>
                  </a:lnTo>
                  <a:lnTo>
                    <a:pt x="8074" y="594"/>
                  </a:lnTo>
                  <a:lnTo>
                    <a:pt x="8064" y="600"/>
                  </a:lnTo>
                  <a:lnTo>
                    <a:pt x="8055" y="607"/>
                  </a:lnTo>
                  <a:lnTo>
                    <a:pt x="8048" y="614"/>
                  </a:lnTo>
                  <a:lnTo>
                    <a:pt x="8042" y="623"/>
                  </a:lnTo>
                  <a:lnTo>
                    <a:pt x="8038" y="632"/>
                  </a:lnTo>
                  <a:lnTo>
                    <a:pt x="8033" y="643"/>
                  </a:lnTo>
                  <a:lnTo>
                    <a:pt x="8031" y="654"/>
                  </a:lnTo>
                  <a:lnTo>
                    <a:pt x="8030" y="667"/>
                  </a:lnTo>
                  <a:lnTo>
                    <a:pt x="8028" y="681"/>
                  </a:lnTo>
                  <a:lnTo>
                    <a:pt x="8030" y="698"/>
                  </a:lnTo>
                  <a:lnTo>
                    <a:pt x="8033" y="713"/>
                  </a:lnTo>
                  <a:lnTo>
                    <a:pt x="8034" y="720"/>
                  </a:lnTo>
                  <a:lnTo>
                    <a:pt x="8038" y="727"/>
                  </a:lnTo>
                  <a:lnTo>
                    <a:pt x="8041" y="732"/>
                  </a:lnTo>
                  <a:lnTo>
                    <a:pt x="8045" y="738"/>
                  </a:lnTo>
                  <a:lnTo>
                    <a:pt x="8048" y="742"/>
                  </a:lnTo>
                  <a:lnTo>
                    <a:pt x="8053" y="746"/>
                  </a:lnTo>
                  <a:lnTo>
                    <a:pt x="8059" y="749"/>
                  </a:lnTo>
                  <a:lnTo>
                    <a:pt x="8064" y="751"/>
                  </a:lnTo>
                  <a:lnTo>
                    <a:pt x="8070" y="754"/>
                  </a:lnTo>
                  <a:lnTo>
                    <a:pt x="8077" y="755"/>
                  </a:lnTo>
                  <a:lnTo>
                    <a:pt x="8084" y="756"/>
                  </a:lnTo>
                  <a:lnTo>
                    <a:pt x="8092" y="756"/>
                  </a:lnTo>
                  <a:lnTo>
                    <a:pt x="8100" y="756"/>
                  </a:lnTo>
                  <a:lnTo>
                    <a:pt x="8108" y="754"/>
                  </a:lnTo>
                  <a:lnTo>
                    <a:pt x="8116" y="751"/>
                  </a:lnTo>
                  <a:lnTo>
                    <a:pt x="8125" y="748"/>
                  </a:lnTo>
                  <a:lnTo>
                    <a:pt x="8133" y="743"/>
                  </a:lnTo>
                  <a:lnTo>
                    <a:pt x="8140" y="738"/>
                  </a:lnTo>
                  <a:lnTo>
                    <a:pt x="8147" y="731"/>
                  </a:lnTo>
                  <a:lnTo>
                    <a:pt x="8153" y="722"/>
                  </a:lnTo>
                  <a:lnTo>
                    <a:pt x="8160" y="713"/>
                  </a:lnTo>
                  <a:lnTo>
                    <a:pt x="8166" y="702"/>
                  </a:lnTo>
                  <a:lnTo>
                    <a:pt x="8171" y="689"/>
                  </a:lnTo>
                  <a:lnTo>
                    <a:pt x="8174" y="674"/>
                  </a:lnTo>
                  <a:lnTo>
                    <a:pt x="8178" y="658"/>
                  </a:lnTo>
                  <a:lnTo>
                    <a:pt x="8180" y="639"/>
                  </a:lnTo>
                  <a:lnTo>
                    <a:pt x="8181" y="619"/>
                  </a:lnTo>
                  <a:lnTo>
                    <a:pt x="8181" y="597"/>
                  </a:lnTo>
                  <a:lnTo>
                    <a:pt x="8181" y="569"/>
                  </a:lnTo>
                  <a:close/>
                  <a:moveTo>
                    <a:pt x="7162" y="51"/>
                  </a:moveTo>
                  <a:lnTo>
                    <a:pt x="7675" y="51"/>
                  </a:lnTo>
                  <a:lnTo>
                    <a:pt x="7675" y="189"/>
                  </a:lnTo>
                  <a:lnTo>
                    <a:pt x="7361" y="189"/>
                  </a:lnTo>
                  <a:lnTo>
                    <a:pt x="7361" y="346"/>
                  </a:lnTo>
                  <a:lnTo>
                    <a:pt x="7431" y="346"/>
                  </a:lnTo>
                  <a:lnTo>
                    <a:pt x="7475" y="348"/>
                  </a:lnTo>
                  <a:lnTo>
                    <a:pt x="7515" y="350"/>
                  </a:lnTo>
                  <a:lnTo>
                    <a:pt x="7535" y="352"/>
                  </a:lnTo>
                  <a:lnTo>
                    <a:pt x="7554" y="356"/>
                  </a:lnTo>
                  <a:lnTo>
                    <a:pt x="7571" y="359"/>
                  </a:lnTo>
                  <a:lnTo>
                    <a:pt x="7587" y="363"/>
                  </a:lnTo>
                  <a:lnTo>
                    <a:pt x="7602" y="367"/>
                  </a:lnTo>
                  <a:lnTo>
                    <a:pt x="7617" y="372"/>
                  </a:lnTo>
                  <a:lnTo>
                    <a:pt x="7631" y="378"/>
                  </a:lnTo>
                  <a:lnTo>
                    <a:pt x="7644" y="383"/>
                  </a:lnTo>
                  <a:lnTo>
                    <a:pt x="7657" y="389"/>
                  </a:lnTo>
                  <a:lnTo>
                    <a:pt x="7667" y="396"/>
                  </a:lnTo>
                  <a:lnTo>
                    <a:pt x="7678" y="404"/>
                  </a:lnTo>
                  <a:lnTo>
                    <a:pt x="7687" y="411"/>
                  </a:lnTo>
                  <a:lnTo>
                    <a:pt x="7696" y="420"/>
                  </a:lnTo>
                  <a:lnTo>
                    <a:pt x="7704" y="429"/>
                  </a:lnTo>
                  <a:lnTo>
                    <a:pt x="7711" y="438"/>
                  </a:lnTo>
                  <a:lnTo>
                    <a:pt x="7718" y="448"/>
                  </a:lnTo>
                  <a:lnTo>
                    <a:pt x="7725" y="459"/>
                  </a:lnTo>
                  <a:lnTo>
                    <a:pt x="7731" y="469"/>
                  </a:lnTo>
                  <a:lnTo>
                    <a:pt x="7737" y="481"/>
                  </a:lnTo>
                  <a:lnTo>
                    <a:pt x="7741" y="492"/>
                  </a:lnTo>
                  <a:lnTo>
                    <a:pt x="7745" y="504"/>
                  </a:lnTo>
                  <a:lnTo>
                    <a:pt x="7748" y="516"/>
                  </a:lnTo>
                  <a:lnTo>
                    <a:pt x="7752" y="530"/>
                  </a:lnTo>
                  <a:lnTo>
                    <a:pt x="7754" y="543"/>
                  </a:lnTo>
                  <a:lnTo>
                    <a:pt x="7756" y="557"/>
                  </a:lnTo>
                  <a:lnTo>
                    <a:pt x="7757" y="572"/>
                  </a:lnTo>
                  <a:lnTo>
                    <a:pt x="7759" y="587"/>
                  </a:lnTo>
                  <a:lnTo>
                    <a:pt x="7759" y="602"/>
                  </a:lnTo>
                  <a:lnTo>
                    <a:pt x="7757" y="625"/>
                  </a:lnTo>
                  <a:lnTo>
                    <a:pt x="7756" y="647"/>
                  </a:lnTo>
                  <a:lnTo>
                    <a:pt x="7752" y="669"/>
                  </a:lnTo>
                  <a:lnTo>
                    <a:pt x="7747" y="689"/>
                  </a:lnTo>
                  <a:lnTo>
                    <a:pt x="7740" y="707"/>
                  </a:lnTo>
                  <a:lnTo>
                    <a:pt x="7732" y="726"/>
                  </a:lnTo>
                  <a:lnTo>
                    <a:pt x="7722" y="742"/>
                  </a:lnTo>
                  <a:lnTo>
                    <a:pt x="7711" y="758"/>
                  </a:lnTo>
                  <a:lnTo>
                    <a:pt x="7698" y="772"/>
                  </a:lnTo>
                  <a:lnTo>
                    <a:pt x="7686" y="786"/>
                  </a:lnTo>
                  <a:lnTo>
                    <a:pt x="7673" y="798"/>
                  </a:lnTo>
                  <a:lnTo>
                    <a:pt x="7659" y="807"/>
                  </a:lnTo>
                  <a:lnTo>
                    <a:pt x="7645" y="816"/>
                  </a:lnTo>
                  <a:lnTo>
                    <a:pt x="7630" y="824"/>
                  </a:lnTo>
                  <a:lnTo>
                    <a:pt x="7615" y="830"/>
                  </a:lnTo>
                  <a:lnTo>
                    <a:pt x="7599" y="835"/>
                  </a:lnTo>
                  <a:lnTo>
                    <a:pt x="7583" y="838"/>
                  </a:lnTo>
                  <a:lnTo>
                    <a:pt x="7564" y="842"/>
                  </a:lnTo>
                  <a:lnTo>
                    <a:pt x="7544" y="844"/>
                  </a:lnTo>
                  <a:lnTo>
                    <a:pt x="7522" y="846"/>
                  </a:lnTo>
                  <a:lnTo>
                    <a:pt x="7499" y="849"/>
                  </a:lnTo>
                  <a:lnTo>
                    <a:pt x="7475" y="850"/>
                  </a:lnTo>
                  <a:lnTo>
                    <a:pt x="7449" y="850"/>
                  </a:lnTo>
                  <a:lnTo>
                    <a:pt x="7422" y="850"/>
                  </a:lnTo>
                  <a:lnTo>
                    <a:pt x="7162" y="850"/>
                  </a:lnTo>
                  <a:lnTo>
                    <a:pt x="7162" y="51"/>
                  </a:lnTo>
                  <a:close/>
                  <a:moveTo>
                    <a:pt x="7361" y="484"/>
                  </a:moveTo>
                  <a:lnTo>
                    <a:pt x="7361" y="713"/>
                  </a:lnTo>
                  <a:lnTo>
                    <a:pt x="7423" y="713"/>
                  </a:lnTo>
                  <a:lnTo>
                    <a:pt x="7439" y="712"/>
                  </a:lnTo>
                  <a:lnTo>
                    <a:pt x="7454" y="711"/>
                  </a:lnTo>
                  <a:lnTo>
                    <a:pt x="7468" y="710"/>
                  </a:lnTo>
                  <a:lnTo>
                    <a:pt x="7479" y="706"/>
                  </a:lnTo>
                  <a:lnTo>
                    <a:pt x="7491" y="703"/>
                  </a:lnTo>
                  <a:lnTo>
                    <a:pt x="7501" y="698"/>
                  </a:lnTo>
                  <a:lnTo>
                    <a:pt x="7512" y="694"/>
                  </a:lnTo>
                  <a:lnTo>
                    <a:pt x="7520" y="688"/>
                  </a:lnTo>
                  <a:lnTo>
                    <a:pt x="7527" y="681"/>
                  </a:lnTo>
                  <a:lnTo>
                    <a:pt x="7533" y="673"/>
                  </a:lnTo>
                  <a:lnTo>
                    <a:pt x="7539" y="663"/>
                  </a:lnTo>
                  <a:lnTo>
                    <a:pt x="7543" y="653"/>
                  </a:lnTo>
                  <a:lnTo>
                    <a:pt x="7545" y="641"/>
                  </a:lnTo>
                  <a:lnTo>
                    <a:pt x="7549" y="630"/>
                  </a:lnTo>
                  <a:lnTo>
                    <a:pt x="7550" y="616"/>
                  </a:lnTo>
                  <a:lnTo>
                    <a:pt x="7550" y="601"/>
                  </a:lnTo>
                  <a:lnTo>
                    <a:pt x="7550" y="588"/>
                  </a:lnTo>
                  <a:lnTo>
                    <a:pt x="7549" y="576"/>
                  </a:lnTo>
                  <a:lnTo>
                    <a:pt x="7547" y="564"/>
                  </a:lnTo>
                  <a:lnTo>
                    <a:pt x="7544" y="552"/>
                  </a:lnTo>
                  <a:lnTo>
                    <a:pt x="7541" y="543"/>
                  </a:lnTo>
                  <a:lnTo>
                    <a:pt x="7537" y="533"/>
                  </a:lnTo>
                  <a:lnTo>
                    <a:pt x="7532" y="523"/>
                  </a:lnTo>
                  <a:lnTo>
                    <a:pt x="7527" y="515"/>
                  </a:lnTo>
                  <a:lnTo>
                    <a:pt x="7520" y="508"/>
                  </a:lnTo>
                  <a:lnTo>
                    <a:pt x="7511" y="501"/>
                  </a:lnTo>
                  <a:lnTo>
                    <a:pt x="7500" y="496"/>
                  </a:lnTo>
                  <a:lnTo>
                    <a:pt x="7489" y="491"/>
                  </a:lnTo>
                  <a:lnTo>
                    <a:pt x="7475" y="488"/>
                  </a:lnTo>
                  <a:lnTo>
                    <a:pt x="7459" y="485"/>
                  </a:lnTo>
                  <a:lnTo>
                    <a:pt x="7441" y="484"/>
                  </a:lnTo>
                  <a:lnTo>
                    <a:pt x="7423" y="484"/>
                  </a:lnTo>
                  <a:lnTo>
                    <a:pt x="7361" y="484"/>
                  </a:lnTo>
                  <a:close/>
                  <a:moveTo>
                    <a:pt x="6441" y="779"/>
                  </a:moveTo>
                  <a:lnTo>
                    <a:pt x="6441" y="850"/>
                  </a:lnTo>
                  <a:lnTo>
                    <a:pt x="6254" y="850"/>
                  </a:lnTo>
                  <a:lnTo>
                    <a:pt x="6254" y="260"/>
                  </a:lnTo>
                  <a:lnTo>
                    <a:pt x="6441" y="260"/>
                  </a:lnTo>
                  <a:lnTo>
                    <a:pt x="6440" y="543"/>
                  </a:lnTo>
                  <a:lnTo>
                    <a:pt x="6591" y="335"/>
                  </a:lnTo>
                  <a:lnTo>
                    <a:pt x="6591" y="260"/>
                  </a:lnTo>
                  <a:lnTo>
                    <a:pt x="6778" y="260"/>
                  </a:lnTo>
                  <a:lnTo>
                    <a:pt x="6778" y="850"/>
                  </a:lnTo>
                  <a:lnTo>
                    <a:pt x="6591" y="850"/>
                  </a:lnTo>
                  <a:lnTo>
                    <a:pt x="6591" y="574"/>
                  </a:lnTo>
                  <a:lnTo>
                    <a:pt x="6561" y="619"/>
                  </a:lnTo>
                  <a:lnTo>
                    <a:pt x="6441" y="779"/>
                  </a:lnTo>
                  <a:close/>
                  <a:moveTo>
                    <a:pt x="5791" y="779"/>
                  </a:moveTo>
                  <a:lnTo>
                    <a:pt x="5791" y="850"/>
                  </a:lnTo>
                  <a:lnTo>
                    <a:pt x="5603" y="850"/>
                  </a:lnTo>
                  <a:lnTo>
                    <a:pt x="5603" y="260"/>
                  </a:lnTo>
                  <a:lnTo>
                    <a:pt x="5791" y="260"/>
                  </a:lnTo>
                  <a:lnTo>
                    <a:pt x="5790" y="543"/>
                  </a:lnTo>
                  <a:lnTo>
                    <a:pt x="5942" y="335"/>
                  </a:lnTo>
                  <a:lnTo>
                    <a:pt x="5942" y="260"/>
                  </a:lnTo>
                  <a:lnTo>
                    <a:pt x="6128" y="260"/>
                  </a:lnTo>
                  <a:lnTo>
                    <a:pt x="6128" y="850"/>
                  </a:lnTo>
                  <a:lnTo>
                    <a:pt x="5942" y="850"/>
                  </a:lnTo>
                  <a:lnTo>
                    <a:pt x="5942" y="574"/>
                  </a:lnTo>
                  <a:lnTo>
                    <a:pt x="5910" y="619"/>
                  </a:lnTo>
                  <a:lnTo>
                    <a:pt x="5791" y="779"/>
                  </a:lnTo>
                  <a:close/>
                  <a:moveTo>
                    <a:pt x="4991" y="260"/>
                  </a:moveTo>
                  <a:lnTo>
                    <a:pt x="5177" y="260"/>
                  </a:lnTo>
                  <a:lnTo>
                    <a:pt x="5177" y="485"/>
                  </a:lnTo>
                  <a:lnTo>
                    <a:pt x="5361" y="260"/>
                  </a:lnTo>
                  <a:lnTo>
                    <a:pt x="5532" y="260"/>
                  </a:lnTo>
                  <a:lnTo>
                    <a:pt x="5365" y="457"/>
                  </a:lnTo>
                  <a:lnTo>
                    <a:pt x="5549" y="850"/>
                  </a:lnTo>
                  <a:lnTo>
                    <a:pt x="5347" y="850"/>
                  </a:lnTo>
                  <a:lnTo>
                    <a:pt x="5244" y="577"/>
                  </a:lnTo>
                  <a:lnTo>
                    <a:pt x="5177" y="659"/>
                  </a:lnTo>
                  <a:lnTo>
                    <a:pt x="5177" y="850"/>
                  </a:lnTo>
                  <a:lnTo>
                    <a:pt x="4991" y="850"/>
                  </a:lnTo>
                  <a:lnTo>
                    <a:pt x="4991" y="260"/>
                  </a:lnTo>
                  <a:close/>
                  <a:moveTo>
                    <a:pt x="4899" y="475"/>
                  </a:moveTo>
                  <a:lnTo>
                    <a:pt x="4727" y="481"/>
                  </a:lnTo>
                  <a:lnTo>
                    <a:pt x="4724" y="456"/>
                  </a:lnTo>
                  <a:lnTo>
                    <a:pt x="4720" y="434"/>
                  </a:lnTo>
                  <a:lnTo>
                    <a:pt x="4718" y="424"/>
                  </a:lnTo>
                  <a:lnTo>
                    <a:pt x="4714" y="416"/>
                  </a:lnTo>
                  <a:lnTo>
                    <a:pt x="4711" y="408"/>
                  </a:lnTo>
                  <a:lnTo>
                    <a:pt x="4707" y="400"/>
                  </a:lnTo>
                  <a:lnTo>
                    <a:pt x="4702" y="394"/>
                  </a:lnTo>
                  <a:lnTo>
                    <a:pt x="4698" y="388"/>
                  </a:lnTo>
                  <a:lnTo>
                    <a:pt x="4692" y="383"/>
                  </a:lnTo>
                  <a:lnTo>
                    <a:pt x="4685" y="380"/>
                  </a:lnTo>
                  <a:lnTo>
                    <a:pt x="4678" y="376"/>
                  </a:lnTo>
                  <a:lnTo>
                    <a:pt x="4671" y="374"/>
                  </a:lnTo>
                  <a:lnTo>
                    <a:pt x="4662" y="373"/>
                  </a:lnTo>
                  <a:lnTo>
                    <a:pt x="4653" y="373"/>
                  </a:lnTo>
                  <a:lnTo>
                    <a:pt x="4642" y="373"/>
                  </a:lnTo>
                  <a:lnTo>
                    <a:pt x="4631" y="375"/>
                  </a:lnTo>
                  <a:lnTo>
                    <a:pt x="4621" y="379"/>
                  </a:lnTo>
                  <a:lnTo>
                    <a:pt x="4612" y="383"/>
                  </a:lnTo>
                  <a:lnTo>
                    <a:pt x="4604" y="389"/>
                  </a:lnTo>
                  <a:lnTo>
                    <a:pt x="4596" y="397"/>
                  </a:lnTo>
                  <a:lnTo>
                    <a:pt x="4589" y="407"/>
                  </a:lnTo>
                  <a:lnTo>
                    <a:pt x="4583" y="417"/>
                  </a:lnTo>
                  <a:lnTo>
                    <a:pt x="4577" y="429"/>
                  </a:lnTo>
                  <a:lnTo>
                    <a:pt x="4573" y="441"/>
                  </a:lnTo>
                  <a:lnTo>
                    <a:pt x="4568" y="455"/>
                  </a:lnTo>
                  <a:lnTo>
                    <a:pt x="4565" y="471"/>
                  </a:lnTo>
                  <a:lnTo>
                    <a:pt x="4562" y="489"/>
                  </a:lnTo>
                  <a:lnTo>
                    <a:pt x="4560" y="507"/>
                  </a:lnTo>
                  <a:lnTo>
                    <a:pt x="4560" y="527"/>
                  </a:lnTo>
                  <a:lnTo>
                    <a:pt x="4559" y="549"/>
                  </a:lnTo>
                  <a:lnTo>
                    <a:pt x="4560" y="573"/>
                  </a:lnTo>
                  <a:lnTo>
                    <a:pt x="4560" y="595"/>
                  </a:lnTo>
                  <a:lnTo>
                    <a:pt x="4562" y="616"/>
                  </a:lnTo>
                  <a:lnTo>
                    <a:pt x="4565" y="636"/>
                  </a:lnTo>
                  <a:lnTo>
                    <a:pt x="4568" y="652"/>
                  </a:lnTo>
                  <a:lnTo>
                    <a:pt x="4572" y="667"/>
                  </a:lnTo>
                  <a:lnTo>
                    <a:pt x="4576" y="680"/>
                  </a:lnTo>
                  <a:lnTo>
                    <a:pt x="4582" y="691"/>
                  </a:lnTo>
                  <a:lnTo>
                    <a:pt x="4588" y="700"/>
                  </a:lnTo>
                  <a:lnTo>
                    <a:pt x="4595" y="709"/>
                  </a:lnTo>
                  <a:lnTo>
                    <a:pt x="4603" y="716"/>
                  </a:lnTo>
                  <a:lnTo>
                    <a:pt x="4611" y="721"/>
                  </a:lnTo>
                  <a:lnTo>
                    <a:pt x="4619" y="726"/>
                  </a:lnTo>
                  <a:lnTo>
                    <a:pt x="4628" y="729"/>
                  </a:lnTo>
                  <a:lnTo>
                    <a:pt x="4639" y="732"/>
                  </a:lnTo>
                  <a:lnTo>
                    <a:pt x="4650" y="732"/>
                  </a:lnTo>
                  <a:lnTo>
                    <a:pt x="4658" y="732"/>
                  </a:lnTo>
                  <a:lnTo>
                    <a:pt x="4667" y="731"/>
                  </a:lnTo>
                  <a:lnTo>
                    <a:pt x="4673" y="728"/>
                  </a:lnTo>
                  <a:lnTo>
                    <a:pt x="4682" y="725"/>
                  </a:lnTo>
                  <a:lnTo>
                    <a:pt x="4687" y="721"/>
                  </a:lnTo>
                  <a:lnTo>
                    <a:pt x="4693" y="717"/>
                  </a:lnTo>
                  <a:lnTo>
                    <a:pt x="4699" y="711"/>
                  </a:lnTo>
                  <a:lnTo>
                    <a:pt x="4705" y="704"/>
                  </a:lnTo>
                  <a:lnTo>
                    <a:pt x="4708" y="697"/>
                  </a:lnTo>
                  <a:lnTo>
                    <a:pt x="4713" y="689"/>
                  </a:lnTo>
                  <a:lnTo>
                    <a:pt x="4716" y="680"/>
                  </a:lnTo>
                  <a:lnTo>
                    <a:pt x="4720" y="669"/>
                  </a:lnTo>
                  <a:lnTo>
                    <a:pt x="4722" y="659"/>
                  </a:lnTo>
                  <a:lnTo>
                    <a:pt x="4724" y="647"/>
                  </a:lnTo>
                  <a:lnTo>
                    <a:pt x="4726" y="635"/>
                  </a:lnTo>
                  <a:lnTo>
                    <a:pt x="4727" y="621"/>
                  </a:lnTo>
                  <a:lnTo>
                    <a:pt x="4899" y="631"/>
                  </a:lnTo>
                  <a:lnTo>
                    <a:pt x="4896" y="660"/>
                  </a:lnTo>
                  <a:lnTo>
                    <a:pt x="4890" y="685"/>
                  </a:lnTo>
                  <a:lnTo>
                    <a:pt x="4883" y="711"/>
                  </a:lnTo>
                  <a:lnTo>
                    <a:pt x="4874" y="733"/>
                  </a:lnTo>
                  <a:lnTo>
                    <a:pt x="4869" y="744"/>
                  </a:lnTo>
                  <a:lnTo>
                    <a:pt x="4863" y="755"/>
                  </a:lnTo>
                  <a:lnTo>
                    <a:pt x="4858" y="764"/>
                  </a:lnTo>
                  <a:lnTo>
                    <a:pt x="4852" y="773"/>
                  </a:lnTo>
                  <a:lnTo>
                    <a:pt x="4845" y="783"/>
                  </a:lnTo>
                  <a:lnTo>
                    <a:pt x="4838" y="791"/>
                  </a:lnTo>
                  <a:lnTo>
                    <a:pt x="4830" y="799"/>
                  </a:lnTo>
                  <a:lnTo>
                    <a:pt x="4822" y="806"/>
                  </a:lnTo>
                  <a:lnTo>
                    <a:pt x="4814" y="814"/>
                  </a:lnTo>
                  <a:lnTo>
                    <a:pt x="4806" y="820"/>
                  </a:lnTo>
                  <a:lnTo>
                    <a:pt x="4796" y="827"/>
                  </a:lnTo>
                  <a:lnTo>
                    <a:pt x="4786" y="832"/>
                  </a:lnTo>
                  <a:lnTo>
                    <a:pt x="4777" y="837"/>
                  </a:lnTo>
                  <a:lnTo>
                    <a:pt x="4766" y="842"/>
                  </a:lnTo>
                  <a:lnTo>
                    <a:pt x="4755" y="846"/>
                  </a:lnTo>
                  <a:lnTo>
                    <a:pt x="4743" y="850"/>
                  </a:lnTo>
                  <a:lnTo>
                    <a:pt x="4720" y="857"/>
                  </a:lnTo>
                  <a:lnTo>
                    <a:pt x="4694" y="861"/>
                  </a:lnTo>
                  <a:lnTo>
                    <a:pt x="4667" y="864"/>
                  </a:lnTo>
                  <a:lnTo>
                    <a:pt x="4638" y="865"/>
                  </a:lnTo>
                  <a:lnTo>
                    <a:pt x="4623" y="865"/>
                  </a:lnTo>
                  <a:lnTo>
                    <a:pt x="4606" y="864"/>
                  </a:lnTo>
                  <a:lnTo>
                    <a:pt x="4591" y="862"/>
                  </a:lnTo>
                  <a:lnTo>
                    <a:pt x="4577" y="860"/>
                  </a:lnTo>
                  <a:lnTo>
                    <a:pt x="4563" y="857"/>
                  </a:lnTo>
                  <a:lnTo>
                    <a:pt x="4550" y="853"/>
                  </a:lnTo>
                  <a:lnTo>
                    <a:pt x="4537" y="850"/>
                  </a:lnTo>
                  <a:lnTo>
                    <a:pt x="4524" y="845"/>
                  </a:lnTo>
                  <a:lnTo>
                    <a:pt x="4513" y="840"/>
                  </a:lnTo>
                  <a:lnTo>
                    <a:pt x="4501" y="835"/>
                  </a:lnTo>
                  <a:lnTo>
                    <a:pt x="4489" y="828"/>
                  </a:lnTo>
                  <a:lnTo>
                    <a:pt x="4479" y="821"/>
                  </a:lnTo>
                  <a:lnTo>
                    <a:pt x="4469" y="814"/>
                  </a:lnTo>
                  <a:lnTo>
                    <a:pt x="4458" y="806"/>
                  </a:lnTo>
                  <a:lnTo>
                    <a:pt x="4449" y="797"/>
                  </a:lnTo>
                  <a:lnTo>
                    <a:pt x="4441" y="787"/>
                  </a:lnTo>
                  <a:lnTo>
                    <a:pt x="4433" y="777"/>
                  </a:lnTo>
                  <a:lnTo>
                    <a:pt x="4425" y="766"/>
                  </a:lnTo>
                  <a:lnTo>
                    <a:pt x="4418" y="755"/>
                  </a:lnTo>
                  <a:lnTo>
                    <a:pt x="4411" y="743"/>
                  </a:lnTo>
                  <a:lnTo>
                    <a:pt x="4405" y="732"/>
                  </a:lnTo>
                  <a:lnTo>
                    <a:pt x="4399" y="718"/>
                  </a:lnTo>
                  <a:lnTo>
                    <a:pt x="4394" y="705"/>
                  </a:lnTo>
                  <a:lnTo>
                    <a:pt x="4390" y="690"/>
                  </a:lnTo>
                  <a:lnTo>
                    <a:pt x="4385" y="676"/>
                  </a:lnTo>
                  <a:lnTo>
                    <a:pt x="4382" y="660"/>
                  </a:lnTo>
                  <a:lnTo>
                    <a:pt x="4379" y="645"/>
                  </a:lnTo>
                  <a:lnTo>
                    <a:pt x="4377" y="628"/>
                  </a:lnTo>
                  <a:lnTo>
                    <a:pt x="4374" y="593"/>
                  </a:lnTo>
                  <a:lnTo>
                    <a:pt x="4372" y="556"/>
                  </a:lnTo>
                  <a:lnTo>
                    <a:pt x="4372" y="537"/>
                  </a:lnTo>
                  <a:lnTo>
                    <a:pt x="4374" y="519"/>
                  </a:lnTo>
                  <a:lnTo>
                    <a:pt x="4375" y="501"/>
                  </a:lnTo>
                  <a:lnTo>
                    <a:pt x="4377" y="485"/>
                  </a:lnTo>
                  <a:lnTo>
                    <a:pt x="4379" y="468"/>
                  </a:lnTo>
                  <a:lnTo>
                    <a:pt x="4383" y="453"/>
                  </a:lnTo>
                  <a:lnTo>
                    <a:pt x="4386" y="437"/>
                  </a:lnTo>
                  <a:lnTo>
                    <a:pt x="4390" y="423"/>
                  </a:lnTo>
                  <a:lnTo>
                    <a:pt x="4396" y="408"/>
                  </a:lnTo>
                  <a:lnTo>
                    <a:pt x="4400" y="394"/>
                  </a:lnTo>
                  <a:lnTo>
                    <a:pt x="4406" y="381"/>
                  </a:lnTo>
                  <a:lnTo>
                    <a:pt x="4413" y="368"/>
                  </a:lnTo>
                  <a:lnTo>
                    <a:pt x="4420" y="357"/>
                  </a:lnTo>
                  <a:lnTo>
                    <a:pt x="4427" y="345"/>
                  </a:lnTo>
                  <a:lnTo>
                    <a:pt x="4435" y="335"/>
                  </a:lnTo>
                  <a:lnTo>
                    <a:pt x="4444" y="324"/>
                  </a:lnTo>
                  <a:lnTo>
                    <a:pt x="4453" y="315"/>
                  </a:lnTo>
                  <a:lnTo>
                    <a:pt x="4463" y="306"/>
                  </a:lnTo>
                  <a:lnTo>
                    <a:pt x="4473" y="298"/>
                  </a:lnTo>
                  <a:lnTo>
                    <a:pt x="4484" y="290"/>
                  </a:lnTo>
                  <a:lnTo>
                    <a:pt x="4494" y="283"/>
                  </a:lnTo>
                  <a:lnTo>
                    <a:pt x="4506" y="276"/>
                  </a:lnTo>
                  <a:lnTo>
                    <a:pt x="4517" y="270"/>
                  </a:lnTo>
                  <a:lnTo>
                    <a:pt x="4530" y="264"/>
                  </a:lnTo>
                  <a:lnTo>
                    <a:pt x="4543" y="260"/>
                  </a:lnTo>
                  <a:lnTo>
                    <a:pt x="4557" y="256"/>
                  </a:lnTo>
                  <a:lnTo>
                    <a:pt x="4569" y="253"/>
                  </a:lnTo>
                  <a:lnTo>
                    <a:pt x="4584" y="250"/>
                  </a:lnTo>
                  <a:lnTo>
                    <a:pt x="4598" y="248"/>
                  </a:lnTo>
                  <a:lnTo>
                    <a:pt x="4613" y="246"/>
                  </a:lnTo>
                  <a:lnTo>
                    <a:pt x="4629" y="245"/>
                  </a:lnTo>
                  <a:lnTo>
                    <a:pt x="4645" y="245"/>
                  </a:lnTo>
                  <a:lnTo>
                    <a:pt x="4673" y="246"/>
                  </a:lnTo>
                  <a:lnTo>
                    <a:pt x="4700" y="248"/>
                  </a:lnTo>
                  <a:lnTo>
                    <a:pt x="4726" y="253"/>
                  </a:lnTo>
                  <a:lnTo>
                    <a:pt x="4749" y="260"/>
                  </a:lnTo>
                  <a:lnTo>
                    <a:pt x="4771" y="268"/>
                  </a:lnTo>
                  <a:lnTo>
                    <a:pt x="4790" y="277"/>
                  </a:lnTo>
                  <a:lnTo>
                    <a:pt x="4800" y="283"/>
                  </a:lnTo>
                  <a:lnTo>
                    <a:pt x="4809" y="289"/>
                  </a:lnTo>
                  <a:lnTo>
                    <a:pt x="4817" y="295"/>
                  </a:lnTo>
                  <a:lnTo>
                    <a:pt x="4825" y="302"/>
                  </a:lnTo>
                  <a:lnTo>
                    <a:pt x="4833" y="309"/>
                  </a:lnTo>
                  <a:lnTo>
                    <a:pt x="4840" y="317"/>
                  </a:lnTo>
                  <a:lnTo>
                    <a:pt x="4847" y="326"/>
                  </a:lnTo>
                  <a:lnTo>
                    <a:pt x="4854" y="335"/>
                  </a:lnTo>
                  <a:lnTo>
                    <a:pt x="4860" y="344"/>
                  </a:lnTo>
                  <a:lnTo>
                    <a:pt x="4866" y="353"/>
                  </a:lnTo>
                  <a:lnTo>
                    <a:pt x="4870" y="364"/>
                  </a:lnTo>
                  <a:lnTo>
                    <a:pt x="4876" y="374"/>
                  </a:lnTo>
                  <a:lnTo>
                    <a:pt x="4884" y="397"/>
                  </a:lnTo>
                  <a:lnTo>
                    <a:pt x="4891" y="422"/>
                  </a:lnTo>
                  <a:lnTo>
                    <a:pt x="4896" y="447"/>
                  </a:lnTo>
                  <a:lnTo>
                    <a:pt x="4899" y="475"/>
                  </a:lnTo>
                  <a:close/>
                  <a:moveTo>
                    <a:pt x="3938" y="779"/>
                  </a:moveTo>
                  <a:lnTo>
                    <a:pt x="3938" y="850"/>
                  </a:lnTo>
                  <a:lnTo>
                    <a:pt x="3752" y="850"/>
                  </a:lnTo>
                  <a:lnTo>
                    <a:pt x="3752" y="260"/>
                  </a:lnTo>
                  <a:lnTo>
                    <a:pt x="3938" y="260"/>
                  </a:lnTo>
                  <a:lnTo>
                    <a:pt x="3937" y="543"/>
                  </a:lnTo>
                  <a:lnTo>
                    <a:pt x="4089" y="335"/>
                  </a:lnTo>
                  <a:lnTo>
                    <a:pt x="4089" y="260"/>
                  </a:lnTo>
                  <a:lnTo>
                    <a:pt x="4275" y="260"/>
                  </a:lnTo>
                  <a:lnTo>
                    <a:pt x="4275" y="850"/>
                  </a:lnTo>
                  <a:lnTo>
                    <a:pt x="4089" y="850"/>
                  </a:lnTo>
                  <a:lnTo>
                    <a:pt x="4089" y="574"/>
                  </a:lnTo>
                  <a:lnTo>
                    <a:pt x="4059" y="619"/>
                  </a:lnTo>
                  <a:lnTo>
                    <a:pt x="3938" y="779"/>
                  </a:lnTo>
                  <a:close/>
                  <a:moveTo>
                    <a:pt x="3288" y="779"/>
                  </a:moveTo>
                  <a:lnTo>
                    <a:pt x="3288" y="850"/>
                  </a:lnTo>
                  <a:lnTo>
                    <a:pt x="3101" y="850"/>
                  </a:lnTo>
                  <a:lnTo>
                    <a:pt x="3101" y="260"/>
                  </a:lnTo>
                  <a:lnTo>
                    <a:pt x="3288" y="260"/>
                  </a:lnTo>
                  <a:lnTo>
                    <a:pt x="3287" y="543"/>
                  </a:lnTo>
                  <a:lnTo>
                    <a:pt x="3439" y="335"/>
                  </a:lnTo>
                  <a:lnTo>
                    <a:pt x="3439" y="260"/>
                  </a:lnTo>
                  <a:lnTo>
                    <a:pt x="3625" y="260"/>
                  </a:lnTo>
                  <a:lnTo>
                    <a:pt x="3625" y="850"/>
                  </a:lnTo>
                  <a:lnTo>
                    <a:pt x="3439" y="850"/>
                  </a:lnTo>
                  <a:lnTo>
                    <a:pt x="3439" y="574"/>
                  </a:lnTo>
                  <a:lnTo>
                    <a:pt x="3408" y="619"/>
                  </a:lnTo>
                  <a:lnTo>
                    <a:pt x="3288" y="779"/>
                  </a:lnTo>
                  <a:close/>
                  <a:moveTo>
                    <a:pt x="2667" y="491"/>
                  </a:moveTo>
                  <a:lnTo>
                    <a:pt x="2697" y="491"/>
                  </a:lnTo>
                  <a:lnTo>
                    <a:pt x="2721" y="490"/>
                  </a:lnTo>
                  <a:lnTo>
                    <a:pt x="2740" y="489"/>
                  </a:lnTo>
                  <a:lnTo>
                    <a:pt x="2752" y="488"/>
                  </a:lnTo>
                  <a:lnTo>
                    <a:pt x="2762" y="485"/>
                  </a:lnTo>
                  <a:lnTo>
                    <a:pt x="2770" y="482"/>
                  </a:lnTo>
                  <a:lnTo>
                    <a:pt x="2778" y="477"/>
                  </a:lnTo>
                  <a:lnTo>
                    <a:pt x="2785" y="470"/>
                  </a:lnTo>
                  <a:lnTo>
                    <a:pt x="2788" y="467"/>
                  </a:lnTo>
                  <a:lnTo>
                    <a:pt x="2790" y="462"/>
                  </a:lnTo>
                  <a:lnTo>
                    <a:pt x="2793" y="457"/>
                  </a:lnTo>
                  <a:lnTo>
                    <a:pt x="2795" y="452"/>
                  </a:lnTo>
                  <a:lnTo>
                    <a:pt x="2797" y="440"/>
                  </a:lnTo>
                  <a:lnTo>
                    <a:pt x="2797" y="426"/>
                  </a:lnTo>
                  <a:lnTo>
                    <a:pt x="2797" y="409"/>
                  </a:lnTo>
                  <a:lnTo>
                    <a:pt x="2794" y="394"/>
                  </a:lnTo>
                  <a:lnTo>
                    <a:pt x="2792" y="388"/>
                  </a:lnTo>
                  <a:lnTo>
                    <a:pt x="2789" y="381"/>
                  </a:lnTo>
                  <a:lnTo>
                    <a:pt x="2786" y="376"/>
                  </a:lnTo>
                  <a:lnTo>
                    <a:pt x="2782" y="372"/>
                  </a:lnTo>
                  <a:lnTo>
                    <a:pt x="2779" y="367"/>
                  </a:lnTo>
                  <a:lnTo>
                    <a:pt x="2774" y="364"/>
                  </a:lnTo>
                  <a:lnTo>
                    <a:pt x="2768" y="360"/>
                  </a:lnTo>
                  <a:lnTo>
                    <a:pt x="2763" y="358"/>
                  </a:lnTo>
                  <a:lnTo>
                    <a:pt x="2757" y="356"/>
                  </a:lnTo>
                  <a:lnTo>
                    <a:pt x="2751" y="354"/>
                  </a:lnTo>
                  <a:lnTo>
                    <a:pt x="2744" y="353"/>
                  </a:lnTo>
                  <a:lnTo>
                    <a:pt x="2736" y="353"/>
                  </a:lnTo>
                  <a:lnTo>
                    <a:pt x="2729" y="353"/>
                  </a:lnTo>
                  <a:lnTo>
                    <a:pt x="2723" y="354"/>
                  </a:lnTo>
                  <a:lnTo>
                    <a:pt x="2716" y="357"/>
                  </a:lnTo>
                  <a:lnTo>
                    <a:pt x="2711" y="359"/>
                  </a:lnTo>
                  <a:lnTo>
                    <a:pt x="2705" y="361"/>
                  </a:lnTo>
                  <a:lnTo>
                    <a:pt x="2700" y="365"/>
                  </a:lnTo>
                  <a:lnTo>
                    <a:pt x="2694" y="370"/>
                  </a:lnTo>
                  <a:lnTo>
                    <a:pt x="2690" y="374"/>
                  </a:lnTo>
                  <a:lnTo>
                    <a:pt x="2685" y="380"/>
                  </a:lnTo>
                  <a:lnTo>
                    <a:pt x="2682" y="386"/>
                  </a:lnTo>
                  <a:lnTo>
                    <a:pt x="2678" y="393"/>
                  </a:lnTo>
                  <a:lnTo>
                    <a:pt x="2675" y="401"/>
                  </a:lnTo>
                  <a:lnTo>
                    <a:pt x="2669" y="418"/>
                  </a:lnTo>
                  <a:lnTo>
                    <a:pt x="2664" y="438"/>
                  </a:lnTo>
                  <a:lnTo>
                    <a:pt x="2499" y="410"/>
                  </a:lnTo>
                  <a:lnTo>
                    <a:pt x="2503" y="389"/>
                  </a:lnTo>
                  <a:lnTo>
                    <a:pt x="2510" y="371"/>
                  </a:lnTo>
                  <a:lnTo>
                    <a:pt x="2517" y="353"/>
                  </a:lnTo>
                  <a:lnTo>
                    <a:pt x="2526" y="337"/>
                  </a:lnTo>
                  <a:lnTo>
                    <a:pt x="2537" y="323"/>
                  </a:lnTo>
                  <a:lnTo>
                    <a:pt x="2550" y="309"/>
                  </a:lnTo>
                  <a:lnTo>
                    <a:pt x="2562" y="297"/>
                  </a:lnTo>
                  <a:lnTo>
                    <a:pt x="2577" y="286"/>
                  </a:lnTo>
                  <a:lnTo>
                    <a:pt x="2594" y="276"/>
                  </a:lnTo>
                  <a:lnTo>
                    <a:pt x="2612" y="268"/>
                  </a:lnTo>
                  <a:lnTo>
                    <a:pt x="2631" y="261"/>
                  </a:lnTo>
                  <a:lnTo>
                    <a:pt x="2652" y="255"/>
                  </a:lnTo>
                  <a:lnTo>
                    <a:pt x="2674" y="250"/>
                  </a:lnTo>
                  <a:lnTo>
                    <a:pt x="2697" y="247"/>
                  </a:lnTo>
                  <a:lnTo>
                    <a:pt x="2722" y="246"/>
                  </a:lnTo>
                  <a:lnTo>
                    <a:pt x="2749" y="245"/>
                  </a:lnTo>
                  <a:lnTo>
                    <a:pt x="2778" y="246"/>
                  </a:lnTo>
                  <a:lnTo>
                    <a:pt x="2804" y="248"/>
                  </a:lnTo>
                  <a:lnTo>
                    <a:pt x="2830" y="251"/>
                  </a:lnTo>
                  <a:lnTo>
                    <a:pt x="2853" y="257"/>
                  </a:lnTo>
                  <a:lnTo>
                    <a:pt x="2875" y="264"/>
                  </a:lnTo>
                  <a:lnTo>
                    <a:pt x="2895" y="272"/>
                  </a:lnTo>
                  <a:lnTo>
                    <a:pt x="2912" y="283"/>
                  </a:lnTo>
                  <a:lnTo>
                    <a:pt x="2928" y="294"/>
                  </a:lnTo>
                  <a:lnTo>
                    <a:pt x="2943" y="307"/>
                  </a:lnTo>
                  <a:lnTo>
                    <a:pt x="2955" y="320"/>
                  </a:lnTo>
                  <a:lnTo>
                    <a:pt x="2965" y="334"/>
                  </a:lnTo>
                  <a:lnTo>
                    <a:pt x="2975" y="349"/>
                  </a:lnTo>
                  <a:lnTo>
                    <a:pt x="2980" y="364"/>
                  </a:lnTo>
                  <a:lnTo>
                    <a:pt x="2986" y="380"/>
                  </a:lnTo>
                  <a:lnTo>
                    <a:pt x="2989" y="396"/>
                  </a:lnTo>
                  <a:lnTo>
                    <a:pt x="2990" y="413"/>
                  </a:lnTo>
                  <a:lnTo>
                    <a:pt x="2990" y="424"/>
                  </a:lnTo>
                  <a:lnTo>
                    <a:pt x="2989" y="433"/>
                  </a:lnTo>
                  <a:lnTo>
                    <a:pt x="2986" y="442"/>
                  </a:lnTo>
                  <a:lnTo>
                    <a:pt x="2984" y="452"/>
                  </a:lnTo>
                  <a:lnTo>
                    <a:pt x="2980" y="461"/>
                  </a:lnTo>
                  <a:lnTo>
                    <a:pt x="2977" y="470"/>
                  </a:lnTo>
                  <a:lnTo>
                    <a:pt x="2972" y="478"/>
                  </a:lnTo>
                  <a:lnTo>
                    <a:pt x="2968" y="486"/>
                  </a:lnTo>
                  <a:lnTo>
                    <a:pt x="2962" y="495"/>
                  </a:lnTo>
                  <a:lnTo>
                    <a:pt x="2955" y="501"/>
                  </a:lnTo>
                  <a:lnTo>
                    <a:pt x="2947" y="508"/>
                  </a:lnTo>
                  <a:lnTo>
                    <a:pt x="2940" y="515"/>
                  </a:lnTo>
                  <a:lnTo>
                    <a:pt x="2931" y="522"/>
                  </a:lnTo>
                  <a:lnTo>
                    <a:pt x="2921" y="528"/>
                  </a:lnTo>
                  <a:lnTo>
                    <a:pt x="2911" y="534"/>
                  </a:lnTo>
                  <a:lnTo>
                    <a:pt x="2901" y="540"/>
                  </a:lnTo>
                  <a:lnTo>
                    <a:pt x="2913" y="545"/>
                  </a:lnTo>
                  <a:lnTo>
                    <a:pt x="2925" y="551"/>
                  </a:lnTo>
                  <a:lnTo>
                    <a:pt x="2936" y="558"/>
                  </a:lnTo>
                  <a:lnTo>
                    <a:pt x="2947" y="565"/>
                  </a:lnTo>
                  <a:lnTo>
                    <a:pt x="2956" y="572"/>
                  </a:lnTo>
                  <a:lnTo>
                    <a:pt x="2965" y="580"/>
                  </a:lnTo>
                  <a:lnTo>
                    <a:pt x="2972" y="588"/>
                  </a:lnTo>
                  <a:lnTo>
                    <a:pt x="2979" y="596"/>
                  </a:lnTo>
                  <a:lnTo>
                    <a:pt x="2986" y="604"/>
                  </a:lnTo>
                  <a:lnTo>
                    <a:pt x="2991" y="614"/>
                  </a:lnTo>
                  <a:lnTo>
                    <a:pt x="2995" y="624"/>
                  </a:lnTo>
                  <a:lnTo>
                    <a:pt x="3000" y="633"/>
                  </a:lnTo>
                  <a:lnTo>
                    <a:pt x="3002" y="644"/>
                  </a:lnTo>
                  <a:lnTo>
                    <a:pt x="3005" y="655"/>
                  </a:lnTo>
                  <a:lnTo>
                    <a:pt x="3006" y="666"/>
                  </a:lnTo>
                  <a:lnTo>
                    <a:pt x="3006" y="677"/>
                  </a:lnTo>
                  <a:lnTo>
                    <a:pt x="3006" y="696"/>
                  </a:lnTo>
                  <a:lnTo>
                    <a:pt x="3002" y="713"/>
                  </a:lnTo>
                  <a:lnTo>
                    <a:pt x="2998" y="731"/>
                  </a:lnTo>
                  <a:lnTo>
                    <a:pt x="2992" y="748"/>
                  </a:lnTo>
                  <a:lnTo>
                    <a:pt x="2983" y="764"/>
                  </a:lnTo>
                  <a:lnTo>
                    <a:pt x="2973" y="779"/>
                  </a:lnTo>
                  <a:lnTo>
                    <a:pt x="2961" y="794"/>
                  </a:lnTo>
                  <a:lnTo>
                    <a:pt x="2947" y="808"/>
                  </a:lnTo>
                  <a:lnTo>
                    <a:pt x="2939" y="815"/>
                  </a:lnTo>
                  <a:lnTo>
                    <a:pt x="2931" y="822"/>
                  </a:lnTo>
                  <a:lnTo>
                    <a:pt x="2923" y="828"/>
                  </a:lnTo>
                  <a:lnTo>
                    <a:pt x="2912" y="834"/>
                  </a:lnTo>
                  <a:lnTo>
                    <a:pt x="2903" y="838"/>
                  </a:lnTo>
                  <a:lnTo>
                    <a:pt x="2891" y="843"/>
                  </a:lnTo>
                  <a:lnTo>
                    <a:pt x="2880" y="847"/>
                  </a:lnTo>
                  <a:lnTo>
                    <a:pt x="2868" y="851"/>
                  </a:lnTo>
                  <a:lnTo>
                    <a:pt x="2843" y="857"/>
                  </a:lnTo>
                  <a:lnTo>
                    <a:pt x="2814" y="861"/>
                  </a:lnTo>
                  <a:lnTo>
                    <a:pt x="2784" y="864"/>
                  </a:lnTo>
                  <a:lnTo>
                    <a:pt x="2750" y="865"/>
                  </a:lnTo>
                  <a:lnTo>
                    <a:pt x="2728" y="864"/>
                  </a:lnTo>
                  <a:lnTo>
                    <a:pt x="2707" y="862"/>
                  </a:lnTo>
                  <a:lnTo>
                    <a:pt x="2686" y="860"/>
                  </a:lnTo>
                  <a:lnTo>
                    <a:pt x="2667" y="857"/>
                  </a:lnTo>
                  <a:lnTo>
                    <a:pt x="2648" y="852"/>
                  </a:lnTo>
                  <a:lnTo>
                    <a:pt x="2630" y="847"/>
                  </a:lnTo>
                  <a:lnTo>
                    <a:pt x="2612" y="840"/>
                  </a:lnTo>
                  <a:lnTo>
                    <a:pt x="2596" y="834"/>
                  </a:lnTo>
                  <a:lnTo>
                    <a:pt x="2588" y="829"/>
                  </a:lnTo>
                  <a:lnTo>
                    <a:pt x="2581" y="824"/>
                  </a:lnTo>
                  <a:lnTo>
                    <a:pt x="2573" y="819"/>
                  </a:lnTo>
                  <a:lnTo>
                    <a:pt x="2565" y="813"/>
                  </a:lnTo>
                  <a:lnTo>
                    <a:pt x="2551" y="799"/>
                  </a:lnTo>
                  <a:lnTo>
                    <a:pt x="2536" y="781"/>
                  </a:lnTo>
                  <a:lnTo>
                    <a:pt x="2522" y="763"/>
                  </a:lnTo>
                  <a:lnTo>
                    <a:pt x="2509" y="741"/>
                  </a:lnTo>
                  <a:lnTo>
                    <a:pt x="2496" y="717"/>
                  </a:lnTo>
                  <a:lnTo>
                    <a:pt x="2485" y="690"/>
                  </a:lnTo>
                  <a:lnTo>
                    <a:pt x="2645" y="665"/>
                  </a:lnTo>
                  <a:lnTo>
                    <a:pt x="2653" y="685"/>
                  </a:lnTo>
                  <a:lnTo>
                    <a:pt x="2662" y="704"/>
                  </a:lnTo>
                  <a:lnTo>
                    <a:pt x="2667" y="712"/>
                  </a:lnTo>
                  <a:lnTo>
                    <a:pt x="2672" y="719"/>
                  </a:lnTo>
                  <a:lnTo>
                    <a:pt x="2678" y="726"/>
                  </a:lnTo>
                  <a:lnTo>
                    <a:pt x="2684" y="732"/>
                  </a:lnTo>
                  <a:lnTo>
                    <a:pt x="2690" y="736"/>
                  </a:lnTo>
                  <a:lnTo>
                    <a:pt x="2697" y="741"/>
                  </a:lnTo>
                  <a:lnTo>
                    <a:pt x="2704" y="746"/>
                  </a:lnTo>
                  <a:lnTo>
                    <a:pt x="2711" y="748"/>
                  </a:lnTo>
                  <a:lnTo>
                    <a:pt x="2718" y="750"/>
                  </a:lnTo>
                  <a:lnTo>
                    <a:pt x="2726" y="753"/>
                  </a:lnTo>
                  <a:lnTo>
                    <a:pt x="2734" y="754"/>
                  </a:lnTo>
                  <a:lnTo>
                    <a:pt x="2742" y="754"/>
                  </a:lnTo>
                  <a:lnTo>
                    <a:pt x="2750" y="754"/>
                  </a:lnTo>
                  <a:lnTo>
                    <a:pt x="2757" y="753"/>
                  </a:lnTo>
                  <a:lnTo>
                    <a:pt x="2764" y="751"/>
                  </a:lnTo>
                  <a:lnTo>
                    <a:pt x="2771" y="749"/>
                  </a:lnTo>
                  <a:lnTo>
                    <a:pt x="2777" y="746"/>
                  </a:lnTo>
                  <a:lnTo>
                    <a:pt x="2782" y="742"/>
                  </a:lnTo>
                  <a:lnTo>
                    <a:pt x="2788" y="738"/>
                  </a:lnTo>
                  <a:lnTo>
                    <a:pt x="2794" y="733"/>
                  </a:lnTo>
                  <a:lnTo>
                    <a:pt x="2799" y="727"/>
                  </a:lnTo>
                  <a:lnTo>
                    <a:pt x="2803" y="721"/>
                  </a:lnTo>
                  <a:lnTo>
                    <a:pt x="2807" y="714"/>
                  </a:lnTo>
                  <a:lnTo>
                    <a:pt x="2809" y="707"/>
                  </a:lnTo>
                  <a:lnTo>
                    <a:pt x="2811" y="699"/>
                  </a:lnTo>
                  <a:lnTo>
                    <a:pt x="2814" y="691"/>
                  </a:lnTo>
                  <a:lnTo>
                    <a:pt x="2815" y="682"/>
                  </a:lnTo>
                  <a:lnTo>
                    <a:pt x="2815" y="673"/>
                  </a:lnTo>
                  <a:lnTo>
                    <a:pt x="2814" y="658"/>
                  </a:lnTo>
                  <a:lnTo>
                    <a:pt x="2811" y="646"/>
                  </a:lnTo>
                  <a:lnTo>
                    <a:pt x="2809" y="640"/>
                  </a:lnTo>
                  <a:lnTo>
                    <a:pt x="2806" y="636"/>
                  </a:lnTo>
                  <a:lnTo>
                    <a:pt x="2802" y="631"/>
                  </a:lnTo>
                  <a:lnTo>
                    <a:pt x="2799" y="626"/>
                  </a:lnTo>
                  <a:lnTo>
                    <a:pt x="2790" y="619"/>
                  </a:lnTo>
                  <a:lnTo>
                    <a:pt x="2781" y="615"/>
                  </a:lnTo>
                  <a:lnTo>
                    <a:pt x="2771" y="611"/>
                  </a:lnTo>
                  <a:lnTo>
                    <a:pt x="2760" y="609"/>
                  </a:lnTo>
                  <a:lnTo>
                    <a:pt x="2745" y="608"/>
                  </a:lnTo>
                  <a:lnTo>
                    <a:pt x="2726" y="607"/>
                  </a:lnTo>
                  <a:lnTo>
                    <a:pt x="2699" y="607"/>
                  </a:lnTo>
                  <a:lnTo>
                    <a:pt x="2667" y="607"/>
                  </a:lnTo>
                  <a:lnTo>
                    <a:pt x="2667" y="491"/>
                  </a:lnTo>
                  <a:close/>
                  <a:moveTo>
                    <a:pt x="2081" y="445"/>
                  </a:moveTo>
                  <a:lnTo>
                    <a:pt x="1903" y="430"/>
                  </a:lnTo>
                  <a:lnTo>
                    <a:pt x="1907" y="408"/>
                  </a:lnTo>
                  <a:lnTo>
                    <a:pt x="1914" y="388"/>
                  </a:lnTo>
                  <a:lnTo>
                    <a:pt x="1921" y="368"/>
                  </a:lnTo>
                  <a:lnTo>
                    <a:pt x="1931" y="351"/>
                  </a:lnTo>
                  <a:lnTo>
                    <a:pt x="1943" y="335"/>
                  </a:lnTo>
                  <a:lnTo>
                    <a:pt x="1957" y="320"/>
                  </a:lnTo>
                  <a:lnTo>
                    <a:pt x="1972" y="306"/>
                  </a:lnTo>
                  <a:lnTo>
                    <a:pt x="1989" y="293"/>
                  </a:lnTo>
                  <a:lnTo>
                    <a:pt x="2009" y="282"/>
                  </a:lnTo>
                  <a:lnTo>
                    <a:pt x="2028" y="272"/>
                  </a:lnTo>
                  <a:lnTo>
                    <a:pt x="2050" y="263"/>
                  </a:lnTo>
                  <a:lnTo>
                    <a:pt x="2072" y="257"/>
                  </a:lnTo>
                  <a:lnTo>
                    <a:pt x="2097" y="251"/>
                  </a:lnTo>
                  <a:lnTo>
                    <a:pt x="2121" y="248"/>
                  </a:lnTo>
                  <a:lnTo>
                    <a:pt x="2148" y="246"/>
                  </a:lnTo>
                  <a:lnTo>
                    <a:pt x="2174" y="245"/>
                  </a:lnTo>
                  <a:lnTo>
                    <a:pt x="2198" y="246"/>
                  </a:lnTo>
                  <a:lnTo>
                    <a:pt x="2220" y="247"/>
                  </a:lnTo>
                  <a:lnTo>
                    <a:pt x="2240" y="249"/>
                  </a:lnTo>
                  <a:lnTo>
                    <a:pt x="2260" y="253"/>
                  </a:lnTo>
                  <a:lnTo>
                    <a:pt x="2277" y="257"/>
                  </a:lnTo>
                  <a:lnTo>
                    <a:pt x="2295" y="263"/>
                  </a:lnTo>
                  <a:lnTo>
                    <a:pt x="2311" y="269"/>
                  </a:lnTo>
                  <a:lnTo>
                    <a:pt x="2326" y="277"/>
                  </a:lnTo>
                  <a:lnTo>
                    <a:pt x="2340" y="285"/>
                  </a:lnTo>
                  <a:lnTo>
                    <a:pt x="2352" y="293"/>
                  </a:lnTo>
                  <a:lnTo>
                    <a:pt x="2363" y="302"/>
                  </a:lnTo>
                  <a:lnTo>
                    <a:pt x="2372" y="312"/>
                  </a:lnTo>
                  <a:lnTo>
                    <a:pt x="2382" y="321"/>
                  </a:lnTo>
                  <a:lnTo>
                    <a:pt x="2389" y="330"/>
                  </a:lnTo>
                  <a:lnTo>
                    <a:pt x="2394" y="341"/>
                  </a:lnTo>
                  <a:lnTo>
                    <a:pt x="2398" y="351"/>
                  </a:lnTo>
                  <a:lnTo>
                    <a:pt x="2401" y="363"/>
                  </a:lnTo>
                  <a:lnTo>
                    <a:pt x="2405" y="375"/>
                  </a:lnTo>
                  <a:lnTo>
                    <a:pt x="2407" y="389"/>
                  </a:lnTo>
                  <a:lnTo>
                    <a:pt x="2409" y="405"/>
                  </a:lnTo>
                  <a:lnTo>
                    <a:pt x="2413" y="440"/>
                  </a:lnTo>
                  <a:lnTo>
                    <a:pt x="2413" y="482"/>
                  </a:lnTo>
                  <a:lnTo>
                    <a:pt x="2413" y="719"/>
                  </a:lnTo>
                  <a:lnTo>
                    <a:pt x="2414" y="769"/>
                  </a:lnTo>
                  <a:lnTo>
                    <a:pt x="2415" y="807"/>
                  </a:lnTo>
                  <a:lnTo>
                    <a:pt x="2418" y="822"/>
                  </a:lnTo>
                  <a:lnTo>
                    <a:pt x="2419" y="834"/>
                  </a:lnTo>
                  <a:lnTo>
                    <a:pt x="2421" y="844"/>
                  </a:lnTo>
                  <a:lnTo>
                    <a:pt x="2423" y="850"/>
                  </a:lnTo>
                  <a:lnTo>
                    <a:pt x="2251" y="850"/>
                  </a:lnTo>
                  <a:lnTo>
                    <a:pt x="2247" y="836"/>
                  </a:lnTo>
                  <a:lnTo>
                    <a:pt x="2244" y="816"/>
                  </a:lnTo>
                  <a:lnTo>
                    <a:pt x="2243" y="791"/>
                  </a:lnTo>
                  <a:lnTo>
                    <a:pt x="2242" y="759"/>
                  </a:lnTo>
                  <a:lnTo>
                    <a:pt x="2233" y="772"/>
                  </a:lnTo>
                  <a:lnTo>
                    <a:pt x="2225" y="784"/>
                  </a:lnTo>
                  <a:lnTo>
                    <a:pt x="2216" y="795"/>
                  </a:lnTo>
                  <a:lnTo>
                    <a:pt x="2207" y="806"/>
                  </a:lnTo>
                  <a:lnTo>
                    <a:pt x="2198" y="815"/>
                  </a:lnTo>
                  <a:lnTo>
                    <a:pt x="2187" y="823"/>
                  </a:lnTo>
                  <a:lnTo>
                    <a:pt x="2177" y="831"/>
                  </a:lnTo>
                  <a:lnTo>
                    <a:pt x="2165" y="838"/>
                  </a:lnTo>
                  <a:lnTo>
                    <a:pt x="2154" y="845"/>
                  </a:lnTo>
                  <a:lnTo>
                    <a:pt x="2141" y="850"/>
                  </a:lnTo>
                  <a:lnTo>
                    <a:pt x="2128" y="854"/>
                  </a:lnTo>
                  <a:lnTo>
                    <a:pt x="2115" y="858"/>
                  </a:lnTo>
                  <a:lnTo>
                    <a:pt x="2101" y="861"/>
                  </a:lnTo>
                  <a:lnTo>
                    <a:pt x="2088" y="864"/>
                  </a:lnTo>
                  <a:lnTo>
                    <a:pt x="2074" y="865"/>
                  </a:lnTo>
                  <a:lnTo>
                    <a:pt x="2059" y="865"/>
                  </a:lnTo>
                  <a:lnTo>
                    <a:pt x="2039" y="864"/>
                  </a:lnTo>
                  <a:lnTo>
                    <a:pt x="2020" y="862"/>
                  </a:lnTo>
                  <a:lnTo>
                    <a:pt x="2003" y="859"/>
                  </a:lnTo>
                  <a:lnTo>
                    <a:pt x="1987" y="854"/>
                  </a:lnTo>
                  <a:lnTo>
                    <a:pt x="1972" y="849"/>
                  </a:lnTo>
                  <a:lnTo>
                    <a:pt x="1957" y="842"/>
                  </a:lnTo>
                  <a:lnTo>
                    <a:pt x="1944" y="832"/>
                  </a:lnTo>
                  <a:lnTo>
                    <a:pt x="1931" y="823"/>
                  </a:lnTo>
                  <a:lnTo>
                    <a:pt x="1920" y="813"/>
                  </a:lnTo>
                  <a:lnTo>
                    <a:pt x="1909" y="800"/>
                  </a:lnTo>
                  <a:lnTo>
                    <a:pt x="1901" y="787"/>
                  </a:lnTo>
                  <a:lnTo>
                    <a:pt x="1894" y="772"/>
                  </a:lnTo>
                  <a:lnTo>
                    <a:pt x="1888" y="757"/>
                  </a:lnTo>
                  <a:lnTo>
                    <a:pt x="1885" y="740"/>
                  </a:lnTo>
                  <a:lnTo>
                    <a:pt x="1883" y="721"/>
                  </a:lnTo>
                  <a:lnTo>
                    <a:pt x="1881" y="703"/>
                  </a:lnTo>
                  <a:lnTo>
                    <a:pt x="1881" y="690"/>
                  </a:lnTo>
                  <a:lnTo>
                    <a:pt x="1883" y="678"/>
                  </a:lnTo>
                  <a:lnTo>
                    <a:pt x="1884" y="667"/>
                  </a:lnTo>
                  <a:lnTo>
                    <a:pt x="1886" y="655"/>
                  </a:lnTo>
                  <a:lnTo>
                    <a:pt x="1888" y="645"/>
                  </a:lnTo>
                  <a:lnTo>
                    <a:pt x="1892" y="635"/>
                  </a:lnTo>
                  <a:lnTo>
                    <a:pt x="1895" y="624"/>
                  </a:lnTo>
                  <a:lnTo>
                    <a:pt x="1900" y="615"/>
                  </a:lnTo>
                  <a:lnTo>
                    <a:pt x="1906" y="604"/>
                  </a:lnTo>
                  <a:lnTo>
                    <a:pt x="1910" y="596"/>
                  </a:lnTo>
                  <a:lnTo>
                    <a:pt x="1917" y="587"/>
                  </a:lnTo>
                  <a:lnTo>
                    <a:pt x="1923" y="579"/>
                  </a:lnTo>
                  <a:lnTo>
                    <a:pt x="1931" y="571"/>
                  </a:lnTo>
                  <a:lnTo>
                    <a:pt x="1938" y="563"/>
                  </a:lnTo>
                  <a:lnTo>
                    <a:pt x="1947" y="556"/>
                  </a:lnTo>
                  <a:lnTo>
                    <a:pt x="1956" y="549"/>
                  </a:lnTo>
                  <a:lnTo>
                    <a:pt x="1966" y="542"/>
                  </a:lnTo>
                  <a:lnTo>
                    <a:pt x="1976" y="536"/>
                  </a:lnTo>
                  <a:lnTo>
                    <a:pt x="1988" y="530"/>
                  </a:lnTo>
                  <a:lnTo>
                    <a:pt x="2001" y="525"/>
                  </a:lnTo>
                  <a:lnTo>
                    <a:pt x="2015" y="519"/>
                  </a:lnTo>
                  <a:lnTo>
                    <a:pt x="2028" y="514"/>
                  </a:lnTo>
                  <a:lnTo>
                    <a:pt x="2045" y="510"/>
                  </a:lnTo>
                  <a:lnTo>
                    <a:pt x="2061" y="505"/>
                  </a:lnTo>
                  <a:lnTo>
                    <a:pt x="2097" y="498"/>
                  </a:lnTo>
                  <a:lnTo>
                    <a:pt x="2136" y="492"/>
                  </a:lnTo>
                  <a:lnTo>
                    <a:pt x="2179" y="486"/>
                  </a:lnTo>
                  <a:lnTo>
                    <a:pt x="2227" y="484"/>
                  </a:lnTo>
                  <a:lnTo>
                    <a:pt x="2227" y="461"/>
                  </a:lnTo>
                  <a:lnTo>
                    <a:pt x="2225" y="433"/>
                  </a:lnTo>
                  <a:lnTo>
                    <a:pt x="2223" y="410"/>
                  </a:lnTo>
                  <a:lnTo>
                    <a:pt x="2221" y="400"/>
                  </a:lnTo>
                  <a:lnTo>
                    <a:pt x="2218" y="390"/>
                  </a:lnTo>
                  <a:lnTo>
                    <a:pt x="2216" y="383"/>
                  </a:lnTo>
                  <a:lnTo>
                    <a:pt x="2213" y="376"/>
                  </a:lnTo>
                  <a:lnTo>
                    <a:pt x="2209" y="372"/>
                  </a:lnTo>
                  <a:lnTo>
                    <a:pt x="2205" y="366"/>
                  </a:lnTo>
                  <a:lnTo>
                    <a:pt x="2199" y="363"/>
                  </a:lnTo>
                  <a:lnTo>
                    <a:pt x="2193" y="359"/>
                  </a:lnTo>
                  <a:lnTo>
                    <a:pt x="2186" y="357"/>
                  </a:lnTo>
                  <a:lnTo>
                    <a:pt x="2178" y="354"/>
                  </a:lnTo>
                  <a:lnTo>
                    <a:pt x="2170" y="353"/>
                  </a:lnTo>
                  <a:lnTo>
                    <a:pt x="2159" y="353"/>
                  </a:lnTo>
                  <a:lnTo>
                    <a:pt x="2151" y="353"/>
                  </a:lnTo>
                  <a:lnTo>
                    <a:pt x="2143" y="354"/>
                  </a:lnTo>
                  <a:lnTo>
                    <a:pt x="2135" y="357"/>
                  </a:lnTo>
                  <a:lnTo>
                    <a:pt x="2128" y="359"/>
                  </a:lnTo>
                  <a:lnTo>
                    <a:pt x="2121" y="363"/>
                  </a:lnTo>
                  <a:lnTo>
                    <a:pt x="2115" y="366"/>
                  </a:lnTo>
                  <a:lnTo>
                    <a:pt x="2110" y="371"/>
                  </a:lnTo>
                  <a:lnTo>
                    <a:pt x="2104" y="376"/>
                  </a:lnTo>
                  <a:lnTo>
                    <a:pt x="2099" y="382"/>
                  </a:lnTo>
                  <a:lnTo>
                    <a:pt x="2094" y="389"/>
                  </a:lnTo>
                  <a:lnTo>
                    <a:pt x="2091" y="396"/>
                  </a:lnTo>
                  <a:lnTo>
                    <a:pt x="2089" y="405"/>
                  </a:lnTo>
                  <a:lnTo>
                    <a:pt x="2085" y="413"/>
                  </a:lnTo>
                  <a:lnTo>
                    <a:pt x="2083" y="424"/>
                  </a:lnTo>
                  <a:lnTo>
                    <a:pt x="2082" y="434"/>
                  </a:lnTo>
                  <a:lnTo>
                    <a:pt x="2081" y="445"/>
                  </a:lnTo>
                  <a:close/>
                  <a:moveTo>
                    <a:pt x="2227" y="569"/>
                  </a:moveTo>
                  <a:lnTo>
                    <a:pt x="2207" y="571"/>
                  </a:lnTo>
                  <a:lnTo>
                    <a:pt x="2188" y="573"/>
                  </a:lnTo>
                  <a:lnTo>
                    <a:pt x="2171" y="577"/>
                  </a:lnTo>
                  <a:lnTo>
                    <a:pt x="2156" y="580"/>
                  </a:lnTo>
                  <a:lnTo>
                    <a:pt x="2142" y="585"/>
                  </a:lnTo>
                  <a:lnTo>
                    <a:pt x="2129" y="589"/>
                  </a:lnTo>
                  <a:lnTo>
                    <a:pt x="2118" y="594"/>
                  </a:lnTo>
                  <a:lnTo>
                    <a:pt x="2108" y="600"/>
                  </a:lnTo>
                  <a:lnTo>
                    <a:pt x="2100" y="607"/>
                  </a:lnTo>
                  <a:lnTo>
                    <a:pt x="2093" y="614"/>
                  </a:lnTo>
                  <a:lnTo>
                    <a:pt x="2088" y="623"/>
                  </a:lnTo>
                  <a:lnTo>
                    <a:pt x="2082" y="632"/>
                  </a:lnTo>
                  <a:lnTo>
                    <a:pt x="2078" y="643"/>
                  </a:lnTo>
                  <a:lnTo>
                    <a:pt x="2076" y="654"/>
                  </a:lnTo>
                  <a:lnTo>
                    <a:pt x="2074" y="667"/>
                  </a:lnTo>
                  <a:lnTo>
                    <a:pt x="2074" y="681"/>
                  </a:lnTo>
                  <a:lnTo>
                    <a:pt x="2075" y="698"/>
                  </a:lnTo>
                  <a:lnTo>
                    <a:pt x="2077" y="713"/>
                  </a:lnTo>
                  <a:lnTo>
                    <a:pt x="2079" y="720"/>
                  </a:lnTo>
                  <a:lnTo>
                    <a:pt x="2082" y="727"/>
                  </a:lnTo>
                  <a:lnTo>
                    <a:pt x="2085" y="732"/>
                  </a:lnTo>
                  <a:lnTo>
                    <a:pt x="2089" y="738"/>
                  </a:lnTo>
                  <a:lnTo>
                    <a:pt x="2093" y="742"/>
                  </a:lnTo>
                  <a:lnTo>
                    <a:pt x="2098" y="746"/>
                  </a:lnTo>
                  <a:lnTo>
                    <a:pt x="2103" y="749"/>
                  </a:lnTo>
                  <a:lnTo>
                    <a:pt x="2108" y="751"/>
                  </a:lnTo>
                  <a:lnTo>
                    <a:pt x="2115" y="754"/>
                  </a:lnTo>
                  <a:lnTo>
                    <a:pt x="2122" y="755"/>
                  </a:lnTo>
                  <a:lnTo>
                    <a:pt x="2129" y="756"/>
                  </a:lnTo>
                  <a:lnTo>
                    <a:pt x="2136" y="756"/>
                  </a:lnTo>
                  <a:lnTo>
                    <a:pt x="2145" y="756"/>
                  </a:lnTo>
                  <a:lnTo>
                    <a:pt x="2154" y="754"/>
                  </a:lnTo>
                  <a:lnTo>
                    <a:pt x="2162" y="751"/>
                  </a:lnTo>
                  <a:lnTo>
                    <a:pt x="2169" y="748"/>
                  </a:lnTo>
                  <a:lnTo>
                    <a:pt x="2177" y="743"/>
                  </a:lnTo>
                  <a:lnTo>
                    <a:pt x="2185" y="738"/>
                  </a:lnTo>
                  <a:lnTo>
                    <a:pt x="2192" y="731"/>
                  </a:lnTo>
                  <a:lnTo>
                    <a:pt x="2199" y="722"/>
                  </a:lnTo>
                  <a:lnTo>
                    <a:pt x="2206" y="713"/>
                  </a:lnTo>
                  <a:lnTo>
                    <a:pt x="2210" y="702"/>
                  </a:lnTo>
                  <a:lnTo>
                    <a:pt x="2216" y="689"/>
                  </a:lnTo>
                  <a:lnTo>
                    <a:pt x="2220" y="674"/>
                  </a:lnTo>
                  <a:lnTo>
                    <a:pt x="2223" y="658"/>
                  </a:lnTo>
                  <a:lnTo>
                    <a:pt x="2225" y="639"/>
                  </a:lnTo>
                  <a:lnTo>
                    <a:pt x="2227" y="619"/>
                  </a:lnTo>
                  <a:lnTo>
                    <a:pt x="2227" y="597"/>
                  </a:lnTo>
                  <a:lnTo>
                    <a:pt x="2227" y="569"/>
                  </a:lnTo>
                  <a:close/>
                  <a:moveTo>
                    <a:pt x="1268" y="260"/>
                  </a:moveTo>
                  <a:lnTo>
                    <a:pt x="1443" y="260"/>
                  </a:lnTo>
                  <a:lnTo>
                    <a:pt x="1443" y="348"/>
                  </a:lnTo>
                  <a:lnTo>
                    <a:pt x="1449" y="336"/>
                  </a:lnTo>
                  <a:lnTo>
                    <a:pt x="1456" y="326"/>
                  </a:lnTo>
                  <a:lnTo>
                    <a:pt x="1463" y="315"/>
                  </a:lnTo>
                  <a:lnTo>
                    <a:pt x="1471" y="306"/>
                  </a:lnTo>
                  <a:lnTo>
                    <a:pt x="1480" y="298"/>
                  </a:lnTo>
                  <a:lnTo>
                    <a:pt x="1489" y="290"/>
                  </a:lnTo>
                  <a:lnTo>
                    <a:pt x="1498" y="283"/>
                  </a:lnTo>
                  <a:lnTo>
                    <a:pt x="1506" y="276"/>
                  </a:lnTo>
                  <a:lnTo>
                    <a:pt x="1517" y="270"/>
                  </a:lnTo>
                  <a:lnTo>
                    <a:pt x="1526" y="265"/>
                  </a:lnTo>
                  <a:lnTo>
                    <a:pt x="1536" y="262"/>
                  </a:lnTo>
                  <a:lnTo>
                    <a:pt x="1547" y="258"/>
                  </a:lnTo>
                  <a:lnTo>
                    <a:pt x="1558" y="255"/>
                  </a:lnTo>
                  <a:lnTo>
                    <a:pt x="1569" y="254"/>
                  </a:lnTo>
                  <a:lnTo>
                    <a:pt x="1580" y="253"/>
                  </a:lnTo>
                  <a:lnTo>
                    <a:pt x="1592" y="251"/>
                  </a:lnTo>
                  <a:lnTo>
                    <a:pt x="1603" y="253"/>
                  </a:lnTo>
                  <a:lnTo>
                    <a:pt x="1615" y="253"/>
                  </a:lnTo>
                  <a:lnTo>
                    <a:pt x="1625" y="255"/>
                  </a:lnTo>
                  <a:lnTo>
                    <a:pt x="1636" y="256"/>
                  </a:lnTo>
                  <a:lnTo>
                    <a:pt x="1646" y="260"/>
                  </a:lnTo>
                  <a:lnTo>
                    <a:pt x="1657" y="262"/>
                  </a:lnTo>
                  <a:lnTo>
                    <a:pt x="1666" y="265"/>
                  </a:lnTo>
                  <a:lnTo>
                    <a:pt x="1675" y="270"/>
                  </a:lnTo>
                  <a:lnTo>
                    <a:pt x="1685" y="275"/>
                  </a:lnTo>
                  <a:lnTo>
                    <a:pt x="1694" y="280"/>
                  </a:lnTo>
                  <a:lnTo>
                    <a:pt x="1703" y="286"/>
                  </a:lnTo>
                  <a:lnTo>
                    <a:pt x="1711" y="292"/>
                  </a:lnTo>
                  <a:lnTo>
                    <a:pt x="1729" y="307"/>
                  </a:lnTo>
                  <a:lnTo>
                    <a:pt x="1744" y="324"/>
                  </a:lnTo>
                  <a:lnTo>
                    <a:pt x="1751" y="334"/>
                  </a:lnTo>
                  <a:lnTo>
                    <a:pt x="1757" y="343"/>
                  </a:lnTo>
                  <a:lnTo>
                    <a:pt x="1764" y="353"/>
                  </a:lnTo>
                  <a:lnTo>
                    <a:pt x="1770" y="365"/>
                  </a:lnTo>
                  <a:lnTo>
                    <a:pt x="1775" y="376"/>
                  </a:lnTo>
                  <a:lnTo>
                    <a:pt x="1781" y="389"/>
                  </a:lnTo>
                  <a:lnTo>
                    <a:pt x="1784" y="402"/>
                  </a:lnTo>
                  <a:lnTo>
                    <a:pt x="1789" y="416"/>
                  </a:lnTo>
                  <a:lnTo>
                    <a:pt x="1796" y="444"/>
                  </a:lnTo>
                  <a:lnTo>
                    <a:pt x="1800" y="475"/>
                  </a:lnTo>
                  <a:lnTo>
                    <a:pt x="1803" y="508"/>
                  </a:lnTo>
                  <a:lnTo>
                    <a:pt x="1804" y="544"/>
                  </a:lnTo>
                  <a:lnTo>
                    <a:pt x="1803" y="582"/>
                  </a:lnTo>
                  <a:lnTo>
                    <a:pt x="1800" y="617"/>
                  </a:lnTo>
                  <a:lnTo>
                    <a:pt x="1796" y="651"/>
                  </a:lnTo>
                  <a:lnTo>
                    <a:pt x="1789" y="681"/>
                  </a:lnTo>
                  <a:lnTo>
                    <a:pt x="1785" y="695"/>
                  </a:lnTo>
                  <a:lnTo>
                    <a:pt x="1781" y="709"/>
                  </a:lnTo>
                  <a:lnTo>
                    <a:pt x="1776" y="722"/>
                  </a:lnTo>
                  <a:lnTo>
                    <a:pt x="1770" y="734"/>
                  </a:lnTo>
                  <a:lnTo>
                    <a:pt x="1764" y="747"/>
                  </a:lnTo>
                  <a:lnTo>
                    <a:pt x="1759" y="758"/>
                  </a:lnTo>
                  <a:lnTo>
                    <a:pt x="1752" y="769"/>
                  </a:lnTo>
                  <a:lnTo>
                    <a:pt x="1745" y="779"/>
                  </a:lnTo>
                  <a:lnTo>
                    <a:pt x="1737" y="788"/>
                  </a:lnTo>
                  <a:lnTo>
                    <a:pt x="1729" y="798"/>
                  </a:lnTo>
                  <a:lnTo>
                    <a:pt x="1720" y="806"/>
                  </a:lnTo>
                  <a:lnTo>
                    <a:pt x="1712" y="813"/>
                  </a:lnTo>
                  <a:lnTo>
                    <a:pt x="1703" y="821"/>
                  </a:lnTo>
                  <a:lnTo>
                    <a:pt x="1694" y="827"/>
                  </a:lnTo>
                  <a:lnTo>
                    <a:pt x="1683" y="832"/>
                  </a:lnTo>
                  <a:lnTo>
                    <a:pt x="1673" y="838"/>
                  </a:lnTo>
                  <a:lnTo>
                    <a:pt x="1663" y="843"/>
                  </a:lnTo>
                  <a:lnTo>
                    <a:pt x="1652" y="846"/>
                  </a:lnTo>
                  <a:lnTo>
                    <a:pt x="1641" y="850"/>
                  </a:lnTo>
                  <a:lnTo>
                    <a:pt x="1629" y="852"/>
                  </a:lnTo>
                  <a:lnTo>
                    <a:pt x="1617" y="854"/>
                  </a:lnTo>
                  <a:lnTo>
                    <a:pt x="1605" y="857"/>
                  </a:lnTo>
                  <a:lnTo>
                    <a:pt x="1592" y="857"/>
                  </a:lnTo>
                  <a:lnTo>
                    <a:pt x="1578" y="858"/>
                  </a:lnTo>
                  <a:lnTo>
                    <a:pt x="1559" y="857"/>
                  </a:lnTo>
                  <a:lnTo>
                    <a:pt x="1542" y="854"/>
                  </a:lnTo>
                  <a:lnTo>
                    <a:pt x="1525" y="850"/>
                  </a:lnTo>
                  <a:lnTo>
                    <a:pt x="1509" y="844"/>
                  </a:lnTo>
                  <a:lnTo>
                    <a:pt x="1492" y="837"/>
                  </a:lnTo>
                  <a:lnTo>
                    <a:pt x="1478" y="828"/>
                  </a:lnTo>
                  <a:lnTo>
                    <a:pt x="1465" y="817"/>
                  </a:lnTo>
                  <a:lnTo>
                    <a:pt x="1452" y="806"/>
                  </a:lnTo>
                  <a:lnTo>
                    <a:pt x="1452" y="1050"/>
                  </a:lnTo>
                  <a:lnTo>
                    <a:pt x="1268" y="1050"/>
                  </a:lnTo>
                  <a:lnTo>
                    <a:pt x="1268" y="260"/>
                  </a:lnTo>
                  <a:close/>
                  <a:moveTo>
                    <a:pt x="1452" y="607"/>
                  </a:moveTo>
                  <a:lnTo>
                    <a:pt x="1452" y="628"/>
                  </a:lnTo>
                  <a:lnTo>
                    <a:pt x="1453" y="646"/>
                  </a:lnTo>
                  <a:lnTo>
                    <a:pt x="1454" y="662"/>
                  </a:lnTo>
                  <a:lnTo>
                    <a:pt x="1455" y="676"/>
                  </a:lnTo>
                  <a:lnTo>
                    <a:pt x="1458" y="689"/>
                  </a:lnTo>
                  <a:lnTo>
                    <a:pt x="1460" y="700"/>
                  </a:lnTo>
                  <a:lnTo>
                    <a:pt x="1463" y="710"/>
                  </a:lnTo>
                  <a:lnTo>
                    <a:pt x="1467" y="717"/>
                  </a:lnTo>
                  <a:lnTo>
                    <a:pt x="1471" y="722"/>
                  </a:lnTo>
                  <a:lnTo>
                    <a:pt x="1477" y="727"/>
                  </a:lnTo>
                  <a:lnTo>
                    <a:pt x="1483" y="732"/>
                  </a:lnTo>
                  <a:lnTo>
                    <a:pt x="1490" y="735"/>
                  </a:lnTo>
                  <a:lnTo>
                    <a:pt x="1499" y="739"/>
                  </a:lnTo>
                  <a:lnTo>
                    <a:pt x="1509" y="740"/>
                  </a:lnTo>
                  <a:lnTo>
                    <a:pt x="1518" y="741"/>
                  </a:lnTo>
                  <a:lnTo>
                    <a:pt x="1529" y="742"/>
                  </a:lnTo>
                  <a:lnTo>
                    <a:pt x="1540" y="741"/>
                  </a:lnTo>
                  <a:lnTo>
                    <a:pt x="1549" y="740"/>
                  </a:lnTo>
                  <a:lnTo>
                    <a:pt x="1558" y="738"/>
                  </a:lnTo>
                  <a:lnTo>
                    <a:pt x="1566" y="733"/>
                  </a:lnTo>
                  <a:lnTo>
                    <a:pt x="1573" y="728"/>
                  </a:lnTo>
                  <a:lnTo>
                    <a:pt x="1580" y="722"/>
                  </a:lnTo>
                  <a:lnTo>
                    <a:pt x="1586" y="716"/>
                  </a:lnTo>
                  <a:lnTo>
                    <a:pt x="1592" y="709"/>
                  </a:lnTo>
                  <a:lnTo>
                    <a:pt x="1597" y="698"/>
                  </a:lnTo>
                  <a:lnTo>
                    <a:pt x="1601" y="685"/>
                  </a:lnTo>
                  <a:lnTo>
                    <a:pt x="1605" y="669"/>
                  </a:lnTo>
                  <a:lnTo>
                    <a:pt x="1607" y="651"/>
                  </a:lnTo>
                  <a:lnTo>
                    <a:pt x="1609" y="629"/>
                  </a:lnTo>
                  <a:lnTo>
                    <a:pt x="1610" y="603"/>
                  </a:lnTo>
                  <a:lnTo>
                    <a:pt x="1612" y="576"/>
                  </a:lnTo>
                  <a:lnTo>
                    <a:pt x="1612" y="545"/>
                  </a:lnTo>
                  <a:lnTo>
                    <a:pt x="1612" y="519"/>
                  </a:lnTo>
                  <a:lnTo>
                    <a:pt x="1612" y="496"/>
                  </a:lnTo>
                  <a:lnTo>
                    <a:pt x="1609" y="474"/>
                  </a:lnTo>
                  <a:lnTo>
                    <a:pt x="1608" y="454"/>
                  </a:lnTo>
                  <a:lnTo>
                    <a:pt x="1605" y="438"/>
                  </a:lnTo>
                  <a:lnTo>
                    <a:pt x="1602" y="423"/>
                  </a:lnTo>
                  <a:lnTo>
                    <a:pt x="1599" y="410"/>
                  </a:lnTo>
                  <a:lnTo>
                    <a:pt x="1594" y="398"/>
                  </a:lnTo>
                  <a:lnTo>
                    <a:pt x="1590" y="390"/>
                  </a:lnTo>
                  <a:lnTo>
                    <a:pt x="1584" y="382"/>
                  </a:lnTo>
                  <a:lnTo>
                    <a:pt x="1578" y="375"/>
                  </a:lnTo>
                  <a:lnTo>
                    <a:pt x="1571" y="370"/>
                  </a:lnTo>
                  <a:lnTo>
                    <a:pt x="1563" y="366"/>
                  </a:lnTo>
                  <a:lnTo>
                    <a:pt x="1554" y="363"/>
                  </a:lnTo>
                  <a:lnTo>
                    <a:pt x="1544" y="361"/>
                  </a:lnTo>
                  <a:lnTo>
                    <a:pt x="1535" y="360"/>
                  </a:lnTo>
                  <a:lnTo>
                    <a:pt x="1526" y="361"/>
                  </a:lnTo>
                  <a:lnTo>
                    <a:pt x="1518" y="363"/>
                  </a:lnTo>
                  <a:lnTo>
                    <a:pt x="1510" y="364"/>
                  </a:lnTo>
                  <a:lnTo>
                    <a:pt x="1503" y="366"/>
                  </a:lnTo>
                  <a:lnTo>
                    <a:pt x="1496" y="370"/>
                  </a:lnTo>
                  <a:lnTo>
                    <a:pt x="1489" y="374"/>
                  </a:lnTo>
                  <a:lnTo>
                    <a:pt x="1482" y="379"/>
                  </a:lnTo>
                  <a:lnTo>
                    <a:pt x="1476" y="385"/>
                  </a:lnTo>
                  <a:lnTo>
                    <a:pt x="1470" y="392"/>
                  </a:lnTo>
                  <a:lnTo>
                    <a:pt x="1466" y="401"/>
                  </a:lnTo>
                  <a:lnTo>
                    <a:pt x="1461" y="411"/>
                  </a:lnTo>
                  <a:lnTo>
                    <a:pt x="1458" y="425"/>
                  </a:lnTo>
                  <a:lnTo>
                    <a:pt x="1455" y="439"/>
                  </a:lnTo>
                  <a:lnTo>
                    <a:pt x="1453" y="456"/>
                  </a:lnTo>
                  <a:lnTo>
                    <a:pt x="1452" y="475"/>
                  </a:lnTo>
                  <a:lnTo>
                    <a:pt x="1452" y="496"/>
                  </a:lnTo>
                  <a:lnTo>
                    <a:pt x="1452" y="607"/>
                  </a:lnTo>
                  <a:close/>
                  <a:moveTo>
                    <a:pt x="619" y="850"/>
                  </a:moveTo>
                  <a:lnTo>
                    <a:pt x="619" y="260"/>
                  </a:lnTo>
                  <a:lnTo>
                    <a:pt x="958" y="260"/>
                  </a:lnTo>
                  <a:lnTo>
                    <a:pt x="989" y="260"/>
                  </a:lnTo>
                  <a:lnTo>
                    <a:pt x="1015" y="262"/>
                  </a:lnTo>
                  <a:lnTo>
                    <a:pt x="1038" y="267"/>
                  </a:lnTo>
                  <a:lnTo>
                    <a:pt x="1059" y="271"/>
                  </a:lnTo>
                  <a:lnTo>
                    <a:pt x="1068" y="275"/>
                  </a:lnTo>
                  <a:lnTo>
                    <a:pt x="1078" y="279"/>
                  </a:lnTo>
                  <a:lnTo>
                    <a:pt x="1086" y="284"/>
                  </a:lnTo>
                  <a:lnTo>
                    <a:pt x="1095" y="290"/>
                  </a:lnTo>
                  <a:lnTo>
                    <a:pt x="1103" y="297"/>
                  </a:lnTo>
                  <a:lnTo>
                    <a:pt x="1111" y="304"/>
                  </a:lnTo>
                  <a:lnTo>
                    <a:pt x="1118" y="312"/>
                  </a:lnTo>
                  <a:lnTo>
                    <a:pt x="1126" y="321"/>
                  </a:lnTo>
                  <a:lnTo>
                    <a:pt x="1133" y="330"/>
                  </a:lnTo>
                  <a:lnTo>
                    <a:pt x="1139" y="341"/>
                  </a:lnTo>
                  <a:lnTo>
                    <a:pt x="1144" y="351"/>
                  </a:lnTo>
                  <a:lnTo>
                    <a:pt x="1148" y="361"/>
                  </a:lnTo>
                  <a:lnTo>
                    <a:pt x="1152" y="373"/>
                  </a:lnTo>
                  <a:lnTo>
                    <a:pt x="1154" y="385"/>
                  </a:lnTo>
                  <a:lnTo>
                    <a:pt x="1155" y="397"/>
                  </a:lnTo>
                  <a:lnTo>
                    <a:pt x="1155" y="410"/>
                  </a:lnTo>
                  <a:lnTo>
                    <a:pt x="1155" y="419"/>
                  </a:lnTo>
                  <a:lnTo>
                    <a:pt x="1154" y="430"/>
                  </a:lnTo>
                  <a:lnTo>
                    <a:pt x="1153" y="439"/>
                  </a:lnTo>
                  <a:lnTo>
                    <a:pt x="1151" y="448"/>
                  </a:lnTo>
                  <a:lnTo>
                    <a:pt x="1147" y="456"/>
                  </a:lnTo>
                  <a:lnTo>
                    <a:pt x="1144" y="466"/>
                  </a:lnTo>
                  <a:lnTo>
                    <a:pt x="1140" y="474"/>
                  </a:lnTo>
                  <a:lnTo>
                    <a:pt x="1134" y="482"/>
                  </a:lnTo>
                  <a:lnTo>
                    <a:pt x="1129" y="489"/>
                  </a:lnTo>
                  <a:lnTo>
                    <a:pt x="1123" y="497"/>
                  </a:lnTo>
                  <a:lnTo>
                    <a:pt x="1116" y="504"/>
                  </a:lnTo>
                  <a:lnTo>
                    <a:pt x="1109" y="511"/>
                  </a:lnTo>
                  <a:lnTo>
                    <a:pt x="1101" y="516"/>
                  </a:lnTo>
                  <a:lnTo>
                    <a:pt x="1092" y="523"/>
                  </a:lnTo>
                  <a:lnTo>
                    <a:pt x="1082" y="529"/>
                  </a:lnTo>
                  <a:lnTo>
                    <a:pt x="1072" y="535"/>
                  </a:lnTo>
                  <a:lnTo>
                    <a:pt x="1085" y="541"/>
                  </a:lnTo>
                  <a:lnTo>
                    <a:pt x="1096" y="547"/>
                  </a:lnTo>
                  <a:lnTo>
                    <a:pt x="1107" y="554"/>
                  </a:lnTo>
                  <a:lnTo>
                    <a:pt x="1117" y="560"/>
                  </a:lnTo>
                  <a:lnTo>
                    <a:pt x="1126" y="567"/>
                  </a:lnTo>
                  <a:lnTo>
                    <a:pt x="1134" y="576"/>
                  </a:lnTo>
                  <a:lnTo>
                    <a:pt x="1143" y="584"/>
                  </a:lnTo>
                  <a:lnTo>
                    <a:pt x="1150" y="592"/>
                  </a:lnTo>
                  <a:lnTo>
                    <a:pt x="1155" y="601"/>
                  </a:lnTo>
                  <a:lnTo>
                    <a:pt x="1160" y="610"/>
                  </a:lnTo>
                  <a:lnTo>
                    <a:pt x="1165" y="621"/>
                  </a:lnTo>
                  <a:lnTo>
                    <a:pt x="1168" y="631"/>
                  </a:lnTo>
                  <a:lnTo>
                    <a:pt x="1172" y="641"/>
                  </a:lnTo>
                  <a:lnTo>
                    <a:pt x="1174" y="653"/>
                  </a:lnTo>
                  <a:lnTo>
                    <a:pt x="1175" y="665"/>
                  </a:lnTo>
                  <a:lnTo>
                    <a:pt x="1175" y="677"/>
                  </a:lnTo>
                  <a:lnTo>
                    <a:pt x="1174" y="696"/>
                  </a:lnTo>
                  <a:lnTo>
                    <a:pt x="1172" y="713"/>
                  </a:lnTo>
                  <a:lnTo>
                    <a:pt x="1168" y="731"/>
                  </a:lnTo>
                  <a:lnTo>
                    <a:pt x="1162" y="746"/>
                  </a:lnTo>
                  <a:lnTo>
                    <a:pt x="1155" y="762"/>
                  </a:lnTo>
                  <a:lnTo>
                    <a:pt x="1146" y="776"/>
                  </a:lnTo>
                  <a:lnTo>
                    <a:pt x="1137" y="790"/>
                  </a:lnTo>
                  <a:lnTo>
                    <a:pt x="1124" y="801"/>
                  </a:lnTo>
                  <a:lnTo>
                    <a:pt x="1111" y="813"/>
                  </a:lnTo>
                  <a:lnTo>
                    <a:pt x="1097" y="823"/>
                  </a:lnTo>
                  <a:lnTo>
                    <a:pt x="1081" y="831"/>
                  </a:lnTo>
                  <a:lnTo>
                    <a:pt x="1065" y="838"/>
                  </a:lnTo>
                  <a:lnTo>
                    <a:pt x="1046" y="843"/>
                  </a:lnTo>
                  <a:lnTo>
                    <a:pt x="1027" y="847"/>
                  </a:lnTo>
                  <a:lnTo>
                    <a:pt x="1007" y="850"/>
                  </a:lnTo>
                  <a:lnTo>
                    <a:pt x="985" y="850"/>
                  </a:lnTo>
                  <a:lnTo>
                    <a:pt x="619" y="850"/>
                  </a:lnTo>
                  <a:close/>
                  <a:moveTo>
                    <a:pt x="818" y="489"/>
                  </a:moveTo>
                  <a:lnTo>
                    <a:pt x="921" y="489"/>
                  </a:lnTo>
                  <a:lnTo>
                    <a:pt x="936" y="488"/>
                  </a:lnTo>
                  <a:lnTo>
                    <a:pt x="949" y="485"/>
                  </a:lnTo>
                  <a:lnTo>
                    <a:pt x="955" y="483"/>
                  </a:lnTo>
                  <a:lnTo>
                    <a:pt x="960" y="482"/>
                  </a:lnTo>
                  <a:lnTo>
                    <a:pt x="964" y="478"/>
                  </a:lnTo>
                  <a:lnTo>
                    <a:pt x="969" y="476"/>
                  </a:lnTo>
                  <a:lnTo>
                    <a:pt x="972" y="473"/>
                  </a:lnTo>
                  <a:lnTo>
                    <a:pt x="975" y="468"/>
                  </a:lnTo>
                  <a:lnTo>
                    <a:pt x="977" y="463"/>
                  </a:lnTo>
                  <a:lnTo>
                    <a:pt x="979" y="459"/>
                  </a:lnTo>
                  <a:lnTo>
                    <a:pt x="983" y="446"/>
                  </a:lnTo>
                  <a:lnTo>
                    <a:pt x="983" y="431"/>
                  </a:lnTo>
                  <a:lnTo>
                    <a:pt x="983" y="418"/>
                  </a:lnTo>
                  <a:lnTo>
                    <a:pt x="980" y="408"/>
                  </a:lnTo>
                  <a:lnTo>
                    <a:pt x="978" y="397"/>
                  </a:lnTo>
                  <a:lnTo>
                    <a:pt x="973" y="387"/>
                  </a:lnTo>
                  <a:lnTo>
                    <a:pt x="971" y="382"/>
                  </a:lnTo>
                  <a:lnTo>
                    <a:pt x="967" y="379"/>
                  </a:lnTo>
                  <a:lnTo>
                    <a:pt x="962" y="375"/>
                  </a:lnTo>
                  <a:lnTo>
                    <a:pt x="956" y="373"/>
                  </a:lnTo>
                  <a:lnTo>
                    <a:pt x="949" y="371"/>
                  </a:lnTo>
                  <a:lnTo>
                    <a:pt x="941" y="368"/>
                  </a:lnTo>
                  <a:lnTo>
                    <a:pt x="932" y="368"/>
                  </a:lnTo>
                  <a:lnTo>
                    <a:pt x="921" y="367"/>
                  </a:lnTo>
                  <a:lnTo>
                    <a:pt x="818" y="367"/>
                  </a:lnTo>
                  <a:lnTo>
                    <a:pt x="818" y="489"/>
                  </a:lnTo>
                  <a:close/>
                  <a:moveTo>
                    <a:pt x="818" y="722"/>
                  </a:moveTo>
                  <a:lnTo>
                    <a:pt x="929" y="722"/>
                  </a:lnTo>
                  <a:lnTo>
                    <a:pt x="939" y="722"/>
                  </a:lnTo>
                  <a:lnTo>
                    <a:pt x="948" y="721"/>
                  </a:lnTo>
                  <a:lnTo>
                    <a:pt x="955" y="720"/>
                  </a:lnTo>
                  <a:lnTo>
                    <a:pt x="962" y="718"/>
                  </a:lnTo>
                  <a:lnTo>
                    <a:pt x="969" y="716"/>
                  </a:lnTo>
                  <a:lnTo>
                    <a:pt x="973" y="713"/>
                  </a:lnTo>
                  <a:lnTo>
                    <a:pt x="978" y="710"/>
                  </a:lnTo>
                  <a:lnTo>
                    <a:pt x="982" y="706"/>
                  </a:lnTo>
                  <a:lnTo>
                    <a:pt x="985" y="702"/>
                  </a:lnTo>
                  <a:lnTo>
                    <a:pt x="987" y="697"/>
                  </a:lnTo>
                  <a:lnTo>
                    <a:pt x="990" y="691"/>
                  </a:lnTo>
                  <a:lnTo>
                    <a:pt x="992" y="685"/>
                  </a:lnTo>
                  <a:lnTo>
                    <a:pt x="994" y="672"/>
                  </a:lnTo>
                  <a:lnTo>
                    <a:pt x="995" y="657"/>
                  </a:lnTo>
                  <a:lnTo>
                    <a:pt x="994" y="641"/>
                  </a:lnTo>
                  <a:lnTo>
                    <a:pt x="992" y="628"/>
                  </a:lnTo>
                  <a:lnTo>
                    <a:pt x="990" y="622"/>
                  </a:lnTo>
                  <a:lnTo>
                    <a:pt x="987" y="616"/>
                  </a:lnTo>
                  <a:lnTo>
                    <a:pt x="985" y="611"/>
                  </a:lnTo>
                  <a:lnTo>
                    <a:pt x="982" y="607"/>
                  </a:lnTo>
                  <a:lnTo>
                    <a:pt x="977" y="603"/>
                  </a:lnTo>
                  <a:lnTo>
                    <a:pt x="972" y="600"/>
                  </a:lnTo>
                  <a:lnTo>
                    <a:pt x="968" y="596"/>
                  </a:lnTo>
                  <a:lnTo>
                    <a:pt x="962" y="594"/>
                  </a:lnTo>
                  <a:lnTo>
                    <a:pt x="955" y="592"/>
                  </a:lnTo>
                  <a:lnTo>
                    <a:pt x="947" y="591"/>
                  </a:lnTo>
                  <a:lnTo>
                    <a:pt x="939" y="589"/>
                  </a:lnTo>
                  <a:lnTo>
                    <a:pt x="929" y="589"/>
                  </a:lnTo>
                  <a:lnTo>
                    <a:pt x="818" y="589"/>
                  </a:lnTo>
                  <a:lnTo>
                    <a:pt x="818" y="722"/>
                  </a:lnTo>
                  <a:close/>
                </a:path>
              </a:pathLst>
            </a:custGeom>
            <a:solidFill>
              <a:srgbClr val="005C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14" name="Freeform 6"/>
          <p:cNvSpPr>
            <a:spLocks/>
          </p:cNvSpPr>
          <p:nvPr userDrawn="1"/>
        </p:nvSpPr>
        <p:spPr bwMode="auto">
          <a:xfrm>
            <a:off x="3040970" y="2155825"/>
            <a:ext cx="141288" cy="144463"/>
          </a:xfrm>
          <a:custGeom>
            <a:avLst/>
            <a:gdLst>
              <a:gd name="T0" fmla="*/ 221 w 354"/>
              <a:gd name="T1" fmla="*/ 366 h 366"/>
              <a:gd name="T2" fmla="*/ 354 w 354"/>
              <a:gd name="T3" fmla="*/ 366 h 366"/>
              <a:gd name="T4" fmla="*/ 345 w 354"/>
              <a:gd name="T5" fmla="*/ 348 h 366"/>
              <a:gd name="T6" fmla="*/ 333 w 354"/>
              <a:gd name="T7" fmla="*/ 330 h 366"/>
              <a:gd name="T8" fmla="*/ 325 w 354"/>
              <a:gd name="T9" fmla="*/ 321 h 366"/>
              <a:gd name="T10" fmla="*/ 318 w 354"/>
              <a:gd name="T11" fmla="*/ 312 h 366"/>
              <a:gd name="T12" fmla="*/ 310 w 354"/>
              <a:gd name="T13" fmla="*/ 304 h 366"/>
              <a:gd name="T14" fmla="*/ 300 w 354"/>
              <a:gd name="T15" fmla="*/ 295 h 366"/>
              <a:gd name="T16" fmla="*/ 290 w 354"/>
              <a:gd name="T17" fmla="*/ 284 h 366"/>
              <a:gd name="T18" fmla="*/ 278 w 354"/>
              <a:gd name="T19" fmla="*/ 273 h 366"/>
              <a:gd name="T20" fmla="*/ 267 w 354"/>
              <a:gd name="T21" fmla="*/ 261 h 366"/>
              <a:gd name="T22" fmla="*/ 255 w 354"/>
              <a:gd name="T23" fmla="*/ 248 h 366"/>
              <a:gd name="T24" fmla="*/ 232 w 354"/>
              <a:gd name="T25" fmla="*/ 218 h 366"/>
              <a:gd name="T26" fmla="*/ 210 w 354"/>
              <a:gd name="T27" fmla="*/ 190 h 366"/>
              <a:gd name="T28" fmla="*/ 188 w 354"/>
              <a:gd name="T29" fmla="*/ 162 h 366"/>
              <a:gd name="T30" fmla="*/ 167 w 354"/>
              <a:gd name="T31" fmla="*/ 136 h 366"/>
              <a:gd name="T32" fmla="*/ 158 w 354"/>
              <a:gd name="T33" fmla="*/ 124 h 366"/>
              <a:gd name="T34" fmla="*/ 149 w 354"/>
              <a:gd name="T35" fmla="*/ 115 h 366"/>
              <a:gd name="T36" fmla="*/ 140 w 354"/>
              <a:gd name="T37" fmla="*/ 106 h 366"/>
              <a:gd name="T38" fmla="*/ 132 w 354"/>
              <a:gd name="T39" fmla="*/ 99 h 366"/>
              <a:gd name="T40" fmla="*/ 112 w 354"/>
              <a:gd name="T41" fmla="*/ 81 h 366"/>
              <a:gd name="T42" fmla="*/ 93 w 354"/>
              <a:gd name="T43" fmla="*/ 62 h 366"/>
              <a:gd name="T44" fmla="*/ 75 w 354"/>
              <a:gd name="T45" fmla="*/ 42 h 366"/>
              <a:gd name="T46" fmla="*/ 65 w 354"/>
              <a:gd name="T47" fmla="*/ 28 h 366"/>
              <a:gd name="T48" fmla="*/ 61 w 354"/>
              <a:gd name="T49" fmla="*/ 23 h 366"/>
              <a:gd name="T50" fmla="*/ 59 w 354"/>
              <a:gd name="T51" fmla="*/ 18 h 366"/>
              <a:gd name="T52" fmla="*/ 57 w 354"/>
              <a:gd name="T53" fmla="*/ 9 h 366"/>
              <a:gd name="T54" fmla="*/ 55 w 354"/>
              <a:gd name="T55" fmla="*/ 0 h 366"/>
              <a:gd name="T56" fmla="*/ 0 w 354"/>
              <a:gd name="T57" fmla="*/ 0 h 366"/>
              <a:gd name="T58" fmla="*/ 7 w 354"/>
              <a:gd name="T59" fmla="*/ 14 h 366"/>
              <a:gd name="T60" fmla="*/ 16 w 354"/>
              <a:gd name="T61" fmla="*/ 28 h 366"/>
              <a:gd name="T62" fmla="*/ 25 w 354"/>
              <a:gd name="T63" fmla="*/ 42 h 366"/>
              <a:gd name="T64" fmla="*/ 33 w 354"/>
              <a:gd name="T65" fmla="*/ 56 h 366"/>
              <a:gd name="T66" fmla="*/ 41 w 354"/>
              <a:gd name="T67" fmla="*/ 65 h 366"/>
              <a:gd name="T68" fmla="*/ 50 w 354"/>
              <a:gd name="T69" fmla="*/ 76 h 366"/>
              <a:gd name="T70" fmla="*/ 61 w 354"/>
              <a:gd name="T71" fmla="*/ 87 h 366"/>
              <a:gd name="T72" fmla="*/ 73 w 354"/>
              <a:gd name="T73" fmla="*/ 99 h 366"/>
              <a:gd name="T74" fmla="*/ 85 w 354"/>
              <a:gd name="T75" fmla="*/ 109 h 366"/>
              <a:gd name="T76" fmla="*/ 96 w 354"/>
              <a:gd name="T77" fmla="*/ 120 h 366"/>
              <a:gd name="T78" fmla="*/ 105 w 354"/>
              <a:gd name="T79" fmla="*/ 130 h 366"/>
              <a:gd name="T80" fmla="*/ 109 w 354"/>
              <a:gd name="T81" fmla="*/ 137 h 366"/>
              <a:gd name="T82" fmla="*/ 112 w 354"/>
              <a:gd name="T83" fmla="*/ 145 h 366"/>
              <a:gd name="T84" fmla="*/ 115 w 354"/>
              <a:gd name="T85" fmla="*/ 154 h 366"/>
              <a:gd name="T86" fmla="*/ 118 w 354"/>
              <a:gd name="T87" fmla="*/ 164 h 366"/>
              <a:gd name="T88" fmla="*/ 120 w 354"/>
              <a:gd name="T89" fmla="*/ 174 h 366"/>
              <a:gd name="T90" fmla="*/ 123 w 354"/>
              <a:gd name="T91" fmla="*/ 195 h 366"/>
              <a:gd name="T92" fmla="*/ 125 w 354"/>
              <a:gd name="T93" fmla="*/ 208 h 366"/>
              <a:gd name="T94" fmla="*/ 126 w 354"/>
              <a:gd name="T95" fmla="*/ 213 h 366"/>
              <a:gd name="T96" fmla="*/ 131 w 354"/>
              <a:gd name="T97" fmla="*/ 221 h 366"/>
              <a:gd name="T98" fmla="*/ 136 w 354"/>
              <a:gd name="T99" fmla="*/ 228 h 366"/>
              <a:gd name="T100" fmla="*/ 144 w 354"/>
              <a:gd name="T101" fmla="*/ 238 h 366"/>
              <a:gd name="T102" fmla="*/ 159 w 354"/>
              <a:gd name="T103" fmla="*/ 257 h 366"/>
              <a:gd name="T104" fmla="*/ 173 w 354"/>
              <a:gd name="T105" fmla="*/ 275 h 366"/>
              <a:gd name="T106" fmla="*/ 186 w 354"/>
              <a:gd name="T107" fmla="*/ 295 h 366"/>
              <a:gd name="T108" fmla="*/ 199 w 354"/>
              <a:gd name="T109" fmla="*/ 316 h 366"/>
              <a:gd name="T110" fmla="*/ 207 w 354"/>
              <a:gd name="T111" fmla="*/ 333 h 366"/>
              <a:gd name="T112" fmla="*/ 211 w 354"/>
              <a:gd name="T113" fmla="*/ 340 h 366"/>
              <a:gd name="T114" fmla="*/ 214 w 354"/>
              <a:gd name="T115" fmla="*/ 348 h 366"/>
              <a:gd name="T116" fmla="*/ 221 w 354"/>
              <a:gd name="T117" fmla="*/ 366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54" h="366">
                <a:moveTo>
                  <a:pt x="221" y="366"/>
                </a:moveTo>
                <a:lnTo>
                  <a:pt x="354" y="366"/>
                </a:lnTo>
                <a:lnTo>
                  <a:pt x="345" y="348"/>
                </a:lnTo>
                <a:lnTo>
                  <a:pt x="333" y="330"/>
                </a:lnTo>
                <a:lnTo>
                  <a:pt x="325" y="321"/>
                </a:lnTo>
                <a:lnTo>
                  <a:pt x="318" y="312"/>
                </a:lnTo>
                <a:lnTo>
                  <a:pt x="310" y="304"/>
                </a:lnTo>
                <a:lnTo>
                  <a:pt x="300" y="295"/>
                </a:lnTo>
                <a:lnTo>
                  <a:pt x="290" y="284"/>
                </a:lnTo>
                <a:lnTo>
                  <a:pt x="278" y="273"/>
                </a:lnTo>
                <a:lnTo>
                  <a:pt x="267" y="261"/>
                </a:lnTo>
                <a:lnTo>
                  <a:pt x="255" y="248"/>
                </a:lnTo>
                <a:lnTo>
                  <a:pt x="232" y="218"/>
                </a:lnTo>
                <a:lnTo>
                  <a:pt x="210" y="190"/>
                </a:lnTo>
                <a:lnTo>
                  <a:pt x="188" y="162"/>
                </a:lnTo>
                <a:lnTo>
                  <a:pt x="167" y="136"/>
                </a:lnTo>
                <a:lnTo>
                  <a:pt x="158" y="124"/>
                </a:lnTo>
                <a:lnTo>
                  <a:pt x="149" y="115"/>
                </a:lnTo>
                <a:lnTo>
                  <a:pt x="140" y="106"/>
                </a:lnTo>
                <a:lnTo>
                  <a:pt x="132" y="99"/>
                </a:lnTo>
                <a:lnTo>
                  <a:pt x="112" y="81"/>
                </a:lnTo>
                <a:lnTo>
                  <a:pt x="93" y="62"/>
                </a:lnTo>
                <a:lnTo>
                  <a:pt x="75" y="42"/>
                </a:lnTo>
                <a:lnTo>
                  <a:pt x="65" y="28"/>
                </a:lnTo>
                <a:lnTo>
                  <a:pt x="61" y="23"/>
                </a:lnTo>
                <a:lnTo>
                  <a:pt x="59" y="18"/>
                </a:lnTo>
                <a:lnTo>
                  <a:pt x="57" y="9"/>
                </a:lnTo>
                <a:lnTo>
                  <a:pt x="55" y="0"/>
                </a:lnTo>
                <a:lnTo>
                  <a:pt x="0" y="0"/>
                </a:lnTo>
                <a:lnTo>
                  <a:pt x="7" y="14"/>
                </a:lnTo>
                <a:lnTo>
                  <a:pt x="16" y="28"/>
                </a:lnTo>
                <a:lnTo>
                  <a:pt x="25" y="42"/>
                </a:lnTo>
                <a:lnTo>
                  <a:pt x="33" y="56"/>
                </a:lnTo>
                <a:lnTo>
                  <a:pt x="41" y="65"/>
                </a:lnTo>
                <a:lnTo>
                  <a:pt x="50" y="76"/>
                </a:lnTo>
                <a:lnTo>
                  <a:pt x="61" y="87"/>
                </a:lnTo>
                <a:lnTo>
                  <a:pt x="73" y="99"/>
                </a:lnTo>
                <a:lnTo>
                  <a:pt x="85" y="109"/>
                </a:lnTo>
                <a:lnTo>
                  <a:pt x="96" y="120"/>
                </a:lnTo>
                <a:lnTo>
                  <a:pt x="105" y="130"/>
                </a:lnTo>
                <a:lnTo>
                  <a:pt x="109" y="137"/>
                </a:lnTo>
                <a:lnTo>
                  <a:pt x="112" y="145"/>
                </a:lnTo>
                <a:lnTo>
                  <a:pt x="115" y="154"/>
                </a:lnTo>
                <a:lnTo>
                  <a:pt x="118" y="164"/>
                </a:lnTo>
                <a:lnTo>
                  <a:pt x="120" y="174"/>
                </a:lnTo>
                <a:lnTo>
                  <a:pt x="123" y="195"/>
                </a:lnTo>
                <a:lnTo>
                  <a:pt x="125" y="208"/>
                </a:lnTo>
                <a:lnTo>
                  <a:pt x="126" y="213"/>
                </a:lnTo>
                <a:lnTo>
                  <a:pt x="131" y="221"/>
                </a:lnTo>
                <a:lnTo>
                  <a:pt x="136" y="228"/>
                </a:lnTo>
                <a:lnTo>
                  <a:pt x="144" y="238"/>
                </a:lnTo>
                <a:lnTo>
                  <a:pt x="159" y="257"/>
                </a:lnTo>
                <a:lnTo>
                  <a:pt x="173" y="275"/>
                </a:lnTo>
                <a:lnTo>
                  <a:pt x="186" y="295"/>
                </a:lnTo>
                <a:lnTo>
                  <a:pt x="199" y="316"/>
                </a:lnTo>
                <a:lnTo>
                  <a:pt x="207" y="333"/>
                </a:lnTo>
                <a:lnTo>
                  <a:pt x="211" y="340"/>
                </a:lnTo>
                <a:lnTo>
                  <a:pt x="214" y="348"/>
                </a:lnTo>
                <a:lnTo>
                  <a:pt x="221" y="36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AutoShape 3"/>
          <p:cNvSpPr>
            <a:spLocks noChangeAspect="1" noChangeArrowheads="1" noTextEdit="1"/>
          </p:cNvSpPr>
          <p:nvPr userDrawn="1"/>
        </p:nvSpPr>
        <p:spPr bwMode="auto">
          <a:xfrm>
            <a:off x="1695450" y="3429000"/>
            <a:ext cx="3302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Текст 14"/>
          <p:cNvSpPr>
            <a:spLocks noGrp="1"/>
          </p:cNvSpPr>
          <p:nvPr>
            <p:ph type="body" sz="quarter" idx="21" hasCustomPrompt="1"/>
          </p:nvPr>
        </p:nvSpPr>
        <p:spPr>
          <a:xfrm>
            <a:off x="3110819" y="5546613"/>
            <a:ext cx="4819092" cy="9288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ФИО выступающего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Название мероприятия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Город, ХХ месяц 20ХХ</a:t>
            </a:r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-9525" y="0"/>
            <a:ext cx="6473825" cy="6858000"/>
          </a:xfrm>
          <a:custGeom>
            <a:avLst/>
            <a:gdLst>
              <a:gd name="T0" fmla="*/ 159 w 16312"/>
              <a:gd name="T1" fmla="*/ 4962 h 17280"/>
              <a:gd name="T2" fmla="*/ 11481 w 16312"/>
              <a:gd name="T3" fmla="*/ 4172 h 17280"/>
              <a:gd name="T4" fmla="*/ 1173 w 16312"/>
              <a:gd name="T5" fmla="*/ 4129 h 17280"/>
              <a:gd name="T6" fmla="*/ 583 w 16312"/>
              <a:gd name="T7" fmla="*/ 3001 h 17280"/>
              <a:gd name="T8" fmla="*/ 938 w 16312"/>
              <a:gd name="T9" fmla="*/ 3299 h 17280"/>
              <a:gd name="T10" fmla="*/ 1431 w 16312"/>
              <a:gd name="T11" fmla="*/ 3453 h 17280"/>
              <a:gd name="T12" fmla="*/ 1988 w 16312"/>
              <a:gd name="T13" fmla="*/ 3184 h 17280"/>
              <a:gd name="T14" fmla="*/ 3043 w 16312"/>
              <a:gd name="T15" fmla="*/ 3005 h 17280"/>
              <a:gd name="T16" fmla="*/ 3403 w 16312"/>
              <a:gd name="T17" fmla="*/ 2617 h 17280"/>
              <a:gd name="T18" fmla="*/ 3782 w 16312"/>
              <a:gd name="T19" fmla="*/ 3095 h 17280"/>
              <a:gd name="T20" fmla="*/ 3792 w 16312"/>
              <a:gd name="T21" fmla="*/ 2768 h 17280"/>
              <a:gd name="T22" fmla="*/ 4242 w 16312"/>
              <a:gd name="T23" fmla="*/ 2457 h 17280"/>
              <a:gd name="T24" fmla="*/ 11617 w 16312"/>
              <a:gd name="T25" fmla="*/ 4007 h 17280"/>
              <a:gd name="T26" fmla="*/ 9083 w 16312"/>
              <a:gd name="T27" fmla="*/ 2838 h 17280"/>
              <a:gd name="T28" fmla="*/ 7764 w 16312"/>
              <a:gd name="T29" fmla="*/ 2730 h 17280"/>
              <a:gd name="T30" fmla="*/ 7130 w 16312"/>
              <a:gd name="T31" fmla="*/ 3092 h 17280"/>
              <a:gd name="T32" fmla="*/ 11432 w 16312"/>
              <a:gd name="T33" fmla="*/ 3406 h 17280"/>
              <a:gd name="T34" fmla="*/ 5172 w 16312"/>
              <a:gd name="T35" fmla="*/ 2000 h 17280"/>
              <a:gd name="T36" fmla="*/ 5601 w 16312"/>
              <a:gd name="T37" fmla="*/ 2578 h 17280"/>
              <a:gd name="T38" fmla="*/ 789 w 16312"/>
              <a:gd name="T39" fmla="*/ 4191 h 17280"/>
              <a:gd name="T40" fmla="*/ 2177 w 16312"/>
              <a:gd name="T41" fmla="*/ 7176 h 17280"/>
              <a:gd name="T42" fmla="*/ 10196 w 16312"/>
              <a:gd name="T43" fmla="*/ 5796 h 17280"/>
              <a:gd name="T44" fmla="*/ 10423 w 16312"/>
              <a:gd name="T45" fmla="*/ 6051 h 17280"/>
              <a:gd name="T46" fmla="*/ 9750 w 16312"/>
              <a:gd name="T47" fmla="*/ 6461 h 17280"/>
              <a:gd name="T48" fmla="*/ 8142 w 16312"/>
              <a:gd name="T49" fmla="*/ 2294 h 17280"/>
              <a:gd name="T50" fmla="*/ 7475 w 16312"/>
              <a:gd name="T51" fmla="*/ 2224 h 17280"/>
              <a:gd name="T52" fmla="*/ 4266 w 16312"/>
              <a:gd name="T53" fmla="*/ 1679 h 17280"/>
              <a:gd name="T54" fmla="*/ 11347 w 16312"/>
              <a:gd name="T55" fmla="*/ 5148 h 17280"/>
              <a:gd name="T56" fmla="*/ 11528 w 16312"/>
              <a:gd name="T57" fmla="*/ 3622 h 17280"/>
              <a:gd name="T58" fmla="*/ 2264 w 16312"/>
              <a:gd name="T59" fmla="*/ 2519 h 17280"/>
              <a:gd name="T60" fmla="*/ 2641 w 16312"/>
              <a:gd name="T61" fmla="*/ 2142 h 17280"/>
              <a:gd name="T62" fmla="*/ 2267 w 16312"/>
              <a:gd name="T63" fmla="*/ 2398 h 17280"/>
              <a:gd name="T64" fmla="*/ 5671 w 16312"/>
              <a:gd name="T65" fmla="*/ 5787 h 17280"/>
              <a:gd name="T66" fmla="*/ 7271 w 16312"/>
              <a:gd name="T67" fmla="*/ 4890 h 17280"/>
              <a:gd name="T68" fmla="*/ 7219 w 16312"/>
              <a:gd name="T69" fmla="*/ 5631 h 17280"/>
              <a:gd name="T70" fmla="*/ 6650 w 16312"/>
              <a:gd name="T71" fmla="*/ 5076 h 17280"/>
              <a:gd name="T72" fmla="*/ 8190 w 16312"/>
              <a:gd name="T73" fmla="*/ 5309 h 17280"/>
              <a:gd name="T74" fmla="*/ 9409 w 16312"/>
              <a:gd name="T75" fmla="*/ 4498 h 17280"/>
              <a:gd name="T76" fmla="*/ 4296 w 16312"/>
              <a:gd name="T77" fmla="*/ 5131 h 17280"/>
              <a:gd name="T78" fmla="*/ 3335 w 16312"/>
              <a:gd name="T79" fmla="*/ 5394 h 17280"/>
              <a:gd name="T80" fmla="*/ 2577 w 16312"/>
              <a:gd name="T81" fmla="*/ 5424 h 17280"/>
              <a:gd name="T82" fmla="*/ 2446 w 16312"/>
              <a:gd name="T83" fmla="*/ 6259 h 17280"/>
              <a:gd name="T84" fmla="*/ 1661 w 16312"/>
              <a:gd name="T85" fmla="*/ 6300 h 17280"/>
              <a:gd name="T86" fmla="*/ 1416 w 16312"/>
              <a:gd name="T87" fmla="*/ 5628 h 17280"/>
              <a:gd name="T88" fmla="*/ 822 w 16312"/>
              <a:gd name="T89" fmla="*/ 4818 h 17280"/>
              <a:gd name="T90" fmla="*/ 9879 w 16312"/>
              <a:gd name="T91" fmla="*/ 4351 h 17280"/>
              <a:gd name="T92" fmla="*/ 3011 w 16312"/>
              <a:gd name="T93" fmla="*/ 6439 h 17280"/>
              <a:gd name="T94" fmla="*/ 3161 w 16312"/>
              <a:gd name="T95" fmla="*/ 6855 h 17280"/>
              <a:gd name="T96" fmla="*/ 3481 w 16312"/>
              <a:gd name="T97" fmla="*/ 6370 h 17280"/>
              <a:gd name="T98" fmla="*/ 5322 w 16312"/>
              <a:gd name="T99" fmla="*/ 6388 h 17280"/>
              <a:gd name="T100" fmla="*/ 4055 w 16312"/>
              <a:gd name="T101" fmla="*/ 6644 h 17280"/>
              <a:gd name="T102" fmla="*/ 2327 w 16312"/>
              <a:gd name="T103" fmla="*/ 5789 h 17280"/>
              <a:gd name="T104" fmla="*/ 3099 w 16312"/>
              <a:gd name="T105" fmla="*/ 5545 h 17280"/>
              <a:gd name="T106" fmla="*/ 3712 w 16312"/>
              <a:gd name="T107" fmla="*/ 5030 h 17280"/>
              <a:gd name="T108" fmla="*/ 2178 w 16312"/>
              <a:gd name="T109" fmla="*/ 7179 h 17280"/>
              <a:gd name="T110" fmla="*/ 1492 w 16312"/>
              <a:gd name="T111" fmla="*/ 6421 h 17280"/>
              <a:gd name="T112" fmla="*/ 456 w 16312"/>
              <a:gd name="T113" fmla="*/ 5101 h 17280"/>
              <a:gd name="T114" fmla="*/ 953 w 16312"/>
              <a:gd name="T115" fmla="*/ 5357 h 17280"/>
              <a:gd name="T116" fmla="*/ 5020 w 16312"/>
              <a:gd name="T117" fmla="*/ 6143 h 17280"/>
              <a:gd name="T118" fmla="*/ 4787 w 16312"/>
              <a:gd name="T119" fmla="*/ 6837 h 17280"/>
              <a:gd name="T120" fmla="*/ 5271 w 16312"/>
              <a:gd name="T121" fmla="*/ 6938 h 17280"/>
              <a:gd name="T122" fmla="*/ 4405 w 16312"/>
              <a:gd name="T123" fmla="*/ 7244 h 17280"/>
              <a:gd name="T124" fmla="*/ 5063 w 16312"/>
              <a:gd name="T125" fmla="*/ 7635 h 17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312" h="17280">
                <a:moveTo>
                  <a:pt x="1186" y="3553"/>
                </a:moveTo>
                <a:lnTo>
                  <a:pt x="1190" y="3554"/>
                </a:lnTo>
                <a:lnTo>
                  <a:pt x="1200" y="3560"/>
                </a:lnTo>
                <a:lnTo>
                  <a:pt x="1205" y="3563"/>
                </a:lnTo>
                <a:lnTo>
                  <a:pt x="1211" y="3568"/>
                </a:lnTo>
                <a:lnTo>
                  <a:pt x="1216" y="3574"/>
                </a:lnTo>
                <a:lnTo>
                  <a:pt x="1222" y="3579"/>
                </a:lnTo>
                <a:lnTo>
                  <a:pt x="1230" y="3592"/>
                </a:lnTo>
                <a:lnTo>
                  <a:pt x="1238" y="3605"/>
                </a:lnTo>
                <a:lnTo>
                  <a:pt x="1240" y="3610"/>
                </a:lnTo>
                <a:lnTo>
                  <a:pt x="1240" y="3616"/>
                </a:lnTo>
                <a:lnTo>
                  <a:pt x="1240" y="3618"/>
                </a:lnTo>
                <a:lnTo>
                  <a:pt x="1239" y="3621"/>
                </a:lnTo>
                <a:lnTo>
                  <a:pt x="1237" y="3623"/>
                </a:lnTo>
                <a:lnTo>
                  <a:pt x="1234" y="3626"/>
                </a:lnTo>
                <a:lnTo>
                  <a:pt x="1224" y="3633"/>
                </a:lnTo>
                <a:lnTo>
                  <a:pt x="1214" y="3639"/>
                </a:lnTo>
                <a:lnTo>
                  <a:pt x="1210" y="3640"/>
                </a:lnTo>
                <a:lnTo>
                  <a:pt x="1204" y="3639"/>
                </a:lnTo>
                <a:lnTo>
                  <a:pt x="1200" y="3636"/>
                </a:lnTo>
                <a:lnTo>
                  <a:pt x="1194" y="3632"/>
                </a:lnTo>
                <a:lnTo>
                  <a:pt x="1184" y="3621"/>
                </a:lnTo>
                <a:lnTo>
                  <a:pt x="1171" y="3612"/>
                </a:lnTo>
                <a:lnTo>
                  <a:pt x="1164" y="3606"/>
                </a:lnTo>
                <a:lnTo>
                  <a:pt x="1159" y="3601"/>
                </a:lnTo>
                <a:lnTo>
                  <a:pt x="1154" y="3595"/>
                </a:lnTo>
                <a:lnTo>
                  <a:pt x="1151" y="3590"/>
                </a:lnTo>
                <a:lnTo>
                  <a:pt x="1149" y="3585"/>
                </a:lnTo>
                <a:lnTo>
                  <a:pt x="1148" y="3579"/>
                </a:lnTo>
                <a:lnTo>
                  <a:pt x="1148" y="3575"/>
                </a:lnTo>
                <a:lnTo>
                  <a:pt x="1148" y="3570"/>
                </a:lnTo>
                <a:lnTo>
                  <a:pt x="1148" y="3564"/>
                </a:lnTo>
                <a:lnTo>
                  <a:pt x="1149" y="3562"/>
                </a:lnTo>
                <a:lnTo>
                  <a:pt x="1186" y="3553"/>
                </a:lnTo>
                <a:close/>
                <a:moveTo>
                  <a:pt x="102" y="5003"/>
                </a:moveTo>
                <a:lnTo>
                  <a:pt x="128" y="5017"/>
                </a:lnTo>
                <a:lnTo>
                  <a:pt x="164" y="5037"/>
                </a:lnTo>
                <a:lnTo>
                  <a:pt x="170" y="5040"/>
                </a:lnTo>
                <a:lnTo>
                  <a:pt x="181" y="5046"/>
                </a:lnTo>
                <a:lnTo>
                  <a:pt x="192" y="5051"/>
                </a:lnTo>
                <a:lnTo>
                  <a:pt x="199" y="5054"/>
                </a:lnTo>
                <a:lnTo>
                  <a:pt x="205" y="5057"/>
                </a:lnTo>
                <a:lnTo>
                  <a:pt x="216" y="5061"/>
                </a:lnTo>
                <a:lnTo>
                  <a:pt x="227" y="5065"/>
                </a:lnTo>
                <a:lnTo>
                  <a:pt x="233" y="5067"/>
                </a:lnTo>
                <a:lnTo>
                  <a:pt x="242" y="5070"/>
                </a:lnTo>
                <a:lnTo>
                  <a:pt x="255" y="5074"/>
                </a:lnTo>
                <a:lnTo>
                  <a:pt x="268" y="5077"/>
                </a:lnTo>
                <a:lnTo>
                  <a:pt x="273" y="5078"/>
                </a:lnTo>
                <a:lnTo>
                  <a:pt x="286" y="5082"/>
                </a:lnTo>
                <a:lnTo>
                  <a:pt x="291" y="5079"/>
                </a:lnTo>
                <a:lnTo>
                  <a:pt x="290" y="5074"/>
                </a:lnTo>
                <a:lnTo>
                  <a:pt x="290" y="5067"/>
                </a:lnTo>
                <a:lnTo>
                  <a:pt x="290" y="5066"/>
                </a:lnTo>
                <a:lnTo>
                  <a:pt x="291" y="5064"/>
                </a:lnTo>
                <a:lnTo>
                  <a:pt x="291" y="5063"/>
                </a:lnTo>
                <a:lnTo>
                  <a:pt x="293" y="5061"/>
                </a:lnTo>
                <a:lnTo>
                  <a:pt x="293" y="5060"/>
                </a:lnTo>
                <a:lnTo>
                  <a:pt x="294" y="5059"/>
                </a:lnTo>
                <a:lnTo>
                  <a:pt x="293" y="5058"/>
                </a:lnTo>
                <a:lnTo>
                  <a:pt x="293" y="5057"/>
                </a:lnTo>
                <a:lnTo>
                  <a:pt x="294" y="5055"/>
                </a:lnTo>
                <a:lnTo>
                  <a:pt x="295" y="5054"/>
                </a:lnTo>
                <a:lnTo>
                  <a:pt x="296" y="5054"/>
                </a:lnTo>
                <a:lnTo>
                  <a:pt x="297" y="5053"/>
                </a:lnTo>
                <a:lnTo>
                  <a:pt x="299" y="5049"/>
                </a:lnTo>
                <a:lnTo>
                  <a:pt x="303" y="5044"/>
                </a:lnTo>
                <a:lnTo>
                  <a:pt x="303" y="5041"/>
                </a:lnTo>
                <a:lnTo>
                  <a:pt x="305" y="5040"/>
                </a:lnTo>
                <a:lnTo>
                  <a:pt x="308" y="5040"/>
                </a:lnTo>
                <a:lnTo>
                  <a:pt x="311" y="5039"/>
                </a:lnTo>
                <a:lnTo>
                  <a:pt x="313" y="5036"/>
                </a:lnTo>
                <a:lnTo>
                  <a:pt x="315" y="5033"/>
                </a:lnTo>
                <a:lnTo>
                  <a:pt x="315" y="5031"/>
                </a:lnTo>
                <a:lnTo>
                  <a:pt x="315" y="5028"/>
                </a:lnTo>
                <a:lnTo>
                  <a:pt x="316" y="5027"/>
                </a:lnTo>
                <a:lnTo>
                  <a:pt x="316" y="5025"/>
                </a:lnTo>
                <a:lnTo>
                  <a:pt x="315" y="5023"/>
                </a:lnTo>
                <a:lnTo>
                  <a:pt x="312" y="5022"/>
                </a:lnTo>
                <a:lnTo>
                  <a:pt x="312" y="5022"/>
                </a:lnTo>
                <a:lnTo>
                  <a:pt x="311" y="5021"/>
                </a:lnTo>
                <a:lnTo>
                  <a:pt x="311" y="5020"/>
                </a:lnTo>
                <a:lnTo>
                  <a:pt x="311" y="5019"/>
                </a:lnTo>
                <a:lnTo>
                  <a:pt x="311" y="5018"/>
                </a:lnTo>
                <a:lnTo>
                  <a:pt x="310" y="5016"/>
                </a:lnTo>
                <a:lnTo>
                  <a:pt x="308" y="5012"/>
                </a:lnTo>
                <a:lnTo>
                  <a:pt x="307" y="5011"/>
                </a:lnTo>
                <a:lnTo>
                  <a:pt x="307" y="5008"/>
                </a:lnTo>
                <a:lnTo>
                  <a:pt x="306" y="5006"/>
                </a:lnTo>
                <a:lnTo>
                  <a:pt x="306" y="5003"/>
                </a:lnTo>
                <a:lnTo>
                  <a:pt x="306" y="5000"/>
                </a:lnTo>
                <a:lnTo>
                  <a:pt x="306" y="5000"/>
                </a:lnTo>
                <a:lnTo>
                  <a:pt x="305" y="4999"/>
                </a:lnTo>
                <a:lnTo>
                  <a:pt x="303" y="4999"/>
                </a:lnTo>
                <a:lnTo>
                  <a:pt x="301" y="4999"/>
                </a:lnTo>
                <a:lnTo>
                  <a:pt x="298" y="4999"/>
                </a:lnTo>
                <a:lnTo>
                  <a:pt x="296" y="4998"/>
                </a:lnTo>
                <a:lnTo>
                  <a:pt x="291" y="4995"/>
                </a:lnTo>
                <a:lnTo>
                  <a:pt x="286" y="4993"/>
                </a:lnTo>
                <a:lnTo>
                  <a:pt x="283" y="4992"/>
                </a:lnTo>
                <a:lnTo>
                  <a:pt x="280" y="4992"/>
                </a:lnTo>
                <a:lnTo>
                  <a:pt x="278" y="4992"/>
                </a:lnTo>
                <a:lnTo>
                  <a:pt x="276" y="4992"/>
                </a:lnTo>
                <a:lnTo>
                  <a:pt x="272" y="4992"/>
                </a:lnTo>
                <a:lnTo>
                  <a:pt x="271" y="4991"/>
                </a:lnTo>
                <a:lnTo>
                  <a:pt x="270" y="4989"/>
                </a:lnTo>
                <a:lnTo>
                  <a:pt x="270" y="4987"/>
                </a:lnTo>
                <a:lnTo>
                  <a:pt x="269" y="4985"/>
                </a:lnTo>
                <a:lnTo>
                  <a:pt x="267" y="4984"/>
                </a:lnTo>
                <a:lnTo>
                  <a:pt x="265" y="4983"/>
                </a:lnTo>
                <a:lnTo>
                  <a:pt x="263" y="4982"/>
                </a:lnTo>
                <a:lnTo>
                  <a:pt x="261" y="4979"/>
                </a:lnTo>
                <a:lnTo>
                  <a:pt x="258" y="4977"/>
                </a:lnTo>
                <a:lnTo>
                  <a:pt x="257" y="4976"/>
                </a:lnTo>
                <a:lnTo>
                  <a:pt x="255" y="4974"/>
                </a:lnTo>
                <a:lnTo>
                  <a:pt x="253" y="4971"/>
                </a:lnTo>
                <a:lnTo>
                  <a:pt x="253" y="4969"/>
                </a:lnTo>
                <a:lnTo>
                  <a:pt x="251" y="4966"/>
                </a:lnTo>
                <a:lnTo>
                  <a:pt x="248" y="4963"/>
                </a:lnTo>
                <a:lnTo>
                  <a:pt x="244" y="4962"/>
                </a:lnTo>
                <a:lnTo>
                  <a:pt x="242" y="4959"/>
                </a:lnTo>
                <a:lnTo>
                  <a:pt x="241" y="4956"/>
                </a:lnTo>
                <a:lnTo>
                  <a:pt x="240" y="4952"/>
                </a:lnTo>
                <a:lnTo>
                  <a:pt x="239" y="4947"/>
                </a:lnTo>
                <a:lnTo>
                  <a:pt x="238" y="4945"/>
                </a:lnTo>
                <a:lnTo>
                  <a:pt x="237" y="4946"/>
                </a:lnTo>
                <a:lnTo>
                  <a:pt x="233" y="4949"/>
                </a:lnTo>
                <a:lnTo>
                  <a:pt x="232" y="4949"/>
                </a:lnTo>
                <a:lnTo>
                  <a:pt x="230" y="4949"/>
                </a:lnTo>
                <a:lnTo>
                  <a:pt x="230" y="4951"/>
                </a:lnTo>
                <a:lnTo>
                  <a:pt x="229" y="4954"/>
                </a:lnTo>
                <a:lnTo>
                  <a:pt x="227" y="4956"/>
                </a:lnTo>
                <a:lnTo>
                  <a:pt x="226" y="4957"/>
                </a:lnTo>
                <a:lnTo>
                  <a:pt x="224" y="4956"/>
                </a:lnTo>
                <a:lnTo>
                  <a:pt x="223" y="4955"/>
                </a:lnTo>
                <a:lnTo>
                  <a:pt x="222" y="4956"/>
                </a:lnTo>
                <a:lnTo>
                  <a:pt x="221" y="4957"/>
                </a:lnTo>
                <a:lnTo>
                  <a:pt x="221" y="4962"/>
                </a:lnTo>
                <a:lnTo>
                  <a:pt x="218" y="4966"/>
                </a:lnTo>
                <a:lnTo>
                  <a:pt x="218" y="4968"/>
                </a:lnTo>
                <a:lnTo>
                  <a:pt x="218" y="4971"/>
                </a:lnTo>
                <a:lnTo>
                  <a:pt x="217" y="4974"/>
                </a:lnTo>
                <a:lnTo>
                  <a:pt x="216" y="4977"/>
                </a:lnTo>
                <a:lnTo>
                  <a:pt x="216" y="4979"/>
                </a:lnTo>
                <a:lnTo>
                  <a:pt x="216" y="4981"/>
                </a:lnTo>
                <a:lnTo>
                  <a:pt x="214" y="4982"/>
                </a:lnTo>
                <a:lnTo>
                  <a:pt x="212" y="4984"/>
                </a:lnTo>
                <a:lnTo>
                  <a:pt x="211" y="4984"/>
                </a:lnTo>
                <a:lnTo>
                  <a:pt x="210" y="4984"/>
                </a:lnTo>
                <a:lnTo>
                  <a:pt x="208" y="4984"/>
                </a:lnTo>
                <a:lnTo>
                  <a:pt x="204" y="4984"/>
                </a:lnTo>
                <a:lnTo>
                  <a:pt x="202" y="4984"/>
                </a:lnTo>
                <a:lnTo>
                  <a:pt x="201" y="4984"/>
                </a:lnTo>
                <a:lnTo>
                  <a:pt x="195" y="4981"/>
                </a:lnTo>
                <a:lnTo>
                  <a:pt x="187" y="4977"/>
                </a:lnTo>
                <a:lnTo>
                  <a:pt x="186" y="4974"/>
                </a:lnTo>
                <a:lnTo>
                  <a:pt x="185" y="4973"/>
                </a:lnTo>
                <a:lnTo>
                  <a:pt x="186" y="4971"/>
                </a:lnTo>
                <a:lnTo>
                  <a:pt x="184" y="4970"/>
                </a:lnTo>
                <a:lnTo>
                  <a:pt x="181" y="4971"/>
                </a:lnTo>
                <a:lnTo>
                  <a:pt x="178" y="4971"/>
                </a:lnTo>
                <a:lnTo>
                  <a:pt x="174" y="4969"/>
                </a:lnTo>
                <a:lnTo>
                  <a:pt x="171" y="4966"/>
                </a:lnTo>
                <a:lnTo>
                  <a:pt x="169" y="4964"/>
                </a:lnTo>
                <a:lnTo>
                  <a:pt x="166" y="4963"/>
                </a:lnTo>
                <a:lnTo>
                  <a:pt x="163" y="4963"/>
                </a:lnTo>
                <a:lnTo>
                  <a:pt x="161" y="4963"/>
                </a:lnTo>
                <a:lnTo>
                  <a:pt x="159" y="4962"/>
                </a:lnTo>
                <a:lnTo>
                  <a:pt x="156" y="4959"/>
                </a:lnTo>
                <a:lnTo>
                  <a:pt x="155" y="4957"/>
                </a:lnTo>
                <a:lnTo>
                  <a:pt x="153" y="4956"/>
                </a:lnTo>
                <a:lnTo>
                  <a:pt x="150" y="4955"/>
                </a:lnTo>
                <a:lnTo>
                  <a:pt x="147" y="4955"/>
                </a:lnTo>
                <a:lnTo>
                  <a:pt x="142" y="4953"/>
                </a:lnTo>
                <a:lnTo>
                  <a:pt x="137" y="4951"/>
                </a:lnTo>
                <a:lnTo>
                  <a:pt x="135" y="4951"/>
                </a:lnTo>
                <a:lnTo>
                  <a:pt x="134" y="4951"/>
                </a:lnTo>
                <a:lnTo>
                  <a:pt x="132" y="4952"/>
                </a:lnTo>
                <a:lnTo>
                  <a:pt x="131" y="4954"/>
                </a:lnTo>
                <a:lnTo>
                  <a:pt x="129" y="4963"/>
                </a:lnTo>
                <a:lnTo>
                  <a:pt x="125" y="4971"/>
                </a:lnTo>
                <a:lnTo>
                  <a:pt x="128" y="4974"/>
                </a:lnTo>
                <a:lnTo>
                  <a:pt x="129" y="4979"/>
                </a:lnTo>
                <a:lnTo>
                  <a:pt x="131" y="4981"/>
                </a:lnTo>
                <a:lnTo>
                  <a:pt x="134" y="4983"/>
                </a:lnTo>
                <a:lnTo>
                  <a:pt x="136" y="4984"/>
                </a:lnTo>
                <a:lnTo>
                  <a:pt x="141" y="4986"/>
                </a:lnTo>
                <a:lnTo>
                  <a:pt x="147" y="4987"/>
                </a:lnTo>
                <a:lnTo>
                  <a:pt x="149" y="4990"/>
                </a:lnTo>
                <a:lnTo>
                  <a:pt x="148" y="4991"/>
                </a:lnTo>
                <a:lnTo>
                  <a:pt x="146" y="4992"/>
                </a:lnTo>
                <a:lnTo>
                  <a:pt x="144" y="4993"/>
                </a:lnTo>
                <a:lnTo>
                  <a:pt x="142" y="4993"/>
                </a:lnTo>
                <a:lnTo>
                  <a:pt x="138" y="4992"/>
                </a:lnTo>
                <a:lnTo>
                  <a:pt x="134" y="4993"/>
                </a:lnTo>
                <a:lnTo>
                  <a:pt x="128" y="4995"/>
                </a:lnTo>
                <a:lnTo>
                  <a:pt x="124" y="4996"/>
                </a:lnTo>
                <a:lnTo>
                  <a:pt x="122" y="4995"/>
                </a:lnTo>
                <a:lnTo>
                  <a:pt x="120" y="4993"/>
                </a:lnTo>
                <a:lnTo>
                  <a:pt x="118" y="4993"/>
                </a:lnTo>
                <a:lnTo>
                  <a:pt x="117" y="4993"/>
                </a:lnTo>
                <a:lnTo>
                  <a:pt x="116" y="4995"/>
                </a:lnTo>
                <a:lnTo>
                  <a:pt x="112" y="4997"/>
                </a:lnTo>
                <a:lnTo>
                  <a:pt x="107" y="5000"/>
                </a:lnTo>
                <a:lnTo>
                  <a:pt x="103" y="5001"/>
                </a:lnTo>
                <a:lnTo>
                  <a:pt x="102" y="5003"/>
                </a:lnTo>
                <a:close/>
                <a:moveTo>
                  <a:pt x="11146" y="4490"/>
                </a:moveTo>
                <a:lnTo>
                  <a:pt x="12736" y="4490"/>
                </a:lnTo>
                <a:lnTo>
                  <a:pt x="12736" y="4062"/>
                </a:lnTo>
                <a:lnTo>
                  <a:pt x="11558" y="4062"/>
                </a:lnTo>
                <a:lnTo>
                  <a:pt x="10897" y="4062"/>
                </a:lnTo>
                <a:lnTo>
                  <a:pt x="10891" y="4052"/>
                </a:lnTo>
                <a:lnTo>
                  <a:pt x="10883" y="4042"/>
                </a:lnTo>
                <a:lnTo>
                  <a:pt x="10876" y="4034"/>
                </a:lnTo>
                <a:lnTo>
                  <a:pt x="10869" y="4025"/>
                </a:lnTo>
                <a:lnTo>
                  <a:pt x="10862" y="4017"/>
                </a:lnTo>
                <a:lnTo>
                  <a:pt x="10855" y="4009"/>
                </a:lnTo>
                <a:lnTo>
                  <a:pt x="10742" y="4009"/>
                </a:lnTo>
                <a:lnTo>
                  <a:pt x="10744" y="4014"/>
                </a:lnTo>
                <a:lnTo>
                  <a:pt x="10746" y="4019"/>
                </a:lnTo>
                <a:lnTo>
                  <a:pt x="10747" y="4024"/>
                </a:lnTo>
                <a:lnTo>
                  <a:pt x="10747" y="4027"/>
                </a:lnTo>
                <a:lnTo>
                  <a:pt x="10747" y="4031"/>
                </a:lnTo>
                <a:lnTo>
                  <a:pt x="10746" y="4033"/>
                </a:lnTo>
                <a:lnTo>
                  <a:pt x="10744" y="4035"/>
                </a:lnTo>
                <a:lnTo>
                  <a:pt x="10742" y="4037"/>
                </a:lnTo>
                <a:lnTo>
                  <a:pt x="10738" y="4037"/>
                </a:lnTo>
                <a:lnTo>
                  <a:pt x="10735" y="4038"/>
                </a:lnTo>
                <a:lnTo>
                  <a:pt x="10728" y="4038"/>
                </a:lnTo>
                <a:lnTo>
                  <a:pt x="10719" y="4037"/>
                </a:lnTo>
                <a:lnTo>
                  <a:pt x="10709" y="4036"/>
                </a:lnTo>
                <a:lnTo>
                  <a:pt x="10700" y="4034"/>
                </a:lnTo>
                <a:lnTo>
                  <a:pt x="10692" y="4033"/>
                </a:lnTo>
                <a:lnTo>
                  <a:pt x="10689" y="4033"/>
                </a:lnTo>
                <a:lnTo>
                  <a:pt x="10688" y="4034"/>
                </a:lnTo>
                <a:lnTo>
                  <a:pt x="10687" y="4036"/>
                </a:lnTo>
                <a:lnTo>
                  <a:pt x="10688" y="4037"/>
                </a:lnTo>
                <a:lnTo>
                  <a:pt x="10688" y="4039"/>
                </a:lnTo>
                <a:lnTo>
                  <a:pt x="10694" y="4050"/>
                </a:lnTo>
                <a:lnTo>
                  <a:pt x="10700" y="4062"/>
                </a:lnTo>
                <a:lnTo>
                  <a:pt x="10700" y="4062"/>
                </a:lnTo>
                <a:lnTo>
                  <a:pt x="10700" y="4062"/>
                </a:lnTo>
                <a:lnTo>
                  <a:pt x="10724" y="4062"/>
                </a:lnTo>
                <a:lnTo>
                  <a:pt x="10749" y="4062"/>
                </a:lnTo>
                <a:lnTo>
                  <a:pt x="10774" y="4062"/>
                </a:lnTo>
                <a:lnTo>
                  <a:pt x="10799" y="4063"/>
                </a:lnTo>
                <a:lnTo>
                  <a:pt x="10824" y="4063"/>
                </a:lnTo>
                <a:lnTo>
                  <a:pt x="10849" y="4063"/>
                </a:lnTo>
                <a:lnTo>
                  <a:pt x="10873" y="4063"/>
                </a:lnTo>
                <a:lnTo>
                  <a:pt x="10897" y="4063"/>
                </a:lnTo>
                <a:lnTo>
                  <a:pt x="10905" y="4074"/>
                </a:lnTo>
                <a:lnTo>
                  <a:pt x="10911" y="4085"/>
                </a:lnTo>
                <a:lnTo>
                  <a:pt x="10917" y="4095"/>
                </a:lnTo>
                <a:lnTo>
                  <a:pt x="10921" y="4106"/>
                </a:lnTo>
                <a:lnTo>
                  <a:pt x="10925" y="4116"/>
                </a:lnTo>
                <a:lnTo>
                  <a:pt x="10928" y="4127"/>
                </a:lnTo>
                <a:lnTo>
                  <a:pt x="10929" y="4136"/>
                </a:lnTo>
                <a:lnTo>
                  <a:pt x="10929" y="4145"/>
                </a:lnTo>
                <a:lnTo>
                  <a:pt x="10929" y="4155"/>
                </a:lnTo>
                <a:lnTo>
                  <a:pt x="10930" y="4162"/>
                </a:lnTo>
                <a:lnTo>
                  <a:pt x="10932" y="4170"/>
                </a:lnTo>
                <a:lnTo>
                  <a:pt x="10933" y="4175"/>
                </a:lnTo>
                <a:lnTo>
                  <a:pt x="10934" y="4180"/>
                </a:lnTo>
                <a:lnTo>
                  <a:pt x="10934" y="4184"/>
                </a:lnTo>
                <a:lnTo>
                  <a:pt x="10933" y="4188"/>
                </a:lnTo>
                <a:lnTo>
                  <a:pt x="10929" y="4191"/>
                </a:lnTo>
                <a:lnTo>
                  <a:pt x="10935" y="4198"/>
                </a:lnTo>
                <a:lnTo>
                  <a:pt x="10955" y="4213"/>
                </a:lnTo>
                <a:lnTo>
                  <a:pt x="10969" y="4223"/>
                </a:lnTo>
                <a:lnTo>
                  <a:pt x="10984" y="4233"/>
                </a:lnTo>
                <a:lnTo>
                  <a:pt x="11000" y="4241"/>
                </a:lnTo>
                <a:lnTo>
                  <a:pt x="11018" y="4248"/>
                </a:lnTo>
                <a:lnTo>
                  <a:pt x="11026" y="4251"/>
                </a:lnTo>
                <a:lnTo>
                  <a:pt x="11034" y="4253"/>
                </a:lnTo>
                <a:lnTo>
                  <a:pt x="11040" y="4253"/>
                </a:lnTo>
                <a:lnTo>
                  <a:pt x="11044" y="4254"/>
                </a:lnTo>
                <a:lnTo>
                  <a:pt x="11049" y="4253"/>
                </a:lnTo>
                <a:lnTo>
                  <a:pt x="11053" y="4252"/>
                </a:lnTo>
                <a:lnTo>
                  <a:pt x="11056" y="4251"/>
                </a:lnTo>
                <a:lnTo>
                  <a:pt x="11060" y="4249"/>
                </a:lnTo>
                <a:lnTo>
                  <a:pt x="11065" y="4245"/>
                </a:lnTo>
                <a:lnTo>
                  <a:pt x="11070" y="4241"/>
                </a:lnTo>
                <a:lnTo>
                  <a:pt x="11075" y="4239"/>
                </a:lnTo>
                <a:lnTo>
                  <a:pt x="11079" y="4237"/>
                </a:lnTo>
                <a:lnTo>
                  <a:pt x="11083" y="4236"/>
                </a:lnTo>
                <a:lnTo>
                  <a:pt x="11090" y="4235"/>
                </a:lnTo>
                <a:lnTo>
                  <a:pt x="11102" y="4233"/>
                </a:lnTo>
                <a:lnTo>
                  <a:pt x="11116" y="4228"/>
                </a:lnTo>
                <a:lnTo>
                  <a:pt x="11131" y="4222"/>
                </a:lnTo>
                <a:lnTo>
                  <a:pt x="11147" y="4214"/>
                </a:lnTo>
                <a:lnTo>
                  <a:pt x="11147" y="4214"/>
                </a:lnTo>
                <a:lnTo>
                  <a:pt x="11177" y="4198"/>
                </a:lnTo>
                <a:lnTo>
                  <a:pt x="11197" y="4187"/>
                </a:lnTo>
                <a:lnTo>
                  <a:pt x="11209" y="4181"/>
                </a:lnTo>
                <a:lnTo>
                  <a:pt x="11215" y="4179"/>
                </a:lnTo>
                <a:lnTo>
                  <a:pt x="11219" y="4179"/>
                </a:lnTo>
                <a:lnTo>
                  <a:pt x="11225" y="4180"/>
                </a:lnTo>
                <a:lnTo>
                  <a:pt x="11235" y="4183"/>
                </a:lnTo>
                <a:lnTo>
                  <a:pt x="11251" y="4186"/>
                </a:lnTo>
                <a:lnTo>
                  <a:pt x="11251" y="4186"/>
                </a:lnTo>
                <a:lnTo>
                  <a:pt x="11255" y="4187"/>
                </a:lnTo>
                <a:lnTo>
                  <a:pt x="11256" y="4187"/>
                </a:lnTo>
                <a:lnTo>
                  <a:pt x="11256" y="4187"/>
                </a:lnTo>
                <a:lnTo>
                  <a:pt x="11257" y="4187"/>
                </a:lnTo>
                <a:lnTo>
                  <a:pt x="11258" y="4187"/>
                </a:lnTo>
                <a:lnTo>
                  <a:pt x="11259" y="4187"/>
                </a:lnTo>
                <a:lnTo>
                  <a:pt x="11263" y="4188"/>
                </a:lnTo>
                <a:lnTo>
                  <a:pt x="11276" y="4189"/>
                </a:lnTo>
                <a:lnTo>
                  <a:pt x="11284" y="4188"/>
                </a:lnTo>
                <a:lnTo>
                  <a:pt x="11291" y="4187"/>
                </a:lnTo>
                <a:lnTo>
                  <a:pt x="11296" y="4185"/>
                </a:lnTo>
                <a:lnTo>
                  <a:pt x="11302" y="4183"/>
                </a:lnTo>
                <a:lnTo>
                  <a:pt x="11309" y="4182"/>
                </a:lnTo>
                <a:lnTo>
                  <a:pt x="11320" y="4181"/>
                </a:lnTo>
                <a:lnTo>
                  <a:pt x="11334" y="4181"/>
                </a:lnTo>
                <a:lnTo>
                  <a:pt x="11365" y="4183"/>
                </a:lnTo>
                <a:lnTo>
                  <a:pt x="11392" y="4186"/>
                </a:lnTo>
                <a:lnTo>
                  <a:pt x="11417" y="4190"/>
                </a:lnTo>
                <a:lnTo>
                  <a:pt x="11443" y="4197"/>
                </a:lnTo>
                <a:lnTo>
                  <a:pt x="11457" y="4199"/>
                </a:lnTo>
                <a:lnTo>
                  <a:pt x="11474" y="4201"/>
                </a:lnTo>
                <a:lnTo>
                  <a:pt x="11489" y="4202"/>
                </a:lnTo>
                <a:lnTo>
                  <a:pt x="11504" y="4202"/>
                </a:lnTo>
                <a:lnTo>
                  <a:pt x="11516" y="4201"/>
                </a:lnTo>
                <a:lnTo>
                  <a:pt x="11523" y="4199"/>
                </a:lnTo>
                <a:lnTo>
                  <a:pt x="11525" y="4197"/>
                </a:lnTo>
                <a:lnTo>
                  <a:pt x="11526" y="4196"/>
                </a:lnTo>
                <a:lnTo>
                  <a:pt x="11526" y="4194"/>
                </a:lnTo>
                <a:lnTo>
                  <a:pt x="11523" y="4190"/>
                </a:lnTo>
                <a:lnTo>
                  <a:pt x="11517" y="4186"/>
                </a:lnTo>
                <a:lnTo>
                  <a:pt x="11508" y="4183"/>
                </a:lnTo>
                <a:lnTo>
                  <a:pt x="11501" y="4181"/>
                </a:lnTo>
                <a:lnTo>
                  <a:pt x="11493" y="4179"/>
                </a:lnTo>
                <a:lnTo>
                  <a:pt x="11487" y="4177"/>
                </a:lnTo>
                <a:lnTo>
                  <a:pt x="11482" y="4174"/>
                </a:lnTo>
                <a:lnTo>
                  <a:pt x="11481" y="4172"/>
                </a:lnTo>
                <a:lnTo>
                  <a:pt x="11481" y="4171"/>
                </a:lnTo>
                <a:lnTo>
                  <a:pt x="11482" y="4168"/>
                </a:lnTo>
                <a:lnTo>
                  <a:pt x="11483" y="4164"/>
                </a:lnTo>
                <a:lnTo>
                  <a:pt x="11489" y="4160"/>
                </a:lnTo>
                <a:lnTo>
                  <a:pt x="11494" y="4156"/>
                </a:lnTo>
                <a:lnTo>
                  <a:pt x="11499" y="4154"/>
                </a:lnTo>
                <a:lnTo>
                  <a:pt x="11505" y="4153"/>
                </a:lnTo>
                <a:lnTo>
                  <a:pt x="11510" y="4153"/>
                </a:lnTo>
                <a:lnTo>
                  <a:pt x="11516" y="4152"/>
                </a:lnTo>
                <a:lnTo>
                  <a:pt x="11519" y="4149"/>
                </a:lnTo>
                <a:lnTo>
                  <a:pt x="11522" y="4146"/>
                </a:lnTo>
                <a:lnTo>
                  <a:pt x="11528" y="4142"/>
                </a:lnTo>
                <a:lnTo>
                  <a:pt x="11531" y="4140"/>
                </a:lnTo>
                <a:lnTo>
                  <a:pt x="11531" y="4139"/>
                </a:lnTo>
                <a:lnTo>
                  <a:pt x="11530" y="4136"/>
                </a:lnTo>
                <a:lnTo>
                  <a:pt x="11525" y="4132"/>
                </a:lnTo>
                <a:lnTo>
                  <a:pt x="11519" y="4125"/>
                </a:lnTo>
                <a:lnTo>
                  <a:pt x="11503" y="4112"/>
                </a:lnTo>
                <a:lnTo>
                  <a:pt x="11488" y="4102"/>
                </a:lnTo>
                <a:lnTo>
                  <a:pt x="11482" y="4098"/>
                </a:lnTo>
                <a:lnTo>
                  <a:pt x="11478" y="4093"/>
                </a:lnTo>
                <a:lnTo>
                  <a:pt x="11477" y="4091"/>
                </a:lnTo>
                <a:lnTo>
                  <a:pt x="11476" y="4089"/>
                </a:lnTo>
                <a:lnTo>
                  <a:pt x="11476" y="4086"/>
                </a:lnTo>
                <a:lnTo>
                  <a:pt x="11477" y="4083"/>
                </a:lnTo>
                <a:lnTo>
                  <a:pt x="11480" y="4078"/>
                </a:lnTo>
                <a:lnTo>
                  <a:pt x="11485" y="4075"/>
                </a:lnTo>
                <a:lnTo>
                  <a:pt x="11492" y="4072"/>
                </a:lnTo>
                <a:lnTo>
                  <a:pt x="11499" y="4069"/>
                </a:lnTo>
                <a:lnTo>
                  <a:pt x="11508" y="4067"/>
                </a:lnTo>
                <a:lnTo>
                  <a:pt x="11518" y="4066"/>
                </a:lnTo>
                <a:lnTo>
                  <a:pt x="11526" y="4066"/>
                </a:lnTo>
                <a:lnTo>
                  <a:pt x="11535" y="4066"/>
                </a:lnTo>
                <a:lnTo>
                  <a:pt x="11548" y="4068"/>
                </a:lnTo>
                <a:lnTo>
                  <a:pt x="11557" y="4071"/>
                </a:lnTo>
                <a:lnTo>
                  <a:pt x="11559" y="4071"/>
                </a:lnTo>
                <a:lnTo>
                  <a:pt x="11560" y="4069"/>
                </a:lnTo>
                <a:lnTo>
                  <a:pt x="11560" y="4067"/>
                </a:lnTo>
                <a:lnTo>
                  <a:pt x="11558" y="4062"/>
                </a:lnTo>
                <a:lnTo>
                  <a:pt x="11556" y="4059"/>
                </a:lnTo>
                <a:lnTo>
                  <a:pt x="11554" y="4054"/>
                </a:lnTo>
                <a:lnTo>
                  <a:pt x="11543" y="4037"/>
                </a:lnTo>
                <a:lnTo>
                  <a:pt x="11534" y="4024"/>
                </a:lnTo>
                <a:lnTo>
                  <a:pt x="11533" y="4022"/>
                </a:lnTo>
                <a:lnTo>
                  <a:pt x="11533" y="4020"/>
                </a:lnTo>
                <a:lnTo>
                  <a:pt x="11533" y="4018"/>
                </a:lnTo>
                <a:lnTo>
                  <a:pt x="11534" y="4017"/>
                </a:lnTo>
                <a:lnTo>
                  <a:pt x="11536" y="4015"/>
                </a:lnTo>
                <a:lnTo>
                  <a:pt x="11539" y="4014"/>
                </a:lnTo>
                <a:lnTo>
                  <a:pt x="11543" y="4014"/>
                </a:lnTo>
                <a:lnTo>
                  <a:pt x="11548" y="4014"/>
                </a:lnTo>
                <a:lnTo>
                  <a:pt x="11564" y="4018"/>
                </a:lnTo>
                <a:lnTo>
                  <a:pt x="11574" y="4019"/>
                </a:lnTo>
                <a:lnTo>
                  <a:pt x="11577" y="4019"/>
                </a:lnTo>
                <a:lnTo>
                  <a:pt x="11582" y="4018"/>
                </a:lnTo>
                <a:lnTo>
                  <a:pt x="11587" y="4015"/>
                </a:lnTo>
                <a:lnTo>
                  <a:pt x="11594" y="4012"/>
                </a:lnTo>
                <a:lnTo>
                  <a:pt x="11597" y="4011"/>
                </a:lnTo>
                <a:lnTo>
                  <a:pt x="11599" y="4010"/>
                </a:lnTo>
                <a:lnTo>
                  <a:pt x="10855" y="4009"/>
                </a:lnTo>
                <a:lnTo>
                  <a:pt x="10849" y="4000"/>
                </a:lnTo>
                <a:lnTo>
                  <a:pt x="10842" y="3993"/>
                </a:lnTo>
                <a:lnTo>
                  <a:pt x="10838" y="3986"/>
                </a:lnTo>
                <a:lnTo>
                  <a:pt x="10836" y="3982"/>
                </a:lnTo>
                <a:lnTo>
                  <a:pt x="10836" y="3980"/>
                </a:lnTo>
                <a:lnTo>
                  <a:pt x="10836" y="3978"/>
                </a:lnTo>
                <a:lnTo>
                  <a:pt x="10837" y="3977"/>
                </a:lnTo>
                <a:lnTo>
                  <a:pt x="10838" y="3975"/>
                </a:lnTo>
                <a:lnTo>
                  <a:pt x="10842" y="3974"/>
                </a:lnTo>
                <a:lnTo>
                  <a:pt x="10849" y="3973"/>
                </a:lnTo>
                <a:lnTo>
                  <a:pt x="10866" y="3974"/>
                </a:lnTo>
                <a:lnTo>
                  <a:pt x="10880" y="3975"/>
                </a:lnTo>
                <a:lnTo>
                  <a:pt x="10885" y="3975"/>
                </a:lnTo>
                <a:lnTo>
                  <a:pt x="10890" y="3973"/>
                </a:lnTo>
                <a:lnTo>
                  <a:pt x="10894" y="3970"/>
                </a:lnTo>
                <a:lnTo>
                  <a:pt x="10897" y="3965"/>
                </a:lnTo>
                <a:lnTo>
                  <a:pt x="10898" y="3961"/>
                </a:lnTo>
                <a:lnTo>
                  <a:pt x="10898" y="3958"/>
                </a:lnTo>
                <a:lnTo>
                  <a:pt x="10897" y="3955"/>
                </a:lnTo>
                <a:lnTo>
                  <a:pt x="10896" y="3952"/>
                </a:lnTo>
                <a:lnTo>
                  <a:pt x="10891" y="3945"/>
                </a:lnTo>
                <a:lnTo>
                  <a:pt x="10883" y="3940"/>
                </a:lnTo>
                <a:lnTo>
                  <a:pt x="10869" y="3931"/>
                </a:lnTo>
                <a:lnTo>
                  <a:pt x="10863" y="3928"/>
                </a:lnTo>
                <a:lnTo>
                  <a:pt x="10854" y="3924"/>
                </a:lnTo>
                <a:lnTo>
                  <a:pt x="10831" y="3914"/>
                </a:lnTo>
                <a:lnTo>
                  <a:pt x="10816" y="3907"/>
                </a:lnTo>
                <a:lnTo>
                  <a:pt x="10800" y="3902"/>
                </a:lnTo>
                <a:lnTo>
                  <a:pt x="10784" y="3898"/>
                </a:lnTo>
                <a:lnTo>
                  <a:pt x="10769" y="3893"/>
                </a:lnTo>
                <a:lnTo>
                  <a:pt x="10756" y="3891"/>
                </a:lnTo>
                <a:lnTo>
                  <a:pt x="10745" y="3890"/>
                </a:lnTo>
                <a:lnTo>
                  <a:pt x="10736" y="3891"/>
                </a:lnTo>
                <a:lnTo>
                  <a:pt x="10729" y="3892"/>
                </a:lnTo>
                <a:lnTo>
                  <a:pt x="10715" y="3898"/>
                </a:lnTo>
                <a:lnTo>
                  <a:pt x="10697" y="3904"/>
                </a:lnTo>
                <a:lnTo>
                  <a:pt x="10692" y="3906"/>
                </a:lnTo>
                <a:lnTo>
                  <a:pt x="10688" y="3909"/>
                </a:lnTo>
                <a:lnTo>
                  <a:pt x="10684" y="3911"/>
                </a:lnTo>
                <a:lnTo>
                  <a:pt x="10681" y="3914"/>
                </a:lnTo>
                <a:lnTo>
                  <a:pt x="10679" y="3916"/>
                </a:lnTo>
                <a:lnTo>
                  <a:pt x="10677" y="3919"/>
                </a:lnTo>
                <a:lnTo>
                  <a:pt x="10676" y="3923"/>
                </a:lnTo>
                <a:lnTo>
                  <a:pt x="10675" y="3926"/>
                </a:lnTo>
                <a:lnTo>
                  <a:pt x="10676" y="3930"/>
                </a:lnTo>
                <a:lnTo>
                  <a:pt x="10676" y="3933"/>
                </a:lnTo>
                <a:lnTo>
                  <a:pt x="10678" y="3937"/>
                </a:lnTo>
                <a:lnTo>
                  <a:pt x="10680" y="3941"/>
                </a:lnTo>
                <a:lnTo>
                  <a:pt x="10685" y="3948"/>
                </a:lnTo>
                <a:lnTo>
                  <a:pt x="10694" y="3956"/>
                </a:lnTo>
                <a:lnTo>
                  <a:pt x="10709" y="3969"/>
                </a:lnTo>
                <a:lnTo>
                  <a:pt x="10723" y="3982"/>
                </a:lnTo>
                <a:lnTo>
                  <a:pt x="10729" y="3988"/>
                </a:lnTo>
                <a:lnTo>
                  <a:pt x="10733" y="3995"/>
                </a:lnTo>
                <a:lnTo>
                  <a:pt x="10738" y="4001"/>
                </a:lnTo>
                <a:lnTo>
                  <a:pt x="10742" y="4009"/>
                </a:lnTo>
                <a:lnTo>
                  <a:pt x="10549" y="4009"/>
                </a:lnTo>
                <a:lnTo>
                  <a:pt x="10544" y="4005"/>
                </a:lnTo>
                <a:lnTo>
                  <a:pt x="10536" y="3999"/>
                </a:lnTo>
                <a:lnTo>
                  <a:pt x="10528" y="3994"/>
                </a:lnTo>
                <a:lnTo>
                  <a:pt x="10520" y="3990"/>
                </a:lnTo>
                <a:lnTo>
                  <a:pt x="10513" y="3987"/>
                </a:lnTo>
                <a:lnTo>
                  <a:pt x="10504" y="3985"/>
                </a:lnTo>
                <a:lnTo>
                  <a:pt x="10496" y="3985"/>
                </a:lnTo>
                <a:lnTo>
                  <a:pt x="10489" y="3985"/>
                </a:lnTo>
                <a:lnTo>
                  <a:pt x="10481" y="3986"/>
                </a:lnTo>
                <a:lnTo>
                  <a:pt x="10474" y="3988"/>
                </a:lnTo>
                <a:lnTo>
                  <a:pt x="10458" y="3992"/>
                </a:lnTo>
                <a:lnTo>
                  <a:pt x="10442" y="3996"/>
                </a:lnTo>
                <a:lnTo>
                  <a:pt x="10434" y="3997"/>
                </a:lnTo>
                <a:lnTo>
                  <a:pt x="10424" y="3997"/>
                </a:lnTo>
                <a:lnTo>
                  <a:pt x="10415" y="3997"/>
                </a:lnTo>
                <a:lnTo>
                  <a:pt x="10404" y="3996"/>
                </a:lnTo>
                <a:lnTo>
                  <a:pt x="10396" y="3995"/>
                </a:lnTo>
                <a:lnTo>
                  <a:pt x="10388" y="3995"/>
                </a:lnTo>
                <a:lnTo>
                  <a:pt x="10381" y="3996"/>
                </a:lnTo>
                <a:lnTo>
                  <a:pt x="10374" y="3997"/>
                </a:lnTo>
                <a:lnTo>
                  <a:pt x="10369" y="3999"/>
                </a:lnTo>
                <a:lnTo>
                  <a:pt x="10363" y="4002"/>
                </a:lnTo>
                <a:lnTo>
                  <a:pt x="10359" y="4006"/>
                </a:lnTo>
                <a:lnTo>
                  <a:pt x="10355" y="4009"/>
                </a:lnTo>
                <a:lnTo>
                  <a:pt x="6058" y="4006"/>
                </a:lnTo>
                <a:lnTo>
                  <a:pt x="1172" y="3921"/>
                </a:lnTo>
                <a:lnTo>
                  <a:pt x="1173" y="3933"/>
                </a:lnTo>
                <a:lnTo>
                  <a:pt x="1174" y="3945"/>
                </a:lnTo>
                <a:lnTo>
                  <a:pt x="1177" y="3958"/>
                </a:lnTo>
                <a:lnTo>
                  <a:pt x="1182" y="3971"/>
                </a:lnTo>
                <a:lnTo>
                  <a:pt x="1186" y="3980"/>
                </a:lnTo>
                <a:lnTo>
                  <a:pt x="1191" y="3987"/>
                </a:lnTo>
                <a:lnTo>
                  <a:pt x="1198" y="3995"/>
                </a:lnTo>
                <a:lnTo>
                  <a:pt x="1204" y="4001"/>
                </a:lnTo>
                <a:lnTo>
                  <a:pt x="1212" y="4009"/>
                </a:lnTo>
                <a:lnTo>
                  <a:pt x="1219" y="4017"/>
                </a:lnTo>
                <a:lnTo>
                  <a:pt x="1226" y="4024"/>
                </a:lnTo>
                <a:lnTo>
                  <a:pt x="1233" y="4033"/>
                </a:lnTo>
                <a:lnTo>
                  <a:pt x="1238" y="4042"/>
                </a:lnTo>
                <a:lnTo>
                  <a:pt x="1240" y="4050"/>
                </a:lnTo>
                <a:lnTo>
                  <a:pt x="1241" y="4058"/>
                </a:lnTo>
                <a:lnTo>
                  <a:pt x="1239" y="4065"/>
                </a:lnTo>
                <a:lnTo>
                  <a:pt x="1232" y="4077"/>
                </a:lnTo>
                <a:lnTo>
                  <a:pt x="1223" y="4089"/>
                </a:lnTo>
                <a:lnTo>
                  <a:pt x="1214" y="4100"/>
                </a:lnTo>
                <a:lnTo>
                  <a:pt x="1205" y="4109"/>
                </a:lnTo>
                <a:lnTo>
                  <a:pt x="1196" y="4118"/>
                </a:lnTo>
                <a:lnTo>
                  <a:pt x="1185" y="4127"/>
                </a:lnTo>
                <a:lnTo>
                  <a:pt x="1182" y="4128"/>
                </a:lnTo>
                <a:lnTo>
                  <a:pt x="1177" y="4129"/>
                </a:lnTo>
                <a:lnTo>
                  <a:pt x="1173" y="4129"/>
                </a:lnTo>
                <a:lnTo>
                  <a:pt x="1169" y="4129"/>
                </a:lnTo>
                <a:lnTo>
                  <a:pt x="1158" y="4128"/>
                </a:lnTo>
                <a:lnTo>
                  <a:pt x="1147" y="4125"/>
                </a:lnTo>
                <a:lnTo>
                  <a:pt x="1135" y="4119"/>
                </a:lnTo>
                <a:lnTo>
                  <a:pt x="1122" y="4114"/>
                </a:lnTo>
                <a:lnTo>
                  <a:pt x="1110" y="4106"/>
                </a:lnTo>
                <a:lnTo>
                  <a:pt x="1098" y="4099"/>
                </a:lnTo>
                <a:lnTo>
                  <a:pt x="1094" y="4095"/>
                </a:lnTo>
                <a:lnTo>
                  <a:pt x="1090" y="4091"/>
                </a:lnTo>
                <a:lnTo>
                  <a:pt x="1087" y="4088"/>
                </a:lnTo>
                <a:lnTo>
                  <a:pt x="1086" y="4085"/>
                </a:lnTo>
                <a:lnTo>
                  <a:pt x="1085" y="4081"/>
                </a:lnTo>
                <a:lnTo>
                  <a:pt x="1085" y="4077"/>
                </a:lnTo>
                <a:lnTo>
                  <a:pt x="1086" y="4074"/>
                </a:lnTo>
                <a:lnTo>
                  <a:pt x="1089" y="4071"/>
                </a:lnTo>
                <a:lnTo>
                  <a:pt x="1098" y="4058"/>
                </a:lnTo>
                <a:lnTo>
                  <a:pt x="1107" y="4044"/>
                </a:lnTo>
                <a:lnTo>
                  <a:pt x="1109" y="4036"/>
                </a:lnTo>
                <a:lnTo>
                  <a:pt x="1109" y="4032"/>
                </a:lnTo>
                <a:lnTo>
                  <a:pt x="1108" y="4028"/>
                </a:lnTo>
                <a:lnTo>
                  <a:pt x="1105" y="4026"/>
                </a:lnTo>
                <a:lnTo>
                  <a:pt x="1095" y="4023"/>
                </a:lnTo>
                <a:lnTo>
                  <a:pt x="1083" y="4018"/>
                </a:lnTo>
                <a:lnTo>
                  <a:pt x="1069" y="4010"/>
                </a:lnTo>
                <a:lnTo>
                  <a:pt x="1057" y="4001"/>
                </a:lnTo>
                <a:lnTo>
                  <a:pt x="1052" y="3996"/>
                </a:lnTo>
                <a:lnTo>
                  <a:pt x="1047" y="3990"/>
                </a:lnTo>
                <a:lnTo>
                  <a:pt x="1043" y="3983"/>
                </a:lnTo>
                <a:lnTo>
                  <a:pt x="1040" y="3974"/>
                </a:lnTo>
                <a:lnTo>
                  <a:pt x="1034" y="3960"/>
                </a:lnTo>
                <a:lnTo>
                  <a:pt x="1029" y="3947"/>
                </a:lnTo>
                <a:lnTo>
                  <a:pt x="1024" y="3934"/>
                </a:lnTo>
                <a:lnTo>
                  <a:pt x="1018" y="3919"/>
                </a:lnTo>
                <a:lnTo>
                  <a:pt x="812" y="3916"/>
                </a:lnTo>
                <a:lnTo>
                  <a:pt x="818" y="3903"/>
                </a:lnTo>
                <a:lnTo>
                  <a:pt x="823" y="3890"/>
                </a:lnTo>
                <a:lnTo>
                  <a:pt x="825" y="3877"/>
                </a:lnTo>
                <a:lnTo>
                  <a:pt x="826" y="3863"/>
                </a:lnTo>
                <a:lnTo>
                  <a:pt x="826" y="3850"/>
                </a:lnTo>
                <a:lnTo>
                  <a:pt x="825" y="3837"/>
                </a:lnTo>
                <a:lnTo>
                  <a:pt x="823" y="3823"/>
                </a:lnTo>
                <a:lnTo>
                  <a:pt x="819" y="3809"/>
                </a:lnTo>
                <a:lnTo>
                  <a:pt x="817" y="3803"/>
                </a:lnTo>
                <a:lnTo>
                  <a:pt x="814" y="3796"/>
                </a:lnTo>
                <a:lnTo>
                  <a:pt x="811" y="3791"/>
                </a:lnTo>
                <a:lnTo>
                  <a:pt x="806" y="3786"/>
                </a:lnTo>
                <a:lnTo>
                  <a:pt x="801" y="3783"/>
                </a:lnTo>
                <a:lnTo>
                  <a:pt x="796" y="3780"/>
                </a:lnTo>
                <a:lnTo>
                  <a:pt x="789" y="3778"/>
                </a:lnTo>
                <a:lnTo>
                  <a:pt x="783" y="3775"/>
                </a:lnTo>
                <a:lnTo>
                  <a:pt x="767" y="3770"/>
                </a:lnTo>
                <a:lnTo>
                  <a:pt x="750" y="3764"/>
                </a:lnTo>
                <a:lnTo>
                  <a:pt x="742" y="3761"/>
                </a:lnTo>
                <a:lnTo>
                  <a:pt x="733" y="3756"/>
                </a:lnTo>
                <a:lnTo>
                  <a:pt x="724" y="3751"/>
                </a:lnTo>
                <a:lnTo>
                  <a:pt x="715" y="3745"/>
                </a:lnTo>
                <a:lnTo>
                  <a:pt x="707" y="3739"/>
                </a:lnTo>
                <a:lnTo>
                  <a:pt x="702" y="3735"/>
                </a:lnTo>
                <a:lnTo>
                  <a:pt x="697" y="3729"/>
                </a:lnTo>
                <a:lnTo>
                  <a:pt x="696" y="3726"/>
                </a:lnTo>
                <a:lnTo>
                  <a:pt x="696" y="3723"/>
                </a:lnTo>
                <a:lnTo>
                  <a:pt x="697" y="3721"/>
                </a:lnTo>
                <a:lnTo>
                  <a:pt x="699" y="3718"/>
                </a:lnTo>
                <a:lnTo>
                  <a:pt x="703" y="3716"/>
                </a:lnTo>
                <a:lnTo>
                  <a:pt x="722" y="3711"/>
                </a:lnTo>
                <a:lnTo>
                  <a:pt x="737" y="3705"/>
                </a:lnTo>
                <a:lnTo>
                  <a:pt x="742" y="3701"/>
                </a:lnTo>
                <a:lnTo>
                  <a:pt x="744" y="3696"/>
                </a:lnTo>
                <a:lnTo>
                  <a:pt x="744" y="3691"/>
                </a:lnTo>
                <a:lnTo>
                  <a:pt x="744" y="3685"/>
                </a:lnTo>
                <a:lnTo>
                  <a:pt x="742" y="3680"/>
                </a:lnTo>
                <a:lnTo>
                  <a:pt x="739" y="3673"/>
                </a:lnTo>
                <a:lnTo>
                  <a:pt x="736" y="3668"/>
                </a:lnTo>
                <a:lnTo>
                  <a:pt x="732" y="3662"/>
                </a:lnTo>
                <a:lnTo>
                  <a:pt x="723" y="3654"/>
                </a:lnTo>
                <a:lnTo>
                  <a:pt x="716" y="3647"/>
                </a:lnTo>
                <a:lnTo>
                  <a:pt x="711" y="3644"/>
                </a:lnTo>
                <a:lnTo>
                  <a:pt x="709" y="3640"/>
                </a:lnTo>
                <a:lnTo>
                  <a:pt x="707" y="3634"/>
                </a:lnTo>
                <a:lnTo>
                  <a:pt x="706" y="3628"/>
                </a:lnTo>
                <a:lnTo>
                  <a:pt x="707" y="3615"/>
                </a:lnTo>
                <a:lnTo>
                  <a:pt x="706" y="3604"/>
                </a:lnTo>
                <a:lnTo>
                  <a:pt x="706" y="3600"/>
                </a:lnTo>
                <a:lnTo>
                  <a:pt x="705" y="3596"/>
                </a:lnTo>
                <a:lnTo>
                  <a:pt x="703" y="3594"/>
                </a:lnTo>
                <a:lnTo>
                  <a:pt x="699" y="3592"/>
                </a:lnTo>
                <a:lnTo>
                  <a:pt x="689" y="3589"/>
                </a:lnTo>
                <a:lnTo>
                  <a:pt x="675" y="3585"/>
                </a:lnTo>
                <a:lnTo>
                  <a:pt x="667" y="3582"/>
                </a:lnTo>
                <a:lnTo>
                  <a:pt x="660" y="3580"/>
                </a:lnTo>
                <a:lnTo>
                  <a:pt x="654" y="3577"/>
                </a:lnTo>
                <a:lnTo>
                  <a:pt x="651" y="3574"/>
                </a:lnTo>
                <a:lnTo>
                  <a:pt x="649" y="3572"/>
                </a:lnTo>
                <a:lnTo>
                  <a:pt x="649" y="3570"/>
                </a:lnTo>
                <a:lnTo>
                  <a:pt x="649" y="3568"/>
                </a:lnTo>
                <a:lnTo>
                  <a:pt x="649" y="3567"/>
                </a:lnTo>
                <a:lnTo>
                  <a:pt x="652" y="3564"/>
                </a:lnTo>
                <a:lnTo>
                  <a:pt x="655" y="3562"/>
                </a:lnTo>
                <a:lnTo>
                  <a:pt x="664" y="3556"/>
                </a:lnTo>
                <a:lnTo>
                  <a:pt x="671" y="3551"/>
                </a:lnTo>
                <a:lnTo>
                  <a:pt x="673" y="3547"/>
                </a:lnTo>
                <a:lnTo>
                  <a:pt x="672" y="3545"/>
                </a:lnTo>
                <a:lnTo>
                  <a:pt x="670" y="3542"/>
                </a:lnTo>
                <a:lnTo>
                  <a:pt x="667" y="3541"/>
                </a:lnTo>
                <a:lnTo>
                  <a:pt x="660" y="3539"/>
                </a:lnTo>
                <a:lnTo>
                  <a:pt x="657" y="3539"/>
                </a:lnTo>
                <a:lnTo>
                  <a:pt x="657" y="3536"/>
                </a:lnTo>
                <a:lnTo>
                  <a:pt x="657" y="3528"/>
                </a:lnTo>
                <a:lnTo>
                  <a:pt x="657" y="3524"/>
                </a:lnTo>
                <a:lnTo>
                  <a:pt x="659" y="3519"/>
                </a:lnTo>
                <a:lnTo>
                  <a:pt x="662" y="3513"/>
                </a:lnTo>
                <a:lnTo>
                  <a:pt x="666" y="3508"/>
                </a:lnTo>
                <a:lnTo>
                  <a:pt x="670" y="3502"/>
                </a:lnTo>
                <a:lnTo>
                  <a:pt x="671" y="3497"/>
                </a:lnTo>
                <a:lnTo>
                  <a:pt x="671" y="3492"/>
                </a:lnTo>
                <a:lnTo>
                  <a:pt x="670" y="3484"/>
                </a:lnTo>
                <a:lnTo>
                  <a:pt x="664" y="3468"/>
                </a:lnTo>
                <a:lnTo>
                  <a:pt x="655" y="3443"/>
                </a:lnTo>
                <a:lnTo>
                  <a:pt x="650" y="3430"/>
                </a:lnTo>
                <a:lnTo>
                  <a:pt x="645" y="3419"/>
                </a:lnTo>
                <a:lnTo>
                  <a:pt x="640" y="3410"/>
                </a:lnTo>
                <a:lnTo>
                  <a:pt x="635" y="3401"/>
                </a:lnTo>
                <a:lnTo>
                  <a:pt x="624" y="3384"/>
                </a:lnTo>
                <a:lnTo>
                  <a:pt x="609" y="3363"/>
                </a:lnTo>
                <a:lnTo>
                  <a:pt x="601" y="3351"/>
                </a:lnTo>
                <a:lnTo>
                  <a:pt x="595" y="3339"/>
                </a:lnTo>
                <a:lnTo>
                  <a:pt x="589" y="3329"/>
                </a:lnTo>
                <a:lnTo>
                  <a:pt x="585" y="3319"/>
                </a:lnTo>
                <a:lnTo>
                  <a:pt x="583" y="3309"/>
                </a:lnTo>
                <a:lnTo>
                  <a:pt x="582" y="3299"/>
                </a:lnTo>
                <a:lnTo>
                  <a:pt x="583" y="3295"/>
                </a:lnTo>
                <a:lnTo>
                  <a:pt x="584" y="3291"/>
                </a:lnTo>
                <a:lnTo>
                  <a:pt x="585" y="3288"/>
                </a:lnTo>
                <a:lnTo>
                  <a:pt x="587" y="3283"/>
                </a:lnTo>
                <a:lnTo>
                  <a:pt x="597" y="3268"/>
                </a:lnTo>
                <a:lnTo>
                  <a:pt x="605" y="3255"/>
                </a:lnTo>
                <a:lnTo>
                  <a:pt x="612" y="3245"/>
                </a:lnTo>
                <a:lnTo>
                  <a:pt x="617" y="3236"/>
                </a:lnTo>
                <a:lnTo>
                  <a:pt x="619" y="3230"/>
                </a:lnTo>
                <a:lnTo>
                  <a:pt x="620" y="3225"/>
                </a:lnTo>
                <a:lnTo>
                  <a:pt x="622" y="3217"/>
                </a:lnTo>
                <a:lnTo>
                  <a:pt x="620" y="3209"/>
                </a:lnTo>
                <a:lnTo>
                  <a:pt x="619" y="3201"/>
                </a:lnTo>
                <a:lnTo>
                  <a:pt x="617" y="3191"/>
                </a:lnTo>
                <a:lnTo>
                  <a:pt x="614" y="3183"/>
                </a:lnTo>
                <a:lnTo>
                  <a:pt x="611" y="3174"/>
                </a:lnTo>
                <a:lnTo>
                  <a:pt x="604" y="3167"/>
                </a:lnTo>
                <a:lnTo>
                  <a:pt x="597" y="3159"/>
                </a:lnTo>
                <a:lnTo>
                  <a:pt x="588" y="3154"/>
                </a:lnTo>
                <a:lnTo>
                  <a:pt x="577" y="3149"/>
                </a:lnTo>
                <a:lnTo>
                  <a:pt x="555" y="3141"/>
                </a:lnTo>
                <a:lnTo>
                  <a:pt x="532" y="3134"/>
                </a:lnTo>
                <a:lnTo>
                  <a:pt x="522" y="3131"/>
                </a:lnTo>
                <a:lnTo>
                  <a:pt x="516" y="3128"/>
                </a:lnTo>
                <a:lnTo>
                  <a:pt x="513" y="3126"/>
                </a:lnTo>
                <a:lnTo>
                  <a:pt x="512" y="3123"/>
                </a:lnTo>
                <a:lnTo>
                  <a:pt x="511" y="3121"/>
                </a:lnTo>
                <a:lnTo>
                  <a:pt x="511" y="3119"/>
                </a:lnTo>
                <a:lnTo>
                  <a:pt x="512" y="3107"/>
                </a:lnTo>
                <a:lnTo>
                  <a:pt x="517" y="3089"/>
                </a:lnTo>
                <a:lnTo>
                  <a:pt x="521" y="3077"/>
                </a:lnTo>
                <a:lnTo>
                  <a:pt x="526" y="3065"/>
                </a:lnTo>
                <a:lnTo>
                  <a:pt x="534" y="3054"/>
                </a:lnTo>
                <a:lnTo>
                  <a:pt x="543" y="3043"/>
                </a:lnTo>
                <a:lnTo>
                  <a:pt x="559" y="3025"/>
                </a:lnTo>
                <a:lnTo>
                  <a:pt x="572" y="3011"/>
                </a:lnTo>
                <a:lnTo>
                  <a:pt x="576" y="3006"/>
                </a:lnTo>
                <a:lnTo>
                  <a:pt x="583" y="3001"/>
                </a:lnTo>
                <a:lnTo>
                  <a:pt x="589" y="2997"/>
                </a:lnTo>
                <a:lnTo>
                  <a:pt x="597" y="2994"/>
                </a:lnTo>
                <a:lnTo>
                  <a:pt x="604" y="2991"/>
                </a:lnTo>
                <a:lnTo>
                  <a:pt x="611" y="2989"/>
                </a:lnTo>
                <a:lnTo>
                  <a:pt x="617" y="2988"/>
                </a:lnTo>
                <a:lnTo>
                  <a:pt x="623" y="2989"/>
                </a:lnTo>
                <a:lnTo>
                  <a:pt x="631" y="2993"/>
                </a:lnTo>
                <a:lnTo>
                  <a:pt x="637" y="2995"/>
                </a:lnTo>
                <a:lnTo>
                  <a:pt x="644" y="2996"/>
                </a:lnTo>
                <a:lnTo>
                  <a:pt x="656" y="2995"/>
                </a:lnTo>
                <a:lnTo>
                  <a:pt x="662" y="2995"/>
                </a:lnTo>
                <a:lnTo>
                  <a:pt x="666" y="2994"/>
                </a:lnTo>
                <a:lnTo>
                  <a:pt x="667" y="2993"/>
                </a:lnTo>
                <a:lnTo>
                  <a:pt x="668" y="2992"/>
                </a:lnTo>
                <a:lnTo>
                  <a:pt x="668" y="2988"/>
                </a:lnTo>
                <a:lnTo>
                  <a:pt x="668" y="2985"/>
                </a:lnTo>
                <a:lnTo>
                  <a:pt x="670" y="2981"/>
                </a:lnTo>
                <a:lnTo>
                  <a:pt x="675" y="2975"/>
                </a:lnTo>
                <a:lnTo>
                  <a:pt x="680" y="2970"/>
                </a:lnTo>
                <a:lnTo>
                  <a:pt x="684" y="2969"/>
                </a:lnTo>
                <a:lnTo>
                  <a:pt x="688" y="2969"/>
                </a:lnTo>
                <a:lnTo>
                  <a:pt x="692" y="2970"/>
                </a:lnTo>
                <a:lnTo>
                  <a:pt x="695" y="2972"/>
                </a:lnTo>
                <a:lnTo>
                  <a:pt x="699" y="2975"/>
                </a:lnTo>
                <a:lnTo>
                  <a:pt x="703" y="2978"/>
                </a:lnTo>
                <a:lnTo>
                  <a:pt x="708" y="2978"/>
                </a:lnTo>
                <a:lnTo>
                  <a:pt x="713" y="2979"/>
                </a:lnTo>
                <a:lnTo>
                  <a:pt x="722" y="2981"/>
                </a:lnTo>
                <a:lnTo>
                  <a:pt x="731" y="2984"/>
                </a:lnTo>
                <a:lnTo>
                  <a:pt x="742" y="2988"/>
                </a:lnTo>
                <a:lnTo>
                  <a:pt x="764" y="2998"/>
                </a:lnTo>
                <a:lnTo>
                  <a:pt x="787" y="3010"/>
                </a:lnTo>
                <a:lnTo>
                  <a:pt x="791" y="3012"/>
                </a:lnTo>
                <a:lnTo>
                  <a:pt x="795" y="3016"/>
                </a:lnTo>
                <a:lnTo>
                  <a:pt x="797" y="3021"/>
                </a:lnTo>
                <a:lnTo>
                  <a:pt x="799" y="3025"/>
                </a:lnTo>
                <a:lnTo>
                  <a:pt x="800" y="3036"/>
                </a:lnTo>
                <a:lnTo>
                  <a:pt x="799" y="3047"/>
                </a:lnTo>
                <a:lnTo>
                  <a:pt x="798" y="3057"/>
                </a:lnTo>
                <a:lnTo>
                  <a:pt x="796" y="3069"/>
                </a:lnTo>
                <a:lnTo>
                  <a:pt x="795" y="3079"/>
                </a:lnTo>
                <a:lnTo>
                  <a:pt x="795" y="3087"/>
                </a:lnTo>
                <a:lnTo>
                  <a:pt x="797" y="3094"/>
                </a:lnTo>
                <a:lnTo>
                  <a:pt x="799" y="3102"/>
                </a:lnTo>
                <a:lnTo>
                  <a:pt x="802" y="3108"/>
                </a:lnTo>
                <a:lnTo>
                  <a:pt x="805" y="3115"/>
                </a:lnTo>
                <a:lnTo>
                  <a:pt x="811" y="3119"/>
                </a:lnTo>
                <a:lnTo>
                  <a:pt x="816" y="3122"/>
                </a:lnTo>
                <a:lnTo>
                  <a:pt x="819" y="3122"/>
                </a:lnTo>
                <a:lnTo>
                  <a:pt x="824" y="3123"/>
                </a:lnTo>
                <a:lnTo>
                  <a:pt x="828" y="3122"/>
                </a:lnTo>
                <a:lnTo>
                  <a:pt x="832" y="3121"/>
                </a:lnTo>
                <a:lnTo>
                  <a:pt x="837" y="3119"/>
                </a:lnTo>
                <a:lnTo>
                  <a:pt x="840" y="3117"/>
                </a:lnTo>
                <a:lnTo>
                  <a:pt x="842" y="3115"/>
                </a:lnTo>
                <a:lnTo>
                  <a:pt x="843" y="3113"/>
                </a:lnTo>
                <a:lnTo>
                  <a:pt x="843" y="3109"/>
                </a:lnTo>
                <a:lnTo>
                  <a:pt x="843" y="3106"/>
                </a:lnTo>
                <a:lnTo>
                  <a:pt x="842" y="3103"/>
                </a:lnTo>
                <a:lnTo>
                  <a:pt x="841" y="3100"/>
                </a:lnTo>
                <a:lnTo>
                  <a:pt x="833" y="3084"/>
                </a:lnTo>
                <a:lnTo>
                  <a:pt x="827" y="3069"/>
                </a:lnTo>
                <a:lnTo>
                  <a:pt x="826" y="3066"/>
                </a:lnTo>
                <a:lnTo>
                  <a:pt x="826" y="3062"/>
                </a:lnTo>
                <a:lnTo>
                  <a:pt x="827" y="3057"/>
                </a:lnTo>
                <a:lnTo>
                  <a:pt x="828" y="3053"/>
                </a:lnTo>
                <a:lnTo>
                  <a:pt x="830" y="3049"/>
                </a:lnTo>
                <a:lnTo>
                  <a:pt x="833" y="3045"/>
                </a:lnTo>
                <a:lnTo>
                  <a:pt x="837" y="3041"/>
                </a:lnTo>
                <a:lnTo>
                  <a:pt x="841" y="3037"/>
                </a:lnTo>
                <a:lnTo>
                  <a:pt x="846" y="3033"/>
                </a:lnTo>
                <a:lnTo>
                  <a:pt x="852" y="3029"/>
                </a:lnTo>
                <a:lnTo>
                  <a:pt x="858" y="3025"/>
                </a:lnTo>
                <a:lnTo>
                  <a:pt x="866" y="3022"/>
                </a:lnTo>
                <a:lnTo>
                  <a:pt x="873" y="3020"/>
                </a:lnTo>
                <a:lnTo>
                  <a:pt x="882" y="3016"/>
                </a:lnTo>
                <a:lnTo>
                  <a:pt x="891" y="3014"/>
                </a:lnTo>
                <a:lnTo>
                  <a:pt x="902" y="3012"/>
                </a:lnTo>
                <a:lnTo>
                  <a:pt x="911" y="3011"/>
                </a:lnTo>
                <a:lnTo>
                  <a:pt x="920" y="3011"/>
                </a:lnTo>
                <a:lnTo>
                  <a:pt x="929" y="3011"/>
                </a:lnTo>
                <a:lnTo>
                  <a:pt x="936" y="3012"/>
                </a:lnTo>
                <a:lnTo>
                  <a:pt x="943" y="3013"/>
                </a:lnTo>
                <a:lnTo>
                  <a:pt x="950" y="3015"/>
                </a:lnTo>
                <a:lnTo>
                  <a:pt x="957" y="3019"/>
                </a:lnTo>
                <a:lnTo>
                  <a:pt x="964" y="3022"/>
                </a:lnTo>
                <a:lnTo>
                  <a:pt x="995" y="3038"/>
                </a:lnTo>
                <a:lnTo>
                  <a:pt x="1036" y="3059"/>
                </a:lnTo>
                <a:lnTo>
                  <a:pt x="1060" y="3069"/>
                </a:lnTo>
                <a:lnTo>
                  <a:pt x="1087" y="3081"/>
                </a:lnTo>
                <a:lnTo>
                  <a:pt x="1114" y="3093"/>
                </a:lnTo>
                <a:lnTo>
                  <a:pt x="1142" y="3106"/>
                </a:lnTo>
                <a:lnTo>
                  <a:pt x="1170" y="3118"/>
                </a:lnTo>
                <a:lnTo>
                  <a:pt x="1199" y="3131"/>
                </a:lnTo>
                <a:lnTo>
                  <a:pt x="1227" y="3144"/>
                </a:lnTo>
                <a:lnTo>
                  <a:pt x="1256" y="3156"/>
                </a:lnTo>
                <a:lnTo>
                  <a:pt x="1270" y="3161"/>
                </a:lnTo>
                <a:lnTo>
                  <a:pt x="1284" y="3168"/>
                </a:lnTo>
                <a:lnTo>
                  <a:pt x="1296" y="3175"/>
                </a:lnTo>
                <a:lnTo>
                  <a:pt x="1309" y="3182"/>
                </a:lnTo>
                <a:lnTo>
                  <a:pt x="1331" y="3197"/>
                </a:lnTo>
                <a:lnTo>
                  <a:pt x="1351" y="3212"/>
                </a:lnTo>
                <a:lnTo>
                  <a:pt x="1369" y="3227"/>
                </a:lnTo>
                <a:lnTo>
                  <a:pt x="1385" y="3242"/>
                </a:lnTo>
                <a:lnTo>
                  <a:pt x="1399" y="3256"/>
                </a:lnTo>
                <a:lnTo>
                  <a:pt x="1411" y="3270"/>
                </a:lnTo>
                <a:lnTo>
                  <a:pt x="1416" y="3277"/>
                </a:lnTo>
                <a:lnTo>
                  <a:pt x="1419" y="3282"/>
                </a:lnTo>
                <a:lnTo>
                  <a:pt x="1421" y="3289"/>
                </a:lnTo>
                <a:lnTo>
                  <a:pt x="1421" y="3294"/>
                </a:lnTo>
                <a:lnTo>
                  <a:pt x="1421" y="3299"/>
                </a:lnTo>
                <a:lnTo>
                  <a:pt x="1419" y="3305"/>
                </a:lnTo>
                <a:lnTo>
                  <a:pt x="1416" y="3310"/>
                </a:lnTo>
                <a:lnTo>
                  <a:pt x="1413" y="3317"/>
                </a:lnTo>
                <a:lnTo>
                  <a:pt x="1391" y="3339"/>
                </a:lnTo>
                <a:lnTo>
                  <a:pt x="1365" y="3364"/>
                </a:lnTo>
                <a:lnTo>
                  <a:pt x="1359" y="3371"/>
                </a:lnTo>
                <a:lnTo>
                  <a:pt x="1352" y="3376"/>
                </a:lnTo>
                <a:lnTo>
                  <a:pt x="1346" y="3381"/>
                </a:lnTo>
                <a:lnTo>
                  <a:pt x="1338" y="3385"/>
                </a:lnTo>
                <a:lnTo>
                  <a:pt x="1332" y="3388"/>
                </a:lnTo>
                <a:lnTo>
                  <a:pt x="1325" y="3390"/>
                </a:lnTo>
                <a:lnTo>
                  <a:pt x="1318" y="3391"/>
                </a:lnTo>
                <a:lnTo>
                  <a:pt x="1311" y="3392"/>
                </a:lnTo>
                <a:lnTo>
                  <a:pt x="1284" y="3394"/>
                </a:lnTo>
                <a:lnTo>
                  <a:pt x="1259" y="3393"/>
                </a:lnTo>
                <a:lnTo>
                  <a:pt x="1246" y="3392"/>
                </a:lnTo>
                <a:lnTo>
                  <a:pt x="1233" y="3389"/>
                </a:lnTo>
                <a:lnTo>
                  <a:pt x="1219" y="3385"/>
                </a:lnTo>
                <a:lnTo>
                  <a:pt x="1205" y="3380"/>
                </a:lnTo>
                <a:lnTo>
                  <a:pt x="1185" y="3372"/>
                </a:lnTo>
                <a:lnTo>
                  <a:pt x="1176" y="3367"/>
                </a:lnTo>
                <a:lnTo>
                  <a:pt x="1093" y="3367"/>
                </a:lnTo>
                <a:lnTo>
                  <a:pt x="1077" y="3366"/>
                </a:lnTo>
                <a:lnTo>
                  <a:pt x="1064" y="3365"/>
                </a:lnTo>
                <a:lnTo>
                  <a:pt x="1054" y="3362"/>
                </a:lnTo>
                <a:lnTo>
                  <a:pt x="1046" y="3358"/>
                </a:lnTo>
                <a:lnTo>
                  <a:pt x="1041" y="3353"/>
                </a:lnTo>
                <a:lnTo>
                  <a:pt x="1037" y="3348"/>
                </a:lnTo>
                <a:lnTo>
                  <a:pt x="1033" y="3343"/>
                </a:lnTo>
                <a:lnTo>
                  <a:pt x="1030" y="3336"/>
                </a:lnTo>
                <a:lnTo>
                  <a:pt x="1028" y="3333"/>
                </a:lnTo>
                <a:lnTo>
                  <a:pt x="1026" y="3331"/>
                </a:lnTo>
                <a:lnTo>
                  <a:pt x="1023" y="3330"/>
                </a:lnTo>
                <a:lnTo>
                  <a:pt x="1019" y="3330"/>
                </a:lnTo>
                <a:lnTo>
                  <a:pt x="1012" y="3330"/>
                </a:lnTo>
                <a:lnTo>
                  <a:pt x="1003" y="3332"/>
                </a:lnTo>
                <a:lnTo>
                  <a:pt x="993" y="3335"/>
                </a:lnTo>
                <a:lnTo>
                  <a:pt x="984" y="3338"/>
                </a:lnTo>
                <a:lnTo>
                  <a:pt x="975" y="3340"/>
                </a:lnTo>
                <a:lnTo>
                  <a:pt x="967" y="3342"/>
                </a:lnTo>
                <a:lnTo>
                  <a:pt x="963" y="3342"/>
                </a:lnTo>
                <a:lnTo>
                  <a:pt x="961" y="3340"/>
                </a:lnTo>
                <a:lnTo>
                  <a:pt x="960" y="3338"/>
                </a:lnTo>
                <a:lnTo>
                  <a:pt x="959" y="3336"/>
                </a:lnTo>
                <a:lnTo>
                  <a:pt x="959" y="3331"/>
                </a:lnTo>
                <a:lnTo>
                  <a:pt x="960" y="3324"/>
                </a:lnTo>
                <a:lnTo>
                  <a:pt x="961" y="3318"/>
                </a:lnTo>
                <a:lnTo>
                  <a:pt x="962" y="3310"/>
                </a:lnTo>
                <a:lnTo>
                  <a:pt x="961" y="3307"/>
                </a:lnTo>
                <a:lnTo>
                  <a:pt x="961" y="3304"/>
                </a:lnTo>
                <a:lnTo>
                  <a:pt x="959" y="3302"/>
                </a:lnTo>
                <a:lnTo>
                  <a:pt x="957" y="3298"/>
                </a:lnTo>
                <a:lnTo>
                  <a:pt x="955" y="3297"/>
                </a:lnTo>
                <a:lnTo>
                  <a:pt x="951" y="3296"/>
                </a:lnTo>
                <a:lnTo>
                  <a:pt x="948" y="3296"/>
                </a:lnTo>
                <a:lnTo>
                  <a:pt x="945" y="3296"/>
                </a:lnTo>
                <a:lnTo>
                  <a:pt x="938" y="3299"/>
                </a:lnTo>
                <a:lnTo>
                  <a:pt x="931" y="3303"/>
                </a:lnTo>
                <a:lnTo>
                  <a:pt x="924" y="3307"/>
                </a:lnTo>
                <a:lnTo>
                  <a:pt x="917" y="3310"/>
                </a:lnTo>
                <a:lnTo>
                  <a:pt x="913" y="3310"/>
                </a:lnTo>
                <a:lnTo>
                  <a:pt x="910" y="3311"/>
                </a:lnTo>
                <a:lnTo>
                  <a:pt x="907" y="3311"/>
                </a:lnTo>
                <a:lnTo>
                  <a:pt x="904" y="3310"/>
                </a:lnTo>
                <a:lnTo>
                  <a:pt x="897" y="3306"/>
                </a:lnTo>
                <a:lnTo>
                  <a:pt x="891" y="3300"/>
                </a:lnTo>
                <a:lnTo>
                  <a:pt x="883" y="3294"/>
                </a:lnTo>
                <a:lnTo>
                  <a:pt x="876" y="3286"/>
                </a:lnTo>
                <a:lnTo>
                  <a:pt x="867" y="3279"/>
                </a:lnTo>
                <a:lnTo>
                  <a:pt x="859" y="3271"/>
                </a:lnTo>
                <a:lnTo>
                  <a:pt x="852" y="3266"/>
                </a:lnTo>
                <a:lnTo>
                  <a:pt x="844" y="3262"/>
                </a:lnTo>
                <a:lnTo>
                  <a:pt x="836" y="3259"/>
                </a:lnTo>
                <a:lnTo>
                  <a:pt x="828" y="3258"/>
                </a:lnTo>
                <a:lnTo>
                  <a:pt x="819" y="3258"/>
                </a:lnTo>
                <a:lnTo>
                  <a:pt x="811" y="3261"/>
                </a:lnTo>
                <a:lnTo>
                  <a:pt x="793" y="3266"/>
                </a:lnTo>
                <a:lnTo>
                  <a:pt x="778" y="3272"/>
                </a:lnTo>
                <a:lnTo>
                  <a:pt x="774" y="3275"/>
                </a:lnTo>
                <a:lnTo>
                  <a:pt x="772" y="3277"/>
                </a:lnTo>
                <a:lnTo>
                  <a:pt x="770" y="3279"/>
                </a:lnTo>
                <a:lnTo>
                  <a:pt x="769" y="3282"/>
                </a:lnTo>
                <a:lnTo>
                  <a:pt x="769" y="3286"/>
                </a:lnTo>
                <a:lnTo>
                  <a:pt x="770" y="3292"/>
                </a:lnTo>
                <a:lnTo>
                  <a:pt x="775" y="3304"/>
                </a:lnTo>
                <a:lnTo>
                  <a:pt x="783" y="3315"/>
                </a:lnTo>
                <a:lnTo>
                  <a:pt x="788" y="3323"/>
                </a:lnTo>
                <a:lnTo>
                  <a:pt x="795" y="3331"/>
                </a:lnTo>
                <a:lnTo>
                  <a:pt x="799" y="3333"/>
                </a:lnTo>
                <a:lnTo>
                  <a:pt x="804" y="3335"/>
                </a:lnTo>
                <a:lnTo>
                  <a:pt x="810" y="3337"/>
                </a:lnTo>
                <a:lnTo>
                  <a:pt x="816" y="3338"/>
                </a:lnTo>
                <a:lnTo>
                  <a:pt x="820" y="3340"/>
                </a:lnTo>
                <a:lnTo>
                  <a:pt x="825" y="3343"/>
                </a:lnTo>
                <a:lnTo>
                  <a:pt x="829" y="3345"/>
                </a:lnTo>
                <a:lnTo>
                  <a:pt x="833" y="3348"/>
                </a:lnTo>
                <a:lnTo>
                  <a:pt x="843" y="3357"/>
                </a:lnTo>
                <a:lnTo>
                  <a:pt x="853" y="3367"/>
                </a:lnTo>
                <a:lnTo>
                  <a:pt x="865" y="3378"/>
                </a:lnTo>
                <a:lnTo>
                  <a:pt x="877" y="3389"/>
                </a:lnTo>
                <a:lnTo>
                  <a:pt x="890" y="3399"/>
                </a:lnTo>
                <a:lnTo>
                  <a:pt x="904" y="3407"/>
                </a:lnTo>
                <a:lnTo>
                  <a:pt x="930" y="3420"/>
                </a:lnTo>
                <a:lnTo>
                  <a:pt x="951" y="3431"/>
                </a:lnTo>
                <a:lnTo>
                  <a:pt x="960" y="3437"/>
                </a:lnTo>
                <a:lnTo>
                  <a:pt x="967" y="3442"/>
                </a:lnTo>
                <a:lnTo>
                  <a:pt x="974" y="3447"/>
                </a:lnTo>
                <a:lnTo>
                  <a:pt x="979" y="3455"/>
                </a:lnTo>
                <a:lnTo>
                  <a:pt x="984" y="3461"/>
                </a:lnTo>
                <a:lnTo>
                  <a:pt x="986" y="3468"/>
                </a:lnTo>
                <a:lnTo>
                  <a:pt x="985" y="3472"/>
                </a:lnTo>
                <a:lnTo>
                  <a:pt x="983" y="3477"/>
                </a:lnTo>
                <a:lnTo>
                  <a:pt x="973" y="3485"/>
                </a:lnTo>
                <a:lnTo>
                  <a:pt x="960" y="3495"/>
                </a:lnTo>
                <a:lnTo>
                  <a:pt x="949" y="3504"/>
                </a:lnTo>
                <a:lnTo>
                  <a:pt x="944" y="3509"/>
                </a:lnTo>
                <a:lnTo>
                  <a:pt x="943" y="3514"/>
                </a:lnTo>
                <a:lnTo>
                  <a:pt x="943" y="3521"/>
                </a:lnTo>
                <a:lnTo>
                  <a:pt x="943" y="3524"/>
                </a:lnTo>
                <a:lnTo>
                  <a:pt x="945" y="3526"/>
                </a:lnTo>
                <a:lnTo>
                  <a:pt x="948" y="3528"/>
                </a:lnTo>
                <a:lnTo>
                  <a:pt x="951" y="3531"/>
                </a:lnTo>
                <a:lnTo>
                  <a:pt x="963" y="3536"/>
                </a:lnTo>
                <a:lnTo>
                  <a:pt x="979" y="3545"/>
                </a:lnTo>
                <a:lnTo>
                  <a:pt x="988" y="3551"/>
                </a:lnTo>
                <a:lnTo>
                  <a:pt x="993" y="3556"/>
                </a:lnTo>
                <a:lnTo>
                  <a:pt x="998" y="3562"/>
                </a:lnTo>
                <a:lnTo>
                  <a:pt x="1000" y="3567"/>
                </a:lnTo>
                <a:lnTo>
                  <a:pt x="1002" y="3578"/>
                </a:lnTo>
                <a:lnTo>
                  <a:pt x="1005" y="3588"/>
                </a:lnTo>
                <a:lnTo>
                  <a:pt x="1006" y="3590"/>
                </a:lnTo>
                <a:lnTo>
                  <a:pt x="1006" y="3592"/>
                </a:lnTo>
                <a:lnTo>
                  <a:pt x="1006" y="3595"/>
                </a:lnTo>
                <a:lnTo>
                  <a:pt x="1005" y="3597"/>
                </a:lnTo>
                <a:lnTo>
                  <a:pt x="1001" y="3601"/>
                </a:lnTo>
                <a:lnTo>
                  <a:pt x="995" y="3604"/>
                </a:lnTo>
                <a:lnTo>
                  <a:pt x="988" y="3605"/>
                </a:lnTo>
                <a:lnTo>
                  <a:pt x="978" y="3605"/>
                </a:lnTo>
                <a:lnTo>
                  <a:pt x="974" y="3604"/>
                </a:lnTo>
                <a:lnTo>
                  <a:pt x="970" y="3603"/>
                </a:lnTo>
                <a:lnTo>
                  <a:pt x="964" y="3601"/>
                </a:lnTo>
                <a:lnTo>
                  <a:pt x="960" y="3597"/>
                </a:lnTo>
                <a:lnTo>
                  <a:pt x="953" y="3593"/>
                </a:lnTo>
                <a:lnTo>
                  <a:pt x="963" y="3600"/>
                </a:lnTo>
                <a:lnTo>
                  <a:pt x="978" y="3609"/>
                </a:lnTo>
                <a:lnTo>
                  <a:pt x="986" y="3615"/>
                </a:lnTo>
                <a:lnTo>
                  <a:pt x="990" y="3619"/>
                </a:lnTo>
                <a:lnTo>
                  <a:pt x="1005" y="3630"/>
                </a:lnTo>
                <a:lnTo>
                  <a:pt x="1016" y="3636"/>
                </a:lnTo>
                <a:lnTo>
                  <a:pt x="1028" y="3643"/>
                </a:lnTo>
                <a:lnTo>
                  <a:pt x="1042" y="3649"/>
                </a:lnTo>
                <a:lnTo>
                  <a:pt x="1057" y="3655"/>
                </a:lnTo>
                <a:lnTo>
                  <a:pt x="1071" y="3661"/>
                </a:lnTo>
                <a:lnTo>
                  <a:pt x="1082" y="3668"/>
                </a:lnTo>
                <a:lnTo>
                  <a:pt x="1091" y="3674"/>
                </a:lnTo>
                <a:lnTo>
                  <a:pt x="1098" y="3682"/>
                </a:lnTo>
                <a:lnTo>
                  <a:pt x="1106" y="3688"/>
                </a:lnTo>
                <a:lnTo>
                  <a:pt x="1113" y="3696"/>
                </a:lnTo>
                <a:lnTo>
                  <a:pt x="1122" y="3702"/>
                </a:lnTo>
                <a:lnTo>
                  <a:pt x="1134" y="3708"/>
                </a:lnTo>
                <a:lnTo>
                  <a:pt x="1160" y="3718"/>
                </a:lnTo>
                <a:lnTo>
                  <a:pt x="1186" y="3728"/>
                </a:lnTo>
                <a:lnTo>
                  <a:pt x="1210" y="3737"/>
                </a:lnTo>
                <a:lnTo>
                  <a:pt x="1230" y="3743"/>
                </a:lnTo>
                <a:lnTo>
                  <a:pt x="1234" y="3745"/>
                </a:lnTo>
                <a:lnTo>
                  <a:pt x="1239" y="3745"/>
                </a:lnTo>
                <a:lnTo>
                  <a:pt x="1243" y="3745"/>
                </a:lnTo>
                <a:lnTo>
                  <a:pt x="1247" y="3744"/>
                </a:lnTo>
                <a:lnTo>
                  <a:pt x="1255" y="3741"/>
                </a:lnTo>
                <a:lnTo>
                  <a:pt x="1263" y="3735"/>
                </a:lnTo>
                <a:lnTo>
                  <a:pt x="1269" y="3728"/>
                </a:lnTo>
                <a:lnTo>
                  <a:pt x="1277" y="3720"/>
                </a:lnTo>
                <a:lnTo>
                  <a:pt x="1282" y="3710"/>
                </a:lnTo>
                <a:lnTo>
                  <a:pt x="1289" y="3699"/>
                </a:lnTo>
                <a:lnTo>
                  <a:pt x="1291" y="3695"/>
                </a:lnTo>
                <a:lnTo>
                  <a:pt x="1293" y="3690"/>
                </a:lnTo>
                <a:lnTo>
                  <a:pt x="1293" y="3686"/>
                </a:lnTo>
                <a:lnTo>
                  <a:pt x="1293" y="3682"/>
                </a:lnTo>
                <a:lnTo>
                  <a:pt x="1291" y="3675"/>
                </a:lnTo>
                <a:lnTo>
                  <a:pt x="1286" y="3668"/>
                </a:lnTo>
                <a:lnTo>
                  <a:pt x="1281" y="3661"/>
                </a:lnTo>
                <a:lnTo>
                  <a:pt x="1274" y="3655"/>
                </a:lnTo>
                <a:lnTo>
                  <a:pt x="1269" y="3647"/>
                </a:lnTo>
                <a:lnTo>
                  <a:pt x="1264" y="3637"/>
                </a:lnTo>
                <a:lnTo>
                  <a:pt x="1262" y="3630"/>
                </a:lnTo>
                <a:lnTo>
                  <a:pt x="1260" y="3624"/>
                </a:lnTo>
                <a:lnTo>
                  <a:pt x="1262" y="3621"/>
                </a:lnTo>
                <a:lnTo>
                  <a:pt x="1264" y="3620"/>
                </a:lnTo>
                <a:lnTo>
                  <a:pt x="1273" y="3618"/>
                </a:lnTo>
                <a:lnTo>
                  <a:pt x="1285" y="3614"/>
                </a:lnTo>
                <a:lnTo>
                  <a:pt x="1290" y="3612"/>
                </a:lnTo>
                <a:lnTo>
                  <a:pt x="1295" y="3612"/>
                </a:lnTo>
                <a:lnTo>
                  <a:pt x="1300" y="3610"/>
                </a:lnTo>
                <a:lnTo>
                  <a:pt x="1307" y="3612"/>
                </a:lnTo>
                <a:lnTo>
                  <a:pt x="1322" y="3614"/>
                </a:lnTo>
                <a:lnTo>
                  <a:pt x="1338" y="3617"/>
                </a:lnTo>
                <a:lnTo>
                  <a:pt x="1374" y="3626"/>
                </a:lnTo>
                <a:lnTo>
                  <a:pt x="1404" y="3635"/>
                </a:lnTo>
                <a:lnTo>
                  <a:pt x="1416" y="3637"/>
                </a:lnTo>
                <a:lnTo>
                  <a:pt x="1425" y="3637"/>
                </a:lnTo>
                <a:lnTo>
                  <a:pt x="1427" y="3636"/>
                </a:lnTo>
                <a:lnTo>
                  <a:pt x="1429" y="3635"/>
                </a:lnTo>
                <a:lnTo>
                  <a:pt x="1431" y="3634"/>
                </a:lnTo>
                <a:lnTo>
                  <a:pt x="1433" y="3632"/>
                </a:lnTo>
                <a:lnTo>
                  <a:pt x="1436" y="3623"/>
                </a:lnTo>
                <a:lnTo>
                  <a:pt x="1438" y="3615"/>
                </a:lnTo>
                <a:lnTo>
                  <a:pt x="1440" y="3605"/>
                </a:lnTo>
                <a:lnTo>
                  <a:pt x="1441" y="3591"/>
                </a:lnTo>
                <a:lnTo>
                  <a:pt x="1441" y="3583"/>
                </a:lnTo>
                <a:lnTo>
                  <a:pt x="1441" y="3575"/>
                </a:lnTo>
                <a:lnTo>
                  <a:pt x="1440" y="3566"/>
                </a:lnTo>
                <a:lnTo>
                  <a:pt x="1438" y="3558"/>
                </a:lnTo>
                <a:lnTo>
                  <a:pt x="1436" y="3553"/>
                </a:lnTo>
                <a:lnTo>
                  <a:pt x="1433" y="3549"/>
                </a:lnTo>
                <a:lnTo>
                  <a:pt x="1430" y="3543"/>
                </a:lnTo>
                <a:lnTo>
                  <a:pt x="1426" y="3539"/>
                </a:lnTo>
                <a:lnTo>
                  <a:pt x="1417" y="3528"/>
                </a:lnTo>
                <a:lnTo>
                  <a:pt x="1406" y="3519"/>
                </a:lnTo>
                <a:lnTo>
                  <a:pt x="1388" y="3504"/>
                </a:lnTo>
                <a:lnTo>
                  <a:pt x="1380" y="3498"/>
                </a:lnTo>
                <a:lnTo>
                  <a:pt x="1384" y="3494"/>
                </a:lnTo>
                <a:lnTo>
                  <a:pt x="1393" y="3485"/>
                </a:lnTo>
                <a:lnTo>
                  <a:pt x="1406" y="3473"/>
                </a:lnTo>
                <a:lnTo>
                  <a:pt x="1421" y="3460"/>
                </a:lnTo>
                <a:lnTo>
                  <a:pt x="1431" y="3453"/>
                </a:lnTo>
                <a:lnTo>
                  <a:pt x="1444" y="3444"/>
                </a:lnTo>
                <a:lnTo>
                  <a:pt x="1460" y="3434"/>
                </a:lnTo>
                <a:lnTo>
                  <a:pt x="1478" y="3424"/>
                </a:lnTo>
                <a:lnTo>
                  <a:pt x="1496" y="3414"/>
                </a:lnTo>
                <a:lnTo>
                  <a:pt x="1514" y="3404"/>
                </a:lnTo>
                <a:lnTo>
                  <a:pt x="1533" y="3397"/>
                </a:lnTo>
                <a:lnTo>
                  <a:pt x="1549" y="3390"/>
                </a:lnTo>
                <a:lnTo>
                  <a:pt x="1562" y="3387"/>
                </a:lnTo>
                <a:lnTo>
                  <a:pt x="1572" y="3385"/>
                </a:lnTo>
                <a:lnTo>
                  <a:pt x="1577" y="3385"/>
                </a:lnTo>
                <a:lnTo>
                  <a:pt x="1581" y="3386"/>
                </a:lnTo>
                <a:lnTo>
                  <a:pt x="1586" y="3391"/>
                </a:lnTo>
                <a:lnTo>
                  <a:pt x="1593" y="3398"/>
                </a:lnTo>
                <a:lnTo>
                  <a:pt x="1598" y="3401"/>
                </a:lnTo>
                <a:lnTo>
                  <a:pt x="1601" y="3404"/>
                </a:lnTo>
                <a:lnTo>
                  <a:pt x="1601" y="3406"/>
                </a:lnTo>
                <a:lnTo>
                  <a:pt x="1601" y="3410"/>
                </a:lnTo>
                <a:lnTo>
                  <a:pt x="1600" y="3413"/>
                </a:lnTo>
                <a:lnTo>
                  <a:pt x="1599" y="3417"/>
                </a:lnTo>
                <a:lnTo>
                  <a:pt x="1599" y="3420"/>
                </a:lnTo>
                <a:lnTo>
                  <a:pt x="1601" y="3425"/>
                </a:lnTo>
                <a:lnTo>
                  <a:pt x="1603" y="3428"/>
                </a:lnTo>
                <a:lnTo>
                  <a:pt x="1605" y="3429"/>
                </a:lnTo>
                <a:lnTo>
                  <a:pt x="1607" y="3429"/>
                </a:lnTo>
                <a:lnTo>
                  <a:pt x="1611" y="3429"/>
                </a:lnTo>
                <a:lnTo>
                  <a:pt x="1614" y="3428"/>
                </a:lnTo>
                <a:lnTo>
                  <a:pt x="1620" y="3428"/>
                </a:lnTo>
                <a:lnTo>
                  <a:pt x="1629" y="3428"/>
                </a:lnTo>
                <a:lnTo>
                  <a:pt x="1641" y="3429"/>
                </a:lnTo>
                <a:lnTo>
                  <a:pt x="1647" y="3430"/>
                </a:lnTo>
                <a:lnTo>
                  <a:pt x="1653" y="3433"/>
                </a:lnTo>
                <a:lnTo>
                  <a:pt x="1657" y="3437"/>
                </a:lnTo>
                <a:lnTo>
                  <a:pt x="1660" y="3441"/>
                </a:lnTo>
                <a:lnTo>
                  <a:pt x="1666" y="3452"/>
                </a:lnTo>
                <a:lnTo>
                  <a:pt x="1669" y="3465"/>
                </a:lnTo>
                <a:lnTo>
                  <a:pt x="1672" y="3478"/>
                </a:lnTo>
                <a:lnTo>
                  <a:pt x="1676" y="3489"/>
                </a:lnTo>
                <a:lnTo>
                  <a:pt x="1678" y="3495"/>
                </a:lnTo>
                <a:lnTo>
                  <a:pt x="1680" y="3500"/>
                </a:lnTo>
                <a:lnTo>
                  <a:pt x="1683" y="3505"/>
                </a:lnTo>
                <a:lnTo>
                  <a:pt x="1686" y="3508"/>
                </a:lnTo>
                <a:lnTo>
                  <a:pt x="1691" y="3510"/>
                </a:lnTo>
                <a:lnTo>
                  <a:pt x="1694" y="3511"/>
                </a:lnTo>
                <a:lnTo>
                  <a:pt x="1696" y="3512"/>
                </a:lnTo>
                <a:lnTo>
                  <a:pt x="1698" y="3512"/>
                </a:lnTo>
                <a:lnTo>
                  <a:pt x="1700" y="3511"/>
                </a:lnTo>
                <a:lnTo>
                  <a:pt x="1701" y="3510"/>
                </a:lnTo>
                <a:lnTo>
                  <a:pt x="1703" y="3508"/>
                </a:lnTo>
                <a:lnTo>
                  <a:pt x="1703" y="3506"/>
                </a:lnTo>
                <a:lnTo>
                  <a:pt x="1704" y="3492"/>
                </a:lnTo>
                <a:lnTo>
                  <a:pt x="1704" y="3477"/>
                </a:lnTo>
                <a:lnTo>
                  <a:pt x="1704" y="3472"/>
                </a:lnTo>
                <a:lnTo>
                  <a:pt x="1703" y="3467"/>
                </a:lnTo>
                <a:lnTo>
                  <a:pt x="1701" y="3462"/>
                </a:lnTo>
                <a:lnTo>
                  <a:pt x="1698" y="3457"/>
                </a:lnTo>
                <a:lnTo>
                  <a:pt x="1693" y="3446"/>
                </a:lnTo>
                <a:lnTo>
                  <a:pt x="1686" y="3435"/>
                </a:lnTo>
                <a:lnTo>
                  <a:pt x="1686" y="3435"/>
                </a:lnTo>
                <a:lnTo>
                  <a:pt x="1686" y="3435"/>
                </a:lnTo>
                <a:lnTo>
                  <a:pt x="1684" y="3433"/>
                </a:lnTo>
                <a:lnTo>
                  <a:pt x="1680" y="3427"/>
                </a:lnTo>
                <a:lnTo>
                  <a:pt x="1673" y="3419"/>
                </a:lnTo>
                <a:lnTo>
                  <a:pt x="1671" y="3416"/>
                </a:lnTo>
                <a:lnTo>
                  <a:pt x="1671" y="3412"/>
                </a:lnTo>
                <a:lnTo>
                  <a:pt x="1670" y="3400"/>
                </a:lnTo>
                <a:lnTo>
                  <a:pt x="1671" y="3384"/>
                </a:lnTo>
                <a:lnTo>
                  <a:pt x="1673" y="3367"/>
                </a:lnTo>
                <a:lnTo>
                  <a:pt x="1678" y="3352"/>
                </a:lnTo>
                <a:lnTo>
                  <a:pt x="1681" y="3338"/>
                </a:lnTo>
                <a:lnTo>
                  <a:pt x="1682" y="3331"/>
                </a:lnTo>
                <a:lnTo>
                  <a:pt x="1683" y="3324"/>
                </a:lnTo>
                <a:lnTo>
                  <a:pt x="1683" y="3317"/>
                </a:lnTo>
                <a:lnTo>
                  <a:pt x="1682" y="3309"/>
                </a:lnTo>
                <a:lnTo>
                  <a:pt x="1680" y="3297"/>
                </a:lnTo>
                <a:lnTo>
                  <a:pt x="1676" y="3286"/>
                </a:lnTo>
                <a:lnTo>
                  <a:pt x="1671" y="3279"/>
                </a:lnTo>
                <a:lnTo>
                  <a:pt x="1665" y="3271"/>
                </a:lnTo>
                <a:lnTo>
                  <a:pt x="1654" y="3265"/>
                </a:lnTo>
                <a:lnTo>
                  <a:pt x="1637" y="3253"/>
                </a:lnTo>
                <a:lnTo>
                  <a:pt x="1628" y="3245"/>
                </a:lnTo>
                <a:lnTo>
                  <a:pt x="1621" y="3238"/>
                </a:lnTo>
                <a:lnTo>
                  <a:pt x="1618" y="3235"/>
                </a:lnTo>
                <a:lnTo>
                  <a:pt x="1617" y="3230"/>
                </a:lnTo>
                <a:lnTo>
                  <a:pt x="1616" y="3227"/>
                </a:lnTo>
                <a:lnTo>
                  <a:pt x="1615" y="3223"/>
                </a:lnTo>
                <a:lnTo>
                  <a:pt x="1616" y="3218"/>
                </a:lnTo>
                <a:lnTo>
                  <a:pt x="1617" y="3213"/>
                </a:lnTo>
                <a:lnTo>
                  <a:pt x="1619" y="3210"/>
                </a:lnTo>
                <a:lnTo>
                  <a:pt x="1621" y="3205"/>
                </a:lnTo>
                <a:lnTo>
                  <a:pt x="1625" y="3197"/>
                </a:lnTo>
                <a:lnTo>
                  <a:pt x="1630" y="3188"/>
                </a:lnTo>
                <a:lnTo>
                  <a:pt x="1615" y="3176"/>
                </a:lnTo>
                <a:lnTo>
                  <a:pt x="1654" y="3143"/>
                </a:lnTo>
                <a:lnTo>
                  <a:pt x="1667" y="3137"/>
                </a:lnTo>
                <a:lnTo>
                  <a:pt x="1698" y="3124"/>
                </a:lnTo>
                <a:lnTo>
                  <a:pt x="1716" y="3119"/>
                </a:lnTo>
                <a:lnTo>
                  <a:pt x="1732" y="3116"/>
                </a:lnTo>
                <a:lnTo>
                  <a:pt x="1739" y="3115"/>
                </a:lnTo>
                <a:lnTo>
                  <a:pt x="1746" y="3115"/>
                </a:lnTo>
                <a:lnTo>
                  <a:pt x="1751" y="3116"/>
                </a:lnTo>
                <a:lnTo>
                  <a:pt x="1754" y="3118"/>
                </a:lnTo>
                <a:lnTo>
                  <a:pt x="1760" y="3123"/>
                </a:lnTo>
                <a:lnTo>
                  <a:pt x="1763" y="3128"/>
                </a:lnTo>
                <a:lnTo>
                  <a:pt x="1765" y="3132"/>
                </a:lnTo>
                <a:lnTo>
                  <a:pt x="1766" y="3136"/>
                </a:lnTo>
                <a:lnTo>
                  <a:pt x="1765" y="3144"/>
                </a:lnTo>
                <a:lnTo>
                  <a:pt x="1762" y="3153"/>
                </a:lnTo>
                <a:lnTo>
                  <a:pt x="1764" y="3156"/>
                </a:lnTo>
                <a:lnTo>
                  <a:pt x="1765" y="3159"/>
                </a:lnTo>
                <a:lnTo>
                  <a:pt x="1765" y="3162"/>
                </a:lnTo>
                <a:lnTo>
                  <a:pt x="1764" y="3165"/>
                </a:lnTo>
                <a:lnTo>
                  <a:pt x="1763" y="3168"/>
                </a:lnTo>
                <a:lnTo>
                  <a:pt x="1760" y="3170"/>
                </a:lnTo>
                <a:lnTo>
                  <a:pt x="1757" y="3171"/>
                </a:lnTo>
                <a:lnTo>
                  <a:pt x="1752" y="3172"/>
                </a:lnTo>
                <a:lnTo>
                  <a:pt x="1743" y="3173"/>
                </a:lnTo>
                <a:lnTo>
                  <a:pt x="1730" y="3175"/>
                </a:lnTo>
                <a:lnTo>
                  <a:pt x="1718" y="3180"/>
                </a:lnTo>
                <a:lnTo>
                  <a:pt x="1706" y="3183"/>
                </a:lnTo>
                <a:lnTo>
                  <a:pt x="1695" y="3187"/>
                </a:lnTo>
                <a:lnTo>
                  <a:pt x="1686" y="3190"/>
                </a:lnTo>
                <a:lnTo>
                  <a:pt x="1683" y="3196"/>
                </a:lnTo>
                <a:lnTo>
                  <a:pt x="1682" y="3201"/>
                </a:lnTo>
                <a:lnTo>
                  <a:pt x="1682" y="3207"/>
                </a:lnTo>
                <a:lnTo>
                  <a:pt x="1684" y="3213"/>
                </a:lnTo>
                <a:lnTo>
                  <a:pt x="1688" y="3226"/>
                </a:lnTo>
                <a:lnTo>
                  <a:pt x="1693" y="3240"/>
                </a:lnTo>
                <a:lnTo>
                  <a:pt x="1695" y="3250"/>
                </a:lnTo>
                <a:lnTo>
                  <a:pt x="1699" y="3257"/>
                </a:lnTo>
                <a:lnTo>
                  <a:pt x="1703" y="3265"/>
                </a:lnTo>
                <a:lnTo>
                  <a:pt x="1708" y="3271"/>
                </a:lnTo>
                <a:lnTo>
                  <a:pt x="1710" y="3273"/>
                </a:lnTo>
                <a:lnTo>
                  <a:pt x="1713" y="3276"/>
                </a:lnTo>
                <a:lnTo>
                  <a:pt x="1724" y="3285"/>
                </a:lnTo>
                <a:lnTo>
                  <a:pt x="1734" y="3296"/>
                </a:lnTo>
                <a:lnTo>
                  <a:pt x="1741" y="3300"/>
                </a:lnTo>
                <a:lnTo>
                  <a:pt x="1750" y="3305"/>
                </a:lnTo>
                <a:lnTo>
                  <a:pt x="1760" y="3309"/>
                </a:lnTo>
                <a:lnTo>
                  <a:pt x="1771" y="3313"/>
                </a:lnTo>
                <a:lnTo>
                  <a:pt x="1781" y="3317"/>
                </a:lnTo>
                <a:lnTo>
                  <a:pt x="1793" y="3319"/>
                </a:lnTo>
                <a:lnTo>
                  <a:pt x="1806" y="3321"/>
                </a:lnTo>
                <a:lnTo>
                  <a:pt x="1818" y="3322"/>
                </a:lnTo>
                <a:lnTo>
                  <a:pt x="1844" y="3321"/>
                </a:lnTo>
                <a:lnTo>
                  <a:pt x="1861" y="3319"/>
                </a:lnTo>
                <a:lnTo>
                  <a:pt x="1878" y="3315"/>
                </a:lnTo>
                <a:lnTo>
                  <a:pt x="1899" y="3307"/>
                </a:lnTo>
                <a:lnTo>
                  <a:pt x="1905" y="3305"/>
                </a:lnTo>
                <a:lnTo>
                  <a:pt x="1909" y="3302"/>
                </a:lnTo>
                <a:lnTo>
                  <a:pt x="1912" y="3298"/>
                </a:lnTo>
                <a:lnTo>
                  <a:pt x="1914" y="3295"/>
                </a:lnTo>
                <a:lnTo>
                  <a:pt x="1917" y="3292"/>
                </a:lnTo>
                <a:lnTo>
                  <a:pt x="1917" y="3288"/>
                </a:lnTo>
                <a:lnTo>
                  <a:pt x="1917" y="3283"/>
                </a:lnTo>
                <a:lnTo>
                  <a:pt x="1915" y="3279"/>
                </a:lnTo>
                <a:lnTo>
                  <a:pt x="1911" y="3262"/>
                </a:lnTo>
                <a:lnTo>
                  <a:pt x="1908" y="3243"/>
                </a:lnTo>
                <a:lnTo>
                  <a:pt x="1908" y="3235"/>
                </a:lnTo>
                <a:lnTo>
                  <a:pt x="1911" y="3227"/>
                </a:lnTo>
                <a:lnTo>
                  <a:pt x="1914" y="3221"/>
                </a:lnTo>
                <a:lnTo>
                  <a:pt x="1918" y="3216"/>
                </a:lnTo>
                <a:lnTo>
                  <a:pt x="1925" y="3209"/>
                </a:lnTo>
                <a:lnTo>
                  <a:pt x="1928" y="3207"/>
                </a:lnTo>
                <a:lnTo>
                  <a:pt x="1933" y="3205"/>
                </a:lnTo>
                <a:lnTo>
                  <a:pt x="1941" y="3201"/>
                </a:lnTo>
                <a:lnTo>
                  <a:pt x="1958" y="3196"/>
                </a:lnTo>
                <a:lnTo>
                  <a:pt x="1977" y="3188"/>
                </a:lnTo>
                <a:lnTo>
                  <a:pt x="1988" y="3184"/>
                </a:lnTo>
                <a:lnTo>
                  <a:pt x="1997" y="3178"/>
                </a:lnTo>
                <a:lnTo>
                  <a:pt x="2005" y="3171"/>
                </a:lnTo>
                <a:lnTo>
                  <a:pt x="2013" y="3162"/>
                </a:lnTo>
                <a:lnTo>
                  <a:pt x="2021" y="3154"/>
                </a:lnTo>
                <a:lnTo>
                  <a:pt x="2032" y="3144"/>
                </a:lnTo>
                <a:lnTo>
                  <a:pt x="2044" y="3133"/>
                </a:lnTo>
                <a:lnTo>
                  <a:pt x="2059" y="3122"/>
                </a:lnTo>
                <a:lnTo>
                  <a:pt x="2068" y="3118"/>
                </a:lnTo>
                <a:lnTo>
                  <a:pt x="2075" y="3114"/>
                </a:lnTo>
                <a:lnTo>
                  <a:pt x="2082" y="3110"/>
                </a:lnTo>
                <a:lnTo>
                  <a:pt x="2090" y="3108"/>
                </a:lnTo>
                <a:lnTo>
                  <a:pt x="2103" y="3105"/>
                </a:lnTo>
                <a:lnTo>
                  <a:pt x="2114" y="3104"/>
                </a:lnTo>
                <a:lnTo>
                  <a:pt x="2135" y="3105"/>
                </a:lnTo>
                <a:lnTo>
                  <a:pt x="2151" y="3107"/>
                </a:lnTo>
                <a:lnTo>
                  <a:pt x="2164" y="3107"/>
                </a:lnTo>
                <a:lnTo>
                  <a:pt x="2174" y="3106"/>
                </a:lnTo>
                <a:lnTo>
                  <a:pt x="2184" y="3105"/>
                </a:lnTo>
                <a:lnTo>
                  <a:pt x="2194" y="3103"/>
                </a:lnTo>
                <a:lnTo>
                  <a:pt x="2199" y="3101"/>
                </a:lnTo>
                <a:lnTo>
                  <a:pt x="2202" y="3097"/>
                </a:lnTo>
                <a:lnTo>
                  <a:pt x="2204" y="3094"/>
                </a:lnTo>
                <a:lnTo>
                  <a:pt x="2206" y="3091"/>
                </a:lnTo>
                <a:lnTo>
                  <a:pt x="2210" y="3082"/>
                </a:lnTo>
                <a:lnTo>
                  <a:pt x="2215" y="3073"/>
                </a:lnTo>
                <a:lnTo>
                  <a:pt x="2219" y="3068"/>
                </a:lnTo>
                <a:lnTo>
                  <a:pt x="2224" y="3065"/>
                </a:lnTo>
                <a:lnTo>
                  <a:pt x="2228" y="3063"/>
                </a:lnTo>
                <a:lnTo>
                  <a:pt x="2232" y="3061"/>
                </a:lnTo>
                <a:lnTo>
                  <a:pt x="2235" y="3061"/>
                </a:lnTo>
                <a:lnTo>
                  <a:pt x="2241" y="3062"/>
                </a:lnTo>
                <a:lnTo>
                  <a:pt x="2245" y="3064"/>
                </a:lnTo>
                <a:lnTo>
                  <a:pt x="2252" y="3067"/>
                </a:lnTo>
                <a:lnTo>
                  <a:pt x="2254" y="3068"/>
                </a:lnTo>
                <a:lnTo>
                  <a:pt x="2255" y="3070"/>
                </a:lnTo>
                <a:lnTo>
                  <a:pt x="2256" y="3073"/>
                </a:lnTo>
                <a:lnTo>
                  <a:pt x="2256" y="3075"/>
                </a:lnTo>
                <a:lnTo>
                  <a:pt x="2254" y="3080"/>
                </a:lnTo>
                <a:lnTo>
                  <a:pt x="2250" y="3086"/>
                </a:lnTo>
                <a:lnTo>
                  <a:pt x="2239" y="3097"/>
                </a:lnTo>
                <a:lnTo>
                  <a:pt x="2228" y="3109"/>
                </a:lnTo>
                <a:lnTo>
                  <a:pt x="2226" y="3115"/>
                </a:lnTo>
                <a:lnTo>
                  <a:pt x="2226" y="3119"/>
                </a:lnTo>
                <a:lnTo>
                  <a:pt x="2227" y="3122"/>
                </a:lnTo>
                <a:lnTo>
                  <a:pt x="2231" y="3123"/>
                </a:lnTo>
                <a:lnTo>
                  <a:pt x="2243" y="3126"/>
                </a:lnTo>
                <a:lnTo>
                  <a:pt x="2261" y="3129"/>
                </a:lnTo>
                <a:lnTo>
                  <a:pt x="2282" y="3132"/>
                </a:lnTo>
                <a:lnTo>
                  <a:pt x="2304" y="3136"/>
                </a:lnTo>
                <a:lnTo>
                  <a:pt x="2317" y="3138"/>
                </a:lnTo>
                <a:lnTo>
                  <a:pt x="2332" y="3141"/>
                </a:lnTo>
                <a:lnTo>
                  <a:pt x="2349" y="3143"/>
                </a:lnTo>
                <a:lnTo>
                  <a:pt x="2368" y="3144"/>
                </a:lnTo>
                <a:lnTo>
                  <a:pt x="2378" y="3144"/>
                </a:lnTo>
                <a:lnTo>
                  <a:pt x="2386" y="3143"/>
                </a:lnTo>
                <a:lnTo>
                  <a:pt x="2391" y="3141"/>
                </a:lnTo>
                <a:lnTo>
                  <a:pt x="2394" y="3138"/>
                </a:lnTo>
                <a:lnTo>
                  <a:pt x="2397" y="3134"/>
                </a:lnTo>
                <a:lnTo>
                  <a:pt x="2398" y="3130"/>
                </a:lnTo>
                <a:lnTo>
                  <a:pt x="2398" y="3126"/>
                </a:lnTo>
                <a:lnTo>
                  <a:pt x="2398" y="3120"/>
                </a:lnTo>
                <a:lnTo>
                  <a:pt x="2395" y="3110"/>
                </a:lnTo>
                <a:lnTo>
                  <a:pt x="2394" y="3100"/>
                </a:lnTo>
                <a:lnTo>
                  <a:pt x="2395" y="3094"/>
                </a:lnTo>
                <a:lnTo>
                  <a:pt x="2397" y="3089"/>
                </a:lnTo>
                <a:lnTo>
                  <a:pt x="2399" y="3084"/>
                </a:lnTo>
                <a:lnTo>
                  <a:pt x="2403" y="3081"/>
                </a:lnTo>
                <a:lnTo>
                  <a:pt x="2408" y="3078"/>
                </a:lnTo>
                <a:lnTo>
                  <a:pt x="2414" y="3077"/>
                </a:lnTo>
                <a:lnTo>
                  <a:pt x="2420" y="3076"/>
                </a:lnTo>
                <a:lnTo>
                  <a:pt x="2428" y="3076"/>
                </a:lnTo>
                <a:lnTo>
                  <a:pt x="2443" y="3078"/>
                </a:lnTo>
                <a:lnTo>
                  <a:pt x="2458" y="3082"/>
                </a:lnTo>
                <a:lnTo>
                  <a:pt x="2474" y="3088"/>
                </a:lnTo>
                <a:lnTo>
                  <a:pt x="2488" y="3092"/>
                </a:lnTo>
                <a:lnTo>
                  <a:pt x="2501" y="3095"/>
                </a:lnTo>
                <a:lnTo>
                  <a:pt x="2512" y="3095"/>
                </a:lnTo>
                <a:lnTo>
                  <a:pt x="2517" y="3094"/>
                </a:lnTo>
                <a:lnTo>
                  <a:pt x="2520" y="3093"/>
                </a:lnTo>
                <a:lnTo>
                  <a:pt x="2524" y="3091"/>
                </a:lnTo>
                <a:lnTo>
                  <a:pt x="2528" y="3089"/>
                </a:lnTo>
                <a:lnTo>
                  <a:pt x="2536" y="3082"/>
                </a:lnTo>
                <a:lnTo>
                  <a:pt x="2546" y="3075"/>
                </a:lnTo>
                <a:lnTo>
                  <a:pt x="2555" y="3066"/>
                </a:lnTo>
                <a:lnTo>
                  <a:pt x="2567" y="3056"/>
                </a:lnTo>
                <a:lnTo>
                  <a:pt x="2581" y="3048"/>
                </a:lnTo>
                <a:lnTo>
                  <a:pt x="2598" y="3039"/>
                </a:lnTo>
                <a:lnTo>
                  <a:pt x="2606" y="3036"/>
                </a:lnTo>
                <a:lnTo>
                  <a:pt x="2613" y="3035"/>
                </a:lnTo>
                <a:lnTo>
                  <a:pt x="2618" y="3034"/>
                </a:lnTo>
                <a:lnTo>
                  <a:pt x="2622" y="3035"/>
                </a:lnTo>
                <a:lnTo>
                  <a:pt x="2626" y="3036"/>
                </a:lnTo>
                <a:lnTo>
                  <a:pt x="2627" y="3039"/>
                </a:lnTo>
                <a:lnTo>
                  <a:pt x="2628" y="3042"/>
                </a:lnTo>
                <a:lnTo>
                  <a:pt x="2629" y="3046"/>
                </a:lnTo>
                <a:lnTo>
                  <a:pt x="2627" y="3065"/>
                </a:lnTo>
                <a:lnTo>
                  <a:pt x="2625" y="3086"/>
                </a:lnTo>
                <a:lnTo>
                  <a:pt x="2626" y="3090"/>
                </a:lnTo>
                <a:lnTo>
                  <a:pt x="2627" y="3093"/>
                </a:lnTo>
                <a:lnTo>
                  <a:pt x="2629" y="3096"/>
                </a:lnTo>
                <a:lnTo>
                  <a:pt x="2631" y="3100"/>
                </a:lnTo>
                <a:lnTo>
                  <a:pt x="2637" y="3105"/>
                </a:lnTo>
                <a:lnTo>
                  <a:pt x="2644" y="3109"/>
                </a:lnTo>
                <a:lnTo>
                  <a:pt x="2661" y="3117"/>
                </a:lnTo>
                <a:lnTo>
                  <a:pt x="2684" y="3124"/>
                </a:lnTo>
                <a:lnTo>
                  <a:pt x="2694" y="3128"/>
                </a:lnTo>
                <a:lnTo>
                  <a:pt x="2700" y="3128"/>
                </a:lnTo>
                <a:lnTo>
                  <a:pt x="2702" y="3128"/>
                </a:lnTo>
                <a:lnTo>
                  <a:pt x="2704" y="3128"/>
                </a:lnTo>
                <a:lnTo>
                  <a:pt x="2706" y="3126"/>
                </a:lnTo>
                <a:lnTo>
                  <a:pt x="2706" y="3124"/>
                </a:lnTo>
                <a:lnTo>
                  <a:pt x="2708" y="3114"/>
                </a:lnTo>
                <a:lnTo>
                  <a:pt x="2711" y="3096"/>
                </a:lnTo>
                <a:lnTo>
                  <a:pt x="2714" y="3089"/>
                </a:lnTo>
                <a:lnTo>
                  <a:pt x="2719" y="3082"/>
                </a:lnTo>
                <a:lnTo>
                  <a:pt x="2724" y="3077"/>
                </a:lnTo>
                <a:lnTo>
                  <a:pt x="2731" y="3073"/>
                </a:lnTo>
                <a:lnTo>
                  <a:pt x="2745" y="3065"/>
                </a:lnTo>
                <a:lnTo>
                  <a:pt x="2764" y="3054"/>
                </a:lnTo>
                <a:lnTo>
                  <a:pt x="2768" y="3050"/>
                </a:lnTo>
                <a:lnTo>
                  <a:pt x="2772" y="3047"/>
                </a:lnTo>
                <a:lnTo>
                  <a:pt x="2774" y="3042"/>
                </a:lnTo>
                <a:lnTo>
                  <a:pt x="2775" y="3039"/>
                </a:lnTo>
                <a:lnTo>
                  <a:pt x="2775" y="3035"/>
                </a:lnTo>
                <a:lnTo>
                  <a:pt x="2774" y="3030"/>
                </a:lnTo>
                <a:lnTo>
                  <a:pt x="2772" y="3027"/>
                </a:lnTo>
                <a:lnTo>
                  <a:pt x="2769" y="3023"/>
                </a:lnTo>
                <a:lnTo>
                  <a:pt x="2760" y="3011"/>
                </a:lnTo>
                <a:lnTo>
                  <a:pt x="2754" y="3007"/>
                </a:lnTo>
                <a:lnTo>
                  <a:pt x="2750" y="2996"/>
                </a:lnTo>
                <a:lnTo>
                  <a:pt x="2740" y="2970"/>
                </a:lnTo>
                <a:lnTo>
                  <a:pt x="2736" y="2957"/>
                </a:lnTo>
                <a:lnTo>
                  <a:pt x="2733" y="2945"/>
                </a:lnTo>
                <a:lnTo>
                  <a:pt x="2732" y="2940"/>
                </a:lnTo>
                <a:lnTo>
                  <a:pt x="2732" y="2937"/>
                </a:lnTo>
                <a:lnTo>
                  <a:pt x="2733" y="2933"/>
                </a:lnTo>
                <a:lnTo>
                  <a:pt x="2734" y="2932"/>
                </a:lnTo>
                <a:lnTo>
                  <a:pt x="2749" y="2931"/>
                </a:lnTo>
                <a:lnTo>
                  <a:pt x="2772" y="2931"/>
                </a:lnTo>
                <a:lnTo>
                  <a:pt x="2801" y="2932"/>
                </a:lnTo>
                <a:lnTo>
                  <a:pt x="2838" y="2937"/>
                </a:lnTo>
                <a:lnTo>
                  <a:pt x="2875" y="2941"/>
                </a:lnTo>
                <a:lnTo>
                  <a:pt x="2909" y="2946"/>
                </a:lnTo>
                <a:lnTo>
                  <a:pt x="2924" y="2948"/>
                </a:lnTo>
                <a:lnTo>
                  <a:pt x="2939" y="2953"/>
                </a:lnTo>
                <a:lnTo>
                  <a:pt x="2954" y="2957"/>
                </a:lnTo>
                <a:lnTo>
                  <a:pt x="2971" y="2964"/>
                </a:lnTo>
                <a:lnTo>
                  <a:pt x="2984" y="2970"/>
                </a:lnTo>
                <a:lnTo>
                  <a:pt x="2991" y="2975"/>
                </a:lnTo>
                <a:lnTo>
                  <a:pt x="2993" y="2978"/>
                </a:lnTo>
                <a:lnTo>
                  <a:pt x="2994" y="2980"/>
                </a:lnTo>
                <a:lnTo>
                  <a:pt x="2994" y="2983"/>
                </a:lnTo>
                <a:lnTo>
                  <a:pt x="2995" y="2985"/>
                </a:lnTo>
                <a:lnTo>
                  <a:pt x="2994" y="2989"/>
                </a:lnTo>
                <a:lnTo>
                  <a:pt x="2994" y="2994"/>
                </a:lnTo>
                <a:lnTo>
                  <a:pt x="2994" y="2997"/>
                </a:lnTo>
                <a:lnTo>
                  <a:pt x="2995" y="3000"/>
                </a:lnTo>
                <a:lnTo>
                  <a:pt x="2996" y="3003"/>
                </a:lnTo>
                <a:lnTo>
                  <a:pt x="2999" y="3007"/>
                </a:lnTo>
                <a:lnTo>
                  <a:pt x="3004" y="3013"/>
                </a:lnTo>
                <a:lnTo>
                  <a:pt x="3008" y="3016"/>
                </a:lnTo>
                <a:lnTo>
                  <a:pt x="3012" y="3019"/>
                </a:lnTo>
                <a:lnTo>
                  <a:pt x="3015" y="3019"/>
                </a:lnTo>
                <a:lnTo>
                  <a:pt x="3019" y="3016"/>
                </a:lnTo>
                <a:lnTo>
                  <a:pt x="3025" y="3014"/>
                </a:lnTo>
                <a:lnTo>
                  <a:pt x="3031" y="3011"/>
                </a:lnTo>
                <a:lnTo>
                  <a:pt x="3038" y="3007"/>
                </a:lnTo>
                <a:lnTo>
                  <a:pt x="3043" y="3005"/>
                </a:lnTo>
                <a:lnTo>
                  <a:pt x="3048" y="3003"/>
                </a:lnTo>
                <a:lnTo>
                  <a:pt x="3055" y="3003"/>
                </a:lnTo>
                <a:lnTo>
                  <a:pt x="3063" y="3006"/>
                </a:lnTo>
                <a:lnTo>
                  <a:pt x="3071" y="3008"/>
                </a:lnTo>
                <a:lnTo>
                  <a:pt x="3078" y="3011"/>
                </a:lnTo>
                <a:lnTo>
                  <a:pt x="3084" y="3014"/>
                </a:lnTo>
                <a:lnTo>
                  <a:pt x="3089" y="3018"/>
                </a:lnTo>
                <a:lnTo>
                  <a:pt x="3096" y="3021"/>
                </a:lnTo>
                <a:lnTo>
                  <a:pt x="3105" y="3024"/>
                </a:lnTo>
                <a:lnTo>
                  <a:pt x="3114" y="3027"/>
                </a:lnTo>
                <a:lnTo>
                  <a:pt x="3127" y="3029"/>
                </a:lnTo>
                <a:lnTo>
                  <a:pt x="3152" y="3033"/>
                </a:lnTo>
                <a:lnTo>
                  <a:pt x="3171" y="3036"/>
                </a:lnTo>
                <a:lnTo>
                  <a:pt x="3180" y="3038"/>
                </a:lnTo>
                <a:lnTo>
                  <a:pt x="3190" y="3041"/>
                </a:lnTo>
                <a:lnTo>
                  <a:pt x="3201" y="3046"/>
                </a:lnTo>
                <a:lnTo>
                  <a:pt x="3213" y="3051"/>
                </a:lnTo>
                <a:lnTo>
                  <a:pt x="3228" y="3060"/>
                </a:lnTo>
                <a:lnTo>
                  <a:pt x="3245" y="3070"/>
                </a:lnTo>
                <a:lnTo>
                  <a:pt x="3266" y="3082"/>
                </a:lnTo>
                <a:lnTo>
                  <a:pt x="3285" y="3096"/>
                </a:lnTo>
                <a:lnTo>
                  <a:pt x="3324" y="3122"/>
                </a:lnTo>
                <a:lnTo>
                  <a:pt x="3354" y="3142"/>
                </a:lnTo>
                <a:lnTo>
                  <a:pt x="3360" y="3144"/>
                </a:lnTo>
                <a:lnTo>
                  <a:pt x="3364" y="3146"/>
                </a:lnTo>
                <a:lnTo>
                  <a:pt x="3368" y="3146"/>
                </a:lnTo>
                <a:lnTo>
                  <a:pt x="3372" y="3146"/>
                </a:lnTo>
                <a:lnTo>
                  <a:pt x="3375" y="3145"/>
                </a:lnTo>
                <a:lnTo>
                  <a:pt x="3377" y="3143"/>
                </a:lnTo>
                <a:lnTo>
                  <a:pt x="3379" y="3141"/>
                </a:lnTo>
                <a:lnTo>
                  <a:pt x="3381" y="3137"/>
                </a:lnTo>
                <a:lnTo>
                  <a:pt x="3387" y="3121"/>
                </a:lnTo>
                <a:lnTo>
                  <a:pt x="3391" y="3101"/>
                </a:lnTo>
                <a:lnTo>
                  <a:pt x="3393" y="3092"/>
                </a:lnTo>
                <a:lnTo>
                  <a:pt x="3394" y="3083"/>
                </a:lnTo>
                <a:lnTo>
                  <a:pt x="3394" y="3077"/>
                </a:lnTo>
                <a:lnTo>
                  <a:pt x="3394" y="3070"/>
                </a:lnTo>
                <a:lnTo>
                  <a:pt x="3394" y="3056"/>
                </a:lnTo>
                <a:lnTo>
                  <a:pt x="3396" y="3041"/>
                </a:lnTo>
                <a:lnTo>
                  <a:pt x="3398" y="3037"/>
                </a:lnTo>
                <a:lnTo>
                  <a:pt x="3400" y="3033"/>
                </a:lnTo>
                <a:lnTo>
                  <a:pt x="3402" y="3030"/>
                </a:lnTo>
                <a:lnTo>
                  <a:pt x="3405" y="3027"/>
                </a:lnTo>
                <a:lnTo>
                  <a:pt x="3412" y="3023"/>
                </a:lnTo>
                <a:lnTo>
                  <a:pt x="3419" y="3021"/>
                </a:lnTo>
                <a:lnTo>
                  <a:pt x="3439" y="3015"/>
                </a:lnTo>
                <a:lnTo>
                  <a:pt x="3459" y="3008"/>
                </a:lnTo>
                <a:lnTo>
                  <a:pt x="3469" y="3003"/>
                </a:lnTo>
                <a:lnTo>
                  <a:pt x="3474" y="3000"/>
                </a:lnTo>
                <a:lnTo>
                  <a:pt x="3479" y="2997"/>
                </a:lnTo>
                <a:lnTo>
                  <a:pt x="3480" y="2995"/>
                </a:lnTo>
                <a:lnTo>
                  <a:pt x="3481" y="2992"/>
                </a:lnTo>
                <a:lnTo>
                  <a:pt x="3480" y="2991"/>
                </a:lnTo>
                <a:lnTo>
                  <a:pt x="3475" y="2992"/>
                </a:lnTo>
                <a:lnTo>
                  <a:pt x="3466" y="2992"/>
                </a:lnTo>
                <a:lnTo>
                  <a:pt x="3452" y="2992"/>
                </a:lnTo>
                <a:lnTo>
                  <a:pt x="3435" y="2993"/>
                </a:lnTo>
                <a:lnTo>
                  <a:pt x="3427" y="2993"/>
                </a:lnTo>
                <a:lnTo>
                  <a:pt x="3418" y="2995"/>
                </a:lnTo>
                <a:lnTo>
                  <a:pt x="3409" y="2997"/>
                </a:lnTo>
                <a:lnTo>
                  <a:pt x="3402" y="2999"/>
                </a:lnTo>
                <a:lnTo>
                  <a:pt x="3387" y="3006"/>
                </a:lnTo>
                <a:lnTo>
                  <a:pt x="3376" y="3011"/>
                </a:lnTo>
                <a:lnTo>
                  <a:pt x="3367" y="3012"/>
                </a:lnTo>
                <a:lnTo>
                  <a:pt x="3355" y="3012"/>
                </a:lnTo>
                <a:lnTo>
                  <a:pt x="3339" y="3011"/>
                </a:lnTo>
                <a:lnTo>
                  <a:pt x="3322" y="3009"/>
                </a:lnTo>
                <a:lnTo>
                  <a:pt x="3303" y="3007"/>
                </a:lnTo>
                <a:lnTo>
                  <a:pt x="3287" y="3003"/>
                </a:lnTo>
                <a:lnTo>
                  <a:pt x="3272" y="3001"/>
                </a:lnTo>
                <a:lnTo>
                  <a:pt x="3262" y="2998"/>
                </a:lnTo>
                <a:lnTo>
                  <a:pt x="3256" y="2995"/>
                </a:lnTo>
                <a:lnTo>
                  <a:pt x="3252" y="2991"/>
                </a:lnTo>
                <a:lnTo>
                  <a:pt x="3249" y="2985"/>
                </a:lnTo>
                <a:lnTo>
                  <a:pt x="3248" y="2980"/>
                </a:lnTo>
                <a:lnTo>
                  <a:pt x="3248" y="2974"/>
                </a:lnTo>
                <a:lnTo>
                  <a:pt x="3249" y="2968"/>
                </a:lnTo>
                <a:lnTo>
                  <a:pt x="3251" y="2962"/>
                </a:lnTo>
                <a:lnTo>
                  <a:pt x="3253" y="2957"/>
                </a:lnTo>
                <a:lnTo>
                  <a:pt x="3254" y="2952"/>
                </a:lnTo>
                <a:lnTo>
                  <a:pt x="3255" y="2947"/>
                </a:lnTo>
                <a:lnTo>
                  <a:pt x="3255" y="2944"/>
                </a:lnTo>
                <a:lnTo>
                  <a:pt x="3255" y="2942"/>
                </a:lnTo>
                <a:lnTo>
                  <a:pt x="3253" y="2935"/>
                </a:lnTo>
                <a:lnTo>
                  <a:pt x="3249" y="2928"/>
                </a:lnTo>
                <a:lnTo>
                  <a:pt x="3248" y="2926"/>
                </a:lnTo>
                <a:lnTo>
                  <a:pt x="3247" y="2925"/>
                </a:lnTo>
                <a:lnTo>
                  <a:pt x="3245" y="2924"/>
                </a:lnTo>
                <a:lnTo>
                  <a:pt x="3243" y="2922"/>
                </a:lnTo>
                <a:lnTo>
                  <a:pt x="3236" y="2922"/>
                </a:lnTo>
                <a:lnTo>
                  <a:pt x="3229" y="2922"/>
                </a:lnTo>
                <a:lnTo>
                  <a:pt x="3221" y="2924"/>
                </a:lnTo>
                <a:lnTo>
                  <a:pt x="3212" y="2925"/>
                </a:lnTo>
                <a:lnTo>
                  <a:pt x="3202" y="2924"/>
                </a:lnTo>
                <a:lnTo>
                  <a:pt x="3193" y="2922"/>
                </a:lnTo>
                <a:lnTo>
                  <a:pt x="3176" y="2917"/>
                </a:lnTo>
                <a:lnTo>
                  <a:pt x="3165" y="2914"/>
                </a:lnTo>
                <a:lnTo>
                  <a:pt x="3159" y="2912"/>
                </a:lnTo>
                <a:lnTo>
                  <a:pt x="3158" y="2911"/>
                </a:lnTo>
                <a:lnTo>
                  <a:pt x="3156" y="2905"/>
                </a:lnTo>
                <a:lnTo>
                  <a:pt x="3156" y="2892"/>
                </a:lnTo>
                <a:lnTo>
                  <a:pt x="3156" y="2875"/>
                </a:lnTo>
                <a:lnTo>
                  <a:pt x="3158" y="2858"/>
                </a:lnTo>
                <a:lnTo>
                  <a:pt x="3156" y="2850"/>
                </a:lnTo>
                <a:lnTo>
                  <a:pt x="3155" y="2843"/>
                </a:lnTo>
                <a:lnTo>
                  <a:pt x="3152" y="2835"/>
                </a:lnTo>
                <a:lnTo>
                  <a:pt x="3148" y="2829"/>
                </a:lnTo>
                <a:lnTo>
                  <a:pt x="3139" y="2813"/>
                </a:lnTo>
                <a:lnTo>
                  <a:pt x="3129" y="2797"/>
                </a:lnTo>
                <a:lnTo>
                  <a:pt x="3125" y="2790"/>
                </a:lnTo>
                <a:lnTo>
                  <a:pt x="3121" y="2784"/>
                </a:lnTo>
                <a:lnTo>
                  <a:pt x="3115" y="2780"/>
                </a:lnTo>
                <a:lnTo>
                  <a:pt x="3111" y="2777"/>
                </a:lnTo>
                <a:lnTo>
                  <a:pt x="3107" y="2775"/>
                </a:lnTo>
                <a:lnTo>
                  <a:pt x="3103" y="2772"/>
                </a:lnTo>
                <a:lnTo>
                  <a:pt x="3099" y="2769"/>
                </a:lnTo>
                <a:lnTo>
                  <a:pt x="3097" y="2765"/>
                </a:lnTo>
                <a:lnTo>
                  <a:pt x="3095" y="2759"/>
                </a:lnTo>
                <a:lnTo>
                  <a:pt x="3094" y="2755"/>
                </a:lnTo>
                <a:lnTo>
                  <a:pt x="3095" y="2750"/>
                </a:lnTo>
                <a:lnTo>
                  <a:pt x="3097" y="2744"/>
                </a:lnTo>
                <a:lnTo>
                  <a:pt x="3099" y="2739"/>
                </a:lnTo>
                <a:lnTo>
                  <a:pt x="3103" y="2732"/>
                </a:lnTo>
                <a:lnTo>
                  <a:pt x="3109" y="2727"/>
                </a:lnTo>
                <a:lnTo>
                  <a:pt x="3114" y="2722"/>
                </a:lnTo>
                <a:lnTo>
                  <a:pt x="3126" y="2711"/>
                </a:lnTo>
                <a:lnTo>
                  <a:pt x="3138" y="2702"/>
                </a:lnTo>
                <a:lnTo>
                  <a:pt x="3149" y="2692"/>
                </a:lnTo>
                <a:lnTo>
                  <a:pt x="3160" y="2682"/>
                </a:lnTo>
                <a:lnTo>
                  <a:pt x="3164" y="2675"/>
                </a:lnTo>
                <a:lnTo>
                  <a:pt x="3166" y="2668"/>
                </a:lnTo>
                <a:lnTo>
                  <a:pt x="3167" y="2659"/>
                </a:lnTo>
                <a:lnTo>
                  <a:pt x="3167" y="2650"/>
                </a:lnTo>
                <a:lnTo>
                  <a:pt x="3165" y="2632"/>
                </a:lnTo>
                <a:lnTo>
                  <a:pt x="3162" y="2613"/>
                </a:lnTo>
                <a:lnTo>
                  <a:pt x="3159" y="2593"/>
                </a:lnTo>
                <a:lnTo>
                  <a:pt x="3159" y="2575"/>
                </a:lnTo>
                <a:lnTo>
                  <a:pt x="3160" y="2566"/>
                </a:lnTo>
                <a:lnTo>
                  <a:pt x="3163" y="2557"/>
                </a:lnTo>
                <a:lnTo>
                  <a:pt x="3168" y="2549"/>
                </a:lnTo>
                <a:lnTo>
                  <a:pt x="3176" y="2540"/>
                </a:lnTo>
                <a:lnTo>
                  <a:pt x="3180" y="2536"/>
                </a:lnTo>
                <a:lnTo>
                  <a:pt x="3183" y="2534"/>
                </a:lnTo>
                <a:lnTo>
                  <a:pt x="3188" y="2532"/>
                </a:lnTo>
                <a:lnTo>
                  <a:pt x="3191" y="2529"/>
                </a:lnTo>
                <a:lnTo>
                  <a:pt x="3199" y="2528"/>
                </a:lnTo>
                <a:lnTo>
                  <a:pt x="3206" y="2529"/>
                </a:lnTo>
                <a:lnTo>
                  <a:pt x="3215" y="2532"/>
                </a:lnTo>
                <a:lnTo>
                  <a:pt x="3225" y="2534"/>
                </a:lnTo>
                <a:lnTo>
                  <a:pt x="3236" y="2535"/>
                </a:lnTo>
                <a:lnTo>
                  <a:pt x="3249" y="2536"/>
                </a:lnTo>
                <a:lnTo>
                  <a:pt x="3272" y="2537"/>
                </a:lnTo>
                <a:lnTo>
                  <a:pt x="3287" y="2538"/>
                </a:lnTo>
                <a:lnTo>
                  <a:pt x="3302" y="2540"/>
                </a:lnTo>
                <a:lnTo>
                  <a:pt x="3323" y="2541"/>
                </a:lnTo>
                <a:lnTo>
                  <a:pt x="3335" y="2542"/>
                </a:lnTo>
                <a:lnTo>
                  <a:pt x="3346" y="2544"/>
                </a:lnTo>
                <a:lnTo>
                  <a:pt x="3356" y="2549"/>
                </a:lnTo>
                <a:lnTo>
                  <a:pt x="3365" y="2553"/>
                </a:lnTo>
                <a:lnTo>
                  <a:pt x="3373" y="2557"/>
                </a:lnTo>
                <a:lnTo>
                  <a:pt x="3380" y="2563"/>
                </a:lnTo>
                <a:lnTo>
                  <a:pt x="3387" y="2568"/>
                </a:lnTo>
                <a:lnTo>
                  <a:pt x="3392" y="2574"/>
                </a:lnTo>
                <a:lnTo>
                  <a:pt x="3396" y="2579"/>
                </a:lnTo>
                <a:lnTo>
                  <a:pt x="3400" y="2587"/>
                </a:lnTo>
                <a:lnTo>
                  <a:pt x="3402" y="2594"/>
                </a:lnTo>
                <a:lnTo>
                  <a:pt x="3403" y="2602"/>
                </a:lnTo>
                <a:lnTo>
                  <a:pt x="3403" y="2617"/>
                </a:lnTo>
                <a:lnTo>
                  <a:pt x="3404" y="2629"/>
                </a:lnTo>
                <a:lnTo>
                  <a:pt x="3404" y="2638"/>
                </a:lnTo>
                <a:lnTo>
                  <a:pt x="3403" y="2648"/>
                </a:lnTo>
                <a:lnTo>
                  <a:pt x="3401" y="2661"/>
                </a:lnTo>
                <a:lnTo>
                  <a:pt x="3398" y="2674"/>
                </a:lnTo>
                <a:lnTo>
                  <a:pt x="3394" y="2685"/>
                </a:lnTo>
                <a:lnTo>
                  <a:pt x="3390" y="2692"/>
                </a:lnTo>
                <a:lnTo>
                  <a:pt x="3389" y="2697"/>
                </a:lnTo>
                <a:lnTo>
                  <a:pt x="3388" y="2701"/>
                </a:lnTo>
                <a:lnTo>
                  <a:pt x="3388" y="2706"/>
                </a:lnTo>
                <a:lnTo>
                  <a:pt x="3389" y="2713"/>
                </a:lnTo>
                <a:lnTo>
                  <a:pt x="3391" y="2718"/>
                </a:lnTo>
                <a:lnTo>
                  <a:pt x="3394" y="2723"/>
                </a:lnTo>
                <a:lnTo>
                  <a:pt x="3396" y="2725"/>
                </a:lnTo>
                <a:lnTo>
                  <a:pt x="3401" y="2726"/>
                </a:lnTo>
                <a:lnTo>
                  <a:pt x="3412" y="2729"/>
                </a:lnTo>
                <a:lnTo>
                  <a:pt x="3431" y="2737"/>
                </a:lnTo>
                <a:lnTo>
                  <a:pt x="3442" y="2743"/>
                </a:lnTo>
                <a:lnTo>
                  <a:pt x="3450" y="2749"/>
                </a:lnTo>
                <a:lnTo>
                  <a:pt x="3457" y="2755"/>
                </a:lnTo>
                <a:lnTo>
                  <a:pt x="3463" y="2762"/>
                </a:lnTo>
                <a:lnTo>
                  <a:pt x="3473" y="2775"/>
                </a:lnTo>
                <a:lnTo>
                  <a:pt x="3482" y="2790"/>
                </a:lnTo>
                <a:lnTo>
                  <a:pt x="3485" y="2797"/>
                </a:lnTo>
                <a:lnTo>
                  <a:pt x="3488" y="2805"/>
                </a:lnTo>
                <a:lnTo>
                  <a:pt x="3489" y="2812"/>
                </a:lnTo>
                <a:lnTo>
                  <a:pt x="3489" y="2819"/>
                </a:lnTo>
                <a:lnTo>
                  <a:pt x="3490" y="2832"/>
                </a:lnTo>
                <a:lnTo>
                  <a:pt x="3493" y="2845"/>
                </a:lnTo>
                <a:lnTo>
                  <a:pt x="3497" y="2862"/>
                </a:lnTo>
                <a:lnTo>
                  <a:pt x="3501" y="2885"/>
                </a:lnTo>
                <a:lnTo>
                  <a:pt x="3507" y="2912"/>
                </a:lnTo>
                <a:lnTo>
                  <a:pt x="3512" y="2935"/>
                </a:lnTo>
                <a:lnTo>
                  <a:pt x="3515" y="2946"/>
                </a:lnTo>
                <a:lnTo>
                  <a:pt x="3519" y="2956"/>
                </a:lnTo>
                <a:lnTo>
                  <a:pt x="3523" y="2966"/>
                </a:lnTo>
                <a:lnTo>
                  <a:pt x="3527" y="2974"/>
                </a:lnTo>
                <a:lnTo>
                  <a:pt x="3532" y="2983"/>
                </a:lnTo>
                <a:lnTo>
                  <a:pt x="3538" y="2992"/>
                </a:lnTo>
                <a:lnTo>
                  <a:pt x="3545" y="3000"/>
                </a:lnTo>
                <a:lnTo>
                  <a:pt x="3554" y="3010"/>
                </a:lnTo>
                <a:lnTo>
                  <a:pt x="3563" y="3020"/>
                </a:lnTo>
                <a:lnTo>
                  <a:pt x="3573" y="3027"/>
                </a:lnTo>
                <a:lnTo>
                  <a:pt x="3582" y="3035"/>
                </a:lnTo>
                <a:lnTo>
                  <a:pt x="3592" y="3042"/>
                </a:lnTo>
                <a:lnTo>
                  <a:pt x="3603" y="3049"/>
                </a:lnTo>
                <a:lnTo>
                  <a:pt x="3614" y="3057"/>
                </a:lnTo>
                <a:lnTo>
                  <a:pt x="3626" y="3067"/>
                </a:lnTo>
                <a:lnTo>
                  <a:pt x="3638" y="3079"/>
                </a:lnTo>
                <a:lnTo>
                  <a:pt x="3648" y="3090"/>
                </a:lnTo>
                <a:lnTo>
                  <a:pt x="3654" y="3097"/>
                </a:lnTo>
                <a:lnTo>
                  <a:pt x="3656" y="3101"/>
                </a:lnTo>
                <a:lnTo>
                  <a:pt x="3656" y="3103"/>
                </a:lnTo>
                <a:lnTo>
                  <a:pt x="3656" y="3105"/>
                </a:lnTo>
                <a:lnTo>
                  <a:pt x="3656" y="3107"/>
                </a:lnTo>
                <a:lnTo>
                  <a:pt x="3654" y="3110"/>
                </a:lnTo>
                <a:lnTo>
                  <a:pt x="3650" y="3114"/>
                </a:lnTo>
                <a:lnTo>
                  <a:pt x="3649" y="3118"/>
                </a:lnTo>
                <a:lnTo>
                  <a:pt x="3649" y="3124"/>
                </a:lnTo>
                <a:lnTo>
                  <a:pt x="3650" y="3132"/>
                </a:lnTo>
                <a:lnTo>
                  <a:pt x="3650" y="3137"/>
                </a:lnTo>
                <a:lnTo>
                  <a:pt x="3649" y="3142"/>
                </a:lnTo>
                <a:lnTo>
                  <a:pt x="3648" y="3147"/>
                </a:lnTo>
                <a:lnTo>
                  <a:pt x="3644" y="3156"/>
                </a:lnTo>
                <a:lnTo>
                  <a:pt x="3640" y="3167"/>
                </a:lnTo>
                <a:lnTo>
                  <a:pt x="3635" y="3178"/>
                </a:lnTo>
                <a:lnTo>
                  <a:pt x="3631" y="3189"/>
                </a:lnTo>
                <a:lnTo>
                  <a:pt x="3629" y="3196"/>
                </a:lnTo>
                <a:lnTo>
                  <a:pt x="3628" y="3203"/>
                </a:lnTo>
                <a:lnTo>
                  <a:pt x="3627" y="3211"/>
                </a:lnTo>
                <a:lnTo>
                  <a:pt x="3627" y="3221"/>
                </a:lnTo>
                <a:lnTo>
                  <a:pt x="3626" y="3230"/>
                </a:lnTo>
                <a:lnTo>
                  <a:pt x="3622" y="3238"/>
                </a:lnTo>
                <a:lnTo>
                  <a:pt x="3618" y="3244"/>
                </a:lnTo>
                <a:lnTo>
                  <a:pt x="3613" y="3250"/>
                </a:lnTo>
                <a:lnTo>
                  <a:pt x="3599" y="3261"/>
                </a:lnTo>
                <a:lnTo>
                  <a:pt x="3581" y="3270"/>
                </a:lnTo>
                <a:lnTo>
                  <a:pt x="3572" y="3276"/>
                </a:lnTo>
                <a:lnTo>
                  <a:pt x="3562" y="3281"/>
                </a:lnTo>
                <a:lnTo>
                  <a:pt x="3552" y="3284"/>
                </a:lnTo>
                <a:lnTo>
                  <a:pt x="3543" y="3286"/>
                </a:lnTo>
                <a:lnTo>
                  <a:pt x="3535" y="3289"/>
                </a:lnTo>
                <a:lnTo>
                  <a:pt x="3527" y="3289"/>
                </a:lnTo>
                <a:lnTo>
                  <a:pt x="3521" y="3289"/>
                </a:lnTo>
                <a:lnTo>
                  <a:pt x="3515" y="3286"/>
                </a:lnTo>
                <a:lnTo>
                  <a:pt x="3511" y="3284"/>
                </a:lnTo>
                <a:lnTo>
                  <a:pt x="3505" y="3284"/>
                </a:lnTo>
                <a:lnTo>
                  <a:pt x="3497" y="3283"/>
                </a:lnTo>
                <a:lnTo>
                  <a:pt x="3488" y="3283"/>
                </a:lnTo>
                <a:lnTo>
                  <a:pt x="3463" y="3283"/>
                </a:lnTo>
                <a:lnTo>
                  <a:pt x="3427" y="3282"/>
                </a:lnTo>
                <a:lnTo>
                  <a:pt x="3409" y="3281"/>
                </a:lnTo>
                <a:lnTo>
                  <a:pt x="3399" y="3282"/>
                </a:lnTo>
                <a:lnTo>
                  <a:pt x="3393" y="3282"/>
                </a:lnTo>
                <a:lnTo>
                  <a:pt x="3391" y="3283"/>
                </a:lnTo>
                <a:lnTo>
                  <a:pt x="3395" y="3285"/>
                </a:lnTo>
                <a:lnTo>
                  <a:pt x="3399" y="3286"/>
                </a:lnTo>
                <a:lnTo>
                  <a:pt x="3401" y="3292"/>
                </a:lnTo>
                <a:lnTo>
                  <a:pt x="3407" y="3304"/>
                </a:lnTo>
                <a:lnTo>
                  <a:pt x="3412" y="3312"/>
                </a:lnTo>
                <a:lnTo>
                  <a:pt x="3417" y="3320"/>
                </a:lnTo>
                <a:lnTo>
                  <a:pt x="3422" y="3327"/>
                </a:lnTo>
                <a:lnTo>
                  <a:pt x="3430" y="3334"/>
                </a:lnTo>
                <a:lnTo>
                  <a:pt x="3436" y="3339"/>
                </a:lnTo>
                <a:lnTo>
                  <a:pt x="3443" y="3343"/>
                </a:lnTo>
                <a:lnTo>
                  <a:pt x="3449" y="3346"/>
                </a:lnTo>
                <a:lnTo>
                  <a:pt x="3455" y="3349"/>
                </a:lnTo>
                <a:lnTo>
                  <a:pt x="3471" y="3356"/>
                </a:lnTo>
                <a:lnTo>
                  <a:pt x="3496" y="3365"/>
                </a:lnTo>
                <a:lnTo>
                  <a:pt x="3516" y="3375"/>
                </a:lnTo>
                <a:lnTo>
                  <a:pt x="3528" y="3381"/>
                </a:lnTo>
                <a:lnTo>
                  <a:pt x="3536" y="3384"/>
                </a:lnTo>
                <a:lnTo>
                  <a:pt x="3547" y="3385"/>
                </a:lnTo>
                <a:lnTo>
                  <a:pt x="3562" y="3386"/>
                </a:lnTo>
                <a:lnTo>
                  <a:pt x="3583" y="3387"/>
                </a:lnTo>
                <a:lnTo>
                  <a:pt x="3592" y="3394"/>
                </a:lnTo>
                <a:lnTo>
                  <a:pt x="3605" y="3403"/>
                </a:lnTo>
                <a:lnTo>
                  <a:pt x="3615" y="3403"/>
                </a:lnTo>
                <a:lnTo>
                  <a:pt x="3631" y="3402"/>
                </a:lnTo>
                <a:lnTo>
                  <a:pt x="3641" y="3403"/>
                </a:lnTo>
                <a:lnTo>
                  <a:pt x="3649" y="3403"/>
                </a:lnTo>
                <a:lnTo>
                  <a:pt x="3656" y="3405"/>
                </a:lnTo>
                <a:lnTo>
                  <a:pt x="3661" y="3407"/>
                </a:lnTo>
                <a:lnTo>
                  <a:pt x="3667" y="3410"/>
                </a:lnTo>
                <a:lnTo>
                  <a:pt x="3673" y="3411"/>
                </a:lnTo>
                <a:lnTo>
                  <a:pt x="3681" y="3412"/>
                </a:lnTo>
                <a:lnTo>
                  <a:pt x="3688" y="3412"/>
                </a:lnTo>
                <a:lnTo>
                  <a:pt x="3705" y="3412"/>
                </a:lnTo>
                <a:lnTo>
                  <a:pt x="3716" y="3410"/>
                </a:lnTo>
                <a:lnTo>
                  <a:pt x="3721" y="3408"/>
                </a:lnTo>
                <a:lnTo>
                  <a:pt x="3724" y="3406"/>
                </a:lnTo>
                <a:lnTo>
                  <a:pt x="3725" y="3403"/>
                </a:lnTo>
                <a:lnTo>
                  <a:pt x="3726" y="3399"/>
                </a:lnTo>
                <a:lnTo>
                  <a:pt x="3726" y="3390"/>
                </a:lnTo>
                <a:lnTo>
                  <a:pt x="3726" y="3378"/>
                </a:lnTo>
                <a:lnTo>
                  <a:pt x="3727" y="3373"/>
                </a:lnTo>
                <a:lnTo>
                  <a:pt x="3729" y="3369"/>
                </a:lnTo>
                <a:lnTo>
                  <a:pt x="3734" y="3365"/>
                </a:lnTo>
                <a:lnTo>
                  <a:pt x="3739" y="3363"/>
                </a:lnTo>
                <a:lnTo>
                  <a:pt x="3750" y="3359"/>
                </a:lnTo>
                <a:lnTo>
                  <a:pt x="3759" y="3352"/>
                </a:lnTo>
                <a:lnTo>
                  <a:pt x="3773" y="3340"/>
                </a:lnTo>
                <a:lnTo>
                  <a:pt x="3788" y="3330"/>
                </a:lnTo>
                <a:lnTo>
                  <a:pt x="3792" y="3325"/>
                </a:lnTo>
                <a:lnTo>
                  <a:pt x="3795" y="3318"/>
                </a:lnTo>
                <a:lnTo>
                  <a:pt x="3797" y="3310"/>
                </a:lnTo>
                <a:lnTo>
                  <a:pt x="3800" y="3302"/>
                </a:lnTo>
                <a:lnTo>
                  <a:pt x="3803" y="3282"/>
                </a:lnTo>
                <a:lnTo>
                  <a:pt x="3807" y="3265"/>
                </a:lnTo>
                <a:lnTo>
                  <a:pt x="3814" y="3253"/>
                </a:lnTo>
                <a:lnTo>
                  <a:pt x="3820" y="3243"/>
                </a:lnTo>
                <a:lnTo>
                  <a:pt x="3828" y="3232"/>
                </a:lnTo>
                <a:lnTo>
                  <a:pt x="3835" y="3218"/>
                </a:lnTo>
                <a:lnTo>
                  <a:pt x="3836" y="3213"/>
                </a:lnTo>
                <a:lnTo>
                  <a:pt x="3837" y="3208"/>
                </a:lnTo>
                <a:lnTo>
                  <a:pt x="3837" y="3202"/>
                </a:lnTo>
                <a:lnTo>
                  <a:pt x="3836" y="3197"/>
                </a:lnTo>
                <a:lnTo>
                  <a:pt x="3834" y="3184"/>
                </a:lnTo>
                <a:lnTo>
                  <a:pt x="3830" y="3171"/>
                </a:lnTo>
                <a:lnTo>
                  <a:pt x="3823" y="3159"/>
                </a:lnTo>
                <a:lnTo>
                  <a:pt x="3816" y="3148"/>
                </a:lnTo>
                <a:lnTo>
                  <a:pt x="3807" y="3138"/>
                </a:lnTo>
                <a:lnTo>
                  <a:pt x="3800" y="3131"/>
                </a:lnTo>
                <a:lnTo>
                  <a:pt x="3792" y="3124"/>
                </a:lnTo>
                <a:lnTo>
                  <a:pt x="3787" y="3118"/>
                </a:lnTo>
                <a:lnTo>
                  <a:pt x="3783" y="3110"/>
                </a:lnTo>
                <a:lnTo>
                  <a:pt x="3781" y="3103"/>
                </a:lnTo>
                <a:lnTo>
                  <a:pt x="3782" y="3095"/>
                </a:lnTo>
                <a:lnTo>
                  <a:pt x="3783" y="3089"/>
                </a:lnTo>
                <a:lnTo>
                  <a:pt x="3786" y="3082"/>
                </a:lnTo>
                <a:lnTo>
                  <a:pt x="3789" y="3077"/>
                </a:lnTo>
                <a:lnTo>
                  <a:pt x="3794" y="3072"/>
                </a:lnTo>
                <a:lnTo>
                  <a:pt x="3801" y="3066"/>
                </a:lnTo>
                <a:lnTo>
                  <a:pt x="3808" y="3063"/>
                </a:lnTo>
                <a:lnTo>
                  <a:pt x="3817" y="3059"/>
                </a:lnTo>
                <a:lnTo>
                  <a:pt x="3827" y="3055"/>
                </a:lnTo>
                <a:lnTo>
                  <a:pt x="3837" y="3053"/>
                </a:lnTo>
                <a:lnTo>
                  <a:pt x="3847" y="3052"/>
                </a:lnTo>
                <a:lnTo>
                  <a:pt x="3857" y="3051"/>
                </a:lnTo>
                <a:lnTo>
                  <a:pt x="3861" y="3051"/>
                </a:lnTo>
                <a:lnTo>
                  <a:pt x="3866" y="3052"/>
                </a:lnTo>
                <a:lnTo>
                  <a:pt x="3871" y="3053"/>
                </a:lnTo>
                <a:lnTo>
                  <a:pt x="3876" y="3056"/>
                </a:lnTo>
                <a:lnTo>
                  <a:pt x="3886" y="3063"/>
                </a:lnTo>
                <a:lnTo>
                  <a:pt x="3896" y="3070"/>
                </a:lnTo>
                <a:lnTo>
                  <a:pt x="3914" y="3087"/>
                </a:lnTo>
                <a:lnTo>
                  <a:pt x="3928" y="3100"/>
                </a:lnTo>
                <a:lnTo>
                  <a:pt x="3934" y="3105"/>
                </a:lnTo>
                <a:lnTo>
                  <a:pt x="3940" y="3115"/>
                </a:lnTo>
                <a:lnTo>
                  <a:pt x="3947" y="3126"/>
                </a:lnTo>
                <a:lnTo>
                  <a:pt x="3953" y="3138"/>
                </a:lnTo>
                <a:lnTo>
                  <a:pt x="3960" y="3151"/>
                </a:lnTo>
                <a:lnTo>
                  <a:pt x="3964" y="3164"/>
                </a:lnTo>
                <a:lnTo>
                  <a:pt x="3967" y="3176"/>
                </a:lnTo>
                <a:lnTo>
                  <a:pt x="3968" y="3187"/>
                </a:lnTo>
                <a:lnTo>
                  <a:pt x="3968" y="3191"/>
                </a:lnTo>
                <a:lnTo>
                  <a:pt x="3970" y="3195"/>
                </a:lnTo>
                <a:lnTo>
                  <a:pt x="3973" y="3199"/>
                </a:lnTo>
                <a:lnTo>
                  <a:pt x="3975" y="3202"/>
                </a:lnTo>
                <a:lnTo>
                  <a:pt x="3983" y="3209"/>
                </a:lnTo>
                <a:lnTo>
                  <a:pt x="3993" y="3214"/>
                </a:lnTo>
                <a:lnTo>
                  <a:pt x="4019" y="3225"/>
                </a:lnTo>
                <a:lnTo>
                  <a:pt x="4047" y="3236"/>
                </a:lnTo>
                <a:lnTo>
                  <a:pt x="4062" y="3240"/>
                </a:lnTo>
                <a:lnTo>
                  <a:pt x="4080" y="3244"/>
                </a:lnTo>
                <a:lnTo>
                  <a:pt x="4099" y="3246"/>
                </a:lnTo>
                <a:lnTo>
                  <a:pt x="4117" y="3249"/>
                </a:lnTo>
                <a:lnTo>
                  <a:pt x="4135" y="3249"/>
                </a:lnTo>
                <a:lnTo>
                  <a:pt x="4150" y="3248"/>
                </a:lnTo>
                <a:lnTo>
                  <a:pt x="4163" y="3246"/>
                </a:lnTo>
                <a:lnTo>
                  <a:pt x="4170" y="3244"/>
                </a:lnTo>
                <a:lnTo>
                  <a:pt x="4173" y="3242"/>
                </a:lnTo>
                <a:lnTo>
                  <a:pt x="4174" y="3241"/>
                </a:lnTo>
                <a:lnTo>
                  <a:pt x="4174" y="3239"/>
                </a:lnTo>
                <a:lnTo>
                  <a:pt x="4174" y="3237"/>
                </a:lnTo>
                <a:lnTo>
                  <a:pt x="4170" y="3231"/>
                </a:lnTo>
                <a:lnTo>
                  <a:pt x="4165" y="3226"/>
                </a:lnTo>
                <a:lnTo>
                  <a:pt x="4151" y="3214"/>
                </a:lnTo>
                <a:lnTo>
                  <a:pt x="4136" y="3203"/>
                </a:lnTo>
                <a:lnTo>
                  <a:pt x="4128" y="3200"/>
                </a:lnTo>
                <a:lnTo>
                  <a:pt x="4119" y="3196"/>
                </a:lnTo>
                <a:lnTo>
                  <a:pt x="4108" y="3192"/>
                </a:lnTo>
                <a:lnTo>
                  <a:pt x="4097" y="3190"/>
                </a:lnTo>
                <a:lnTo>
                  <a:pt x="4076" y="3185"/>
                </a:lnTo>
                <a:lnTo>
                  <a:pt x="4061" y="3183"/>
                </a:lnTo>
                <a:lnTo>
                  <a:pt x="4055" y="3181"/>
                </a:lnTo>
                <a:lnTo>
                  <a:pt x="4048" y="3177"/>
                </a:lnTo>
                <a:lnTo>
                  <a:pt x="4041" y="3173"/>
                </a:lnTo>
                <a:lnTo>
                  <a:pt x="4033" y="3168"/>
                </a:lnTo>
                <a:lnTo>
                  <a:pt x="4026" y="3162"/>
                </a:lnTo>
                <a:lnTo>
                  <a:pt x="4019" y="3157"/>
                </a:lnTo>
                <a:lnTo>
                  <a:pt x="4015" y="3150"/>
                </a:lnTo>
                <a:lnTo>
                  <a:pt x="4013" y="3145"/>
                </a:lnTo>
                <a:lnTo>
                  <a:pt x="4013" y="3143"/>
                </a:lnTo>
                <a:lnTo>
                  <a:pt x="4013" y="3141"/>
                </a:lnTo>
                <a:lnTo>
                  <a:pt x="4014" y="3140"/>
                </a:lnTo>
                <a:lnTo>
                  <a:pt x="4015" y="3138"/>
                </a:lnTo>
                <a:lnTo>
                  <a:pt x="4019" y="3138"/>
                </a:lnTo>
                <a:lnTo>
                  <a:pt x="4024" y="3138"/>
                </a:lnTo>
                <a:lnTo>
                  <a:pt x="4031" y="3138"/>
                </a:lnTo>
                <a:lnTo>
                  <a:pt x="4037" y="3140"/>
                </a:lnTo>
                <a:lnTo>
                  <a:pt x="4044" y="3140"/>
                </a:lnTo>
                <a:lnTo>
                  <a:pt x="4049" y="3138"/>
                </a:lnTo>
                <a:lnTo>
                  <a:pt x="4053" y="3136"/>
                </a:lnTo>
                <a:lnTo>
                  <a:pt x="4054" y="3135"/>
                </a:lnTo>
                <a:lnTo>
                  <a:pt x="4055" y="3134"/>
                </a:lnTo>
                <a:lnTo>
                  <a:pt x="4055" y="3132"/>
                </a:lnTo>
                <a:lnTo>
                  <a:pt x="4054" y="3129"/>
                </a:lnTo>
                <a:lnTo>
                  <a:pt x="4052" y="3126"/>
                </a:lnTo>
                <a:lnTo>
                  <a:pt x="4045" y="3117"/>
                </a:lnTo>
                <a:lnTo>
                  <a:pt x="4040" y="3108"/>
                </a:lnTo>
                <a:lnTo>
                  <a:pt x="4033" y="3096"/>
                </a:lnTo>
                <a:lnTo>
                  <a:pt x="4022" y="3079"/>
                </a:lnTo>
                <a:lnTo>
                  <a:pt x="4012" y="3062"/>
                </a:lnTo>
                <a:lnTo>
                  <a:pt x="4004" y="3047"/>
                </a:lnTo>
                <a:lnTo>
                  <a:pt x="4002" y="3043"/>
                </a:lnTo>
                <a:lnTo>
                  <a:pt x="3997" y="3039"/>
                </a:lnTo>
                <a:lnTo>
                  <a:pt x="3992" y="3035"/>
                </a:lnTo>
                <a:lnTo>
                  <a:pt x="3984" y="3030"/>
                </a:lnTo>
                <a:lnTo>
                  <a:pt x="3967" y="3022"/>
                </a:lnTo>
                <a:lnTo>
                  <a:pt x="3947" y="3012"/>
                </a:lnTo>
                <a:lnTo>
                  <a:pt x="3925" y="3003"/>
                </a:lnTo>
                <a:lnTo>
                  <a:pt x="3906" y="2997"/>
                </a:lnTo>
                <a:lnTo>
                  <a:pt x="3890" y="2992"/>
                </a:lnTo>
                <a:lnTo>
                  <a:pt x="3881" y="2989"/>
                </a:lnTo>
                <a:lnTo>
                  <a:pt x="3865" y="2986"/>
                </a:lnTo>
                <a:lnTo>
                  <a:pt x="3842" y="2984"/>
                </a:lnTo>
                <a:lnTo>
                  <a:pt x="3817" y="2983"/>
                </a:lnTo>
                <a:lnTo>
                  <a:pt x="3792" y="2983"/>
                </a:lnTo>
                <a:lnTo>
                  <a:pt x="3767" y="2984"/>
                </a:lnTo>
                <a:lnTo>
                  <a:pt x="3740" y="2983"/>
                </a:lnTo>
                <a:lnTo>
                  <a:pt x="3715" y="2981"/>
                </a:lnTo>
                <a:lnTo>
                  <a:pt x="3696" y="2979"/>
                </a:lnTo>
                <a:lnTo>
                  <a:pt x="3688" y="2978"/>
                </a:lnTo>
                <a:lnTo>
                  <a:pt x="3682" y="2975"/>
                </a:lnTo>
                <a:lnTo>
                  <a:pt x="3677" y="2972"/>
                </a:lnTo>
                <a:lnTo>
                  <a:pt x="3672" y="2968"/>
                </a:lnTo>
                <a:lnTo>
                  <a:pt x="3666" y="2957"/>
                </a:lnTo>
                <a:lnTo>
                  <a:pt x="3659" y="2943"/>
                </a:lnTo>
                <a:lnTo>
                  <a:pt x="3650" y="2927"/>
                </a:lnTo>
                <a:lnTo>
                  <a:pt x="3643" y="2906"/>
                </a:lnTo>
                <a:lnTo>
                  <a:pt x="3640" y="2895"/>
                </a:lnTo>
                <a:lnTo>
                  <a:pt x="3638" y="2886"/>
                </a:lnTo>
                <a:lnTo>
                  <a:pt x="3636" y="2877"/>
                </a:lnTo>
                <a:lnTo>
                  <a:pt x="3638" y="2871"/>
                </a:lnTo>
                <a:lnTo>
                  <a:pt x="3642" y="2860"/>
                </a:lnTo>
                <a:lnTo>
                  <a:pt x="3645" y="2850"/>
                </a:lnTo>
                <a:lnTo>
                  <a:pt x="3647" y="2843"/>
                </a:lnTo>
                <a:lnTo>
                  <a:pt x="3647" y="2835"/>
                </a:lnTo>
                <a:lnTo>
                  <a:pt x="3645" y="2826"/>
                </a:lnTo>
                <a:lnTo>
                  <a:pt x="3642" y="2818"/>
                </a:lnTo>
                <a:lnTo>
                  <a:pt x="3636" y="2808"/>
                </a:lnTo>
                <a:lnTo>
                  <a:pt x="3630" y="2797"/>
                </a:lnTo>
                <a:lnTo>
                  <a:pt x="3621" y="2783"/>
                </a:lnTo>
                <a:lnTo>
                  <a:pt x="3607" y="2765"/>
                </a:lnTo>
                <a:lnTo>
                  <a:pt x="3600" y="2755"/>
                </a:lnTo>
                <a:lnTo>
                  <a:pt x="3590" y="2746"/>
                </a:lnTo>
                <a:lnTo>
                  <a:pt x="3580" y="2738"/>
                </a:lnTo>
                <a:lnTo>
                  <a:pt x="3570" y="2731"/>
                </a:lnTo>
                <a:lnTo>
                  <a:pt x="3561" y="2726"/>
                </a:lnTo>
                <a:lnTo>
                  <a:pt x="3554" y="2721"/>
                </a:lnTo>
                <a:lnTo>
                  <a:pt x="3550" y="2716"/>
                </a:lnTo>
                <a:lnTo>
                  <a:pt x="3547" y="2711"/>
                </a:lnTo>
                <a:lnTo>
                  <a:pt x="3546" y="2706"/>
                </a:lnTo>
                <a:lnTo>
                  <a:pt x="3546" y="2701"/>
                </a:lnTo>
                <a:lnTo>
                  <a:pt x="3547" y="2695"/>
                </a:lnTo>
                <a:lnTo>
                  <a:pt x="3547" y="2688"/>
                </a:lnTo>
                <a:lnTo>
                  <a:pt x="3549" y="2682"/>
                </a:lnTo>
                <a:lnTo>
                  <a:pt x="3552" y="2676"/>
                </a:lnTo>
                <a:lnTo>
                  <a:pt x="3556" y="2672"/>
                </a:lnTo>
                <a:lnTo>
                  <a:pt x="3563" y="2667"/>
                </a:lnTo>
                <a:lnTo>
                  <a:pt x="3578" y="2658"/>
                </a:lnTo>
                <a:lnTo>
                  <a:pt x="3594" y="2647"/>
                </a:lnTo>
                <a:lnTo>
                  <a:pt x="3602" y="2643"/>
                </a:lnTo>
                <a:lnTo>
                  <a:pt x="3606" y="2642"/>
                </a:lnTo>
                <a:lnTo>
                  <a:pt x="3608" y="2642"/>
                </a:lnTo>
                <a:lnTo>
                  <a:pt x="3610" y="2643"/>
                </a:lnTo>
                <a:lnTo>
                  <a:pt x="3612" y="2644"/>
                </a:lnTo>
                <a:lnTo>
                  <a:pt x="3613" y="2646"/>
                </a:lnTo>
                <a:lnTo>
                  <a:pt x="3616" y="2655"/>
                </a:lnTo>
                <a:lnTo>
                  <a:pt x="3617" y="2664"/>
                </a:lnTo>
                <a:lnTo>
                  <a:pt x="3622" y="2676"/>
                </a:lnTo>
                <a:lnTo>
                  <a:pt x="3631" y="2695"/>
                </a:lnTo>
                <a:lnTo>
                  <a:pt x="3641" y="2713"/>
                </a:lnTo>
                <a:lnTo>
                  <a:pt x="3647" y="2726"/>
                </a:lnTo>
                <a:lnTo>
                  <a:pt x="3650" y="2729"/>
                </a:lnTo>
                <a:lnTo>
                  <a:pt x="3656" y="2733"/>
                </a:lnTo>
                <a:lnTo>
                  <a:pt x="3662" y="2738"/>
                </a:lnTo>
                <a:lnTo>
                  <a:pt x="3670" y="2742"/>
                </a:lnTo>
                <a:lnTo>
                  <a:pt x="3685" y="2749"/>
                </a:lnTo>
                <a:lnTo>
                  <a:pt x="3697" y="2753"/>
                </a:lnTo>
                <a:lnTo>
                  <a:pt x="3710" y="2755"/>
                </a:lnTo>
                <a:lnTo>
                  <a:pt x="3727" y="2758"/>
                </a:lnTo>
                <a:lnTo>
                  <a:pt x="3748" y="2762"/>
                </a:lnTo>
                <a:lnTo>
                  <a:pt x="3769" y="2765"/>
                </a:lnTo>
                <a:lnTo>
                  <a:pt x="3792" y="2768"/>
                </a:lnTo>
                <a:lnTo>
                  <a:pt x="3816" y="2772"/>
                </a:lnTo>
                <a:lnTo>
                  <a:pt x="3833" y="2776"/>
                </a:lnTo>
                <a:lnTo>
                  <a:pt x="3841" y="2778"/>
                </a:lnTo>
                <a:lnTo>
                  <a:pt x="3862" y="2796"/>
                </a:lnTo>
                <a:lnTo>
                  <a:pt x="3871" y="2798"/>
                </a:lnTo>
                <a:lnTo>
                  <a:pt x="3894" y="2805"/>
                </a:lnTo>
                <a:lnTo>
                  <a:pt x="3907" y="2809"/>
                </a:lnTo>
                <a:lnTo>
                  <a:pt x="3920" y="2814"/>
                </a:lnTo>
                <a:lnTo>
                  <a:pt x="3932" y="2819"/>
                </a:lnTo>
                <a:lnTo>
                  <a:pt x="3941" y="2824"/>
                </a:lnTo>
                <a:lnTo>
                  <a:pt x="3949" y="2829"/>
                </a:lnTo>
                <a:lnTo>
                  <a:pt x="3955" y="2831"/>
                </a:lnTo>
                <a:lnTo>
                  <a:pt x="3961" y="2831"/>
                </a:lnTo>
                <a:lnTo>
                  <a:pt x="3965" y="2830"/>
                </a:lnTo>
                <a:lnTo>
                  <a:pt x="3968" y="2826"/>
                </a:lnTo>
                <a:lnTo>
                  <a:pt x="3972" y="2823"/>
                </a:lnTo>
                <a:lnTo>
                  <a:pt x="3975" y="2819"/>
                </a:lnTo>
                <a:lnTo>
                  <a:pt x="3977" y="2813"/>
                </a:lnTo>
                <a:lnTo>
                  <a:pt x="3978" y="2808"/>
                </a:lnTo>
                <a:lnTo>
                  <a:pt x="3977" y="2802"/>
                </a:lnTo>
                <a:lnTo>
                  <a:pt x="3975" y="2796"/>
                </a:lnTo>
                <a:lnTo>
                  <a:pt x="3973" y="2791"/>
                </a:lnTo>
                <a:lnTo>
                  <a:pt x="3967" y="2783"/>
                </a:lnTo>
                <a:lnTo>
                  <a:pt x="3964" y="2780"/>
                </a:lnTo>
                <a:lnTo>
                  <a:pt x="3965" y="2773"/>
                </a:lnTo>
                <a:lnTo>
                  <a:pt x="3965" y="2758"/>
                </a:lnTo>
                <a:lnTo>
                  <a:pt x="3965" y="2755"/>
                </a:lnTo>
                <a:lnTo>
                  <a:pt x="3963" y="2754"/>
                </a:lnTo>
                <a:lnTo>
                  <a:pt x="3960" y="2754"/>
                </a:lnTo>
                <a:lnTo>
                  <a:pt x="3955" y="2754"/>
                </a:lnTo>
                <a:lnTo>
                  <a:pt x="3944" y="2757"/>
                </a:lnTo>
                <a:lnTo>
                  <a:pt x="3930" y="2758"/>
                </a:lnTo>
                <a:lnTo>
                  <a:pt x="3924" y="2758"/>
                </a:lnTo>
                <a:lnTo>
                  <a:pt x="3916" y="2756"/>
                </a:lnTo>
                <a:lnTo>
                  <a:pt x="3910" y="2753"/>
                </a:lnTo>
                <a:lnTo>
                  <a:pt x="3905" y="2750"/>
                </a:lnTo>
                <a:lnTo>
                  <a:pt x="3896" y="2743"/>
                </a:lnTo>
                <a:lnTo>
                  <a:pt x="3893" y="2740"/>
                </a:lnTo>
                <a:lnTo>
                  <a:pt x="3881" y="2723"/>
                </a:lnTo>
                <a:lnTo>
                  <a:pt x="3881" y="2721"/>
                </a:lnTo>
                <a:lnTo>
                  <a:pt x="3881" y="2715"/>
                </a:lnTo>
                <a:lnTo>
                  <a:pt x="3879" y="2708"/>
                </a:lnTo>
                <a:lnTo>
                  <a:pt x="3875" y="2699"/>
                </a:lnTo>
                <a:lnTo>
                  <a:pt x="3873" y="2696"/>
                </a:lnTo>
                <a:lnTo>
                  <a:pt x="3871" y="2696"/>
                </a:lnTo>
                <a:lnTo>
                  <a:pt x="3870" y="2698"/>
                </a:lnTo>
                <a:lnTo>
                  <a:pt x="3868" y="2701"/>
                </a:lnTo>
                <a:lnTo>
                  <a:pt x="3867" y="2705"/>
                </a:lnTo>
                <a:lnTo>
                  <a:pt x="3865" y="2710"/>
                </a:lnTo>
                <a:lnTo>
                  <a:pt x="3862" y="2714"/>
                </a:lnTo>
                <a:lnTo>
                  <a:pt x="3859" y="2717"/>
                </a:lnTo>
                <a:lnTo>
                  <a:pt x="3856" y="2719"/>
                </a:lnTo>
                <a:lnTo>
                  <a:pt x="3852" y="2722"/>
                </a:lnTo>
                <a:lnTo>
                  <a:pt x="3846" y="2723"/>
                </a:lnTo>
                <a:lnTo>
                  <a:pt x="3841" y="2724"/>
                </a:lnTo>
                <a:lnTo>
                  <a:pt x="3830" y="2724"/>
                </a:lnTo>
                <a:lnTo>
                  <a:pt x="3816" y="2722"/>
                </a:lnTo>
                <a:lnTo>
                  <a:pt x="3805" y="2719"/>
                </a:lnTo>
                <a:lnTo>
                  <a:pt x="3796" y="2718"/>
                </a:lnTo>
                <a:lnTo>
                  <a:pt x="3786" y="2716"/>
                </a:lnTo>
                <a:lnTo>
                  <a:pt x="3769" y="2710"/>
                </a:lnTo>
                <a:lnTo>
                  <a:pt x="3752" y="2703"/>
                </a:lnTo>
                <a:lnTo>
                  <a:pt x="3740" y="2699"/>
                </a:lnTo>
                <a:lnTo>
                  <a:pt x="3730" y="2695"/>
                </a:lnTo>
                <a:lnTo>
                  <a:pt x="3723" y="2691"/>
                </a:lnTo>
                <a:lnTo>
                  <a:pt x="3721" y="2688"/>
                </a:lnTo>
                <a:lnTo>
                  <a:pt x="3719" y="2685"/>
                </a:lnTo>
                <a:lnTo>
                  <a:pt x="3719" y="2681"/>
                </a:lnTo>
                <a:lnTo>
                  <a:pt x="3720" y="2675"/>
                </a:lnTo>
                <a:lnTo>
                  <a:pt x="3722" y="2671"/>
                </a:lnTo>
                <a:lnTo>
                  <a:pt x="3724" y="2668"/>
                </a:lnTo>
                <a:lnTo>
                  <a:pt x="3727" y="2665"/>
                </a:lnTo>
                <a:lnTo>
                  <a:pt x="3730" y="2664"/>
                </a:lnTo>
                <a:lnTo>
                  <a:pt x="3747" y="2668"/>
                </a:lnTo>
                <a:lnTo>
                  <a:pt x="3756" y="2670"/>
                </a:lnTo>
                <a:lnTo>
                  <a:pt x="3767" y="2675"/>
                </a:lnTo>
                <a:lnTo>
                  <a:pt x="3788" y="2683"/>
                </a:lnTo>
                <a:lnTo>
                  <a:pt x="3807" y="2686"/>
                </a:lnTo>
                <a:lnTo>
                  <a:pt x="3816" y="2687"/>
                </a:lnTo>
                <a:lnTo>
                  <a:pt x="3820" y="2685"/>
                </a:lnTo>
                <a:lnTo>
                  <a:pt x="3830" y="2677"/>
                </a:lnTo>
                <a:lnTo>
                  <a:pt x="3834" y="2672"/>
                </a:lnTo>
                <a:lnTo>
                  <a:pt x="3840" y="2664"/>
                </a:lnTo>
                <a:lnTo>
                  <a:pt x="3844" y="2657"/>
                </a:lnTo>
                <a:lnTo>
                  <a:pt x="3848" y="2647"/>
                </a:lnTo>
                <a:lnTo>
                  <a:pt x="3849" y="2638"/>
                </a:lnTo>
                <a:lnTo>
                  <a:pt x="3849" y="2633"/>
                </a:lnTo>
                <a:lnTo>
                  <a:pt x="3847" y="2630"/>
                </a:lnTo>
                <a:lnTo>
                  <a:pt x="3844" y="2629"/>
                </a:lnTo>
                <a:lnTo>
                  <a:pt x="3840" y="2628"/>
                </a:lnTo>
                <a:lnTo>
                  <a:pt x="3835" y="2627"/>
                </a:lnTo>
                <a:lnTo>
                  <a:pt x="3831" y="2624"/>
                </a:lnTo>
                <a:lnTo>
                  <a:pt x="3828" y="2620"/>
                </a:lnTo>
                <a:lnTo>
                  <a:pt x="3827" y="2618"/>
                </a:lnTo>
                <a:lnTo>
                  <a:pt x="3827" y="2616"/>
                </a:lnTo>
                <a:lnTo>
                  <a:pt x="3827" y="2614"/>
                </a:lnTo>
                <a:lnTo>
                  <a:pt x="3828" y="2613"/>
                </a:lnTo>
                <a:lnTo>
                  <a:pt x="3831" y="2611"/>
                </a:lnTo>
                <a:lnTo>
                  <a:pt x="3837" y="2610"/>
                </a:lnTo>
                <a:lnTo>
                  <a:pt x="3852" y="2611"/>
                </a:lnTo>
                <a:lnTo>
                  <a:pt x="3867" y="2613"/>
                </a:lnTo>
                <a:lnTo>
                  <a:pt x="3873" y="2614"/>
                </a:lnTo>
                <a:lnTo>
                  <a:pt x="3877" y="2615"/>
                </a:lnTo>
                <a:lnTo>
                  <a:pt x="3882" y="2617"/>
                </a:lnTo>
                <a:lnTo>
                  <a:pt x="3886" y="2620"/>
                </a:lnTo>
                <a:lnTo>
                  <a:pt x="3893" y="2625"/>
                </a:lnTo>
                <a:lnTo>
                  <a:pt x="3899" y="2630"/>
                </a:lnTo>
                <a:lnTo>
                  <a:pt x="3911" y="2634"/>
                </a:lnTo>
                <a:lnTo>
                  <a:pt x="3924" y="2638"/>
                </a:lnTo>
                <a:lnTo>
                  <a:pt x="3935" y="2642"/>
                </a:lnTo>
                <a:lnTo>
                  <a:pt x="3939" y="2643"/>
                </a:lnTo>
                <a:lnTo>
                  <a:pt x="3996" y="2677"/>
                </a:lnTo>
                <a:lnTo>
                  <a:pt x="4008" y="2681"/>
                </a:lnTo>
                <a:lnTo>
                  <a:pt x="4036" y="2690"/>
                </a:lnTo>
                <a:lnTo>
                  <a:pt x="4053" y="2695"/>
                </a:lnTo>
                <a:lnTo>
                  <a:pt x="4070" y="2699"/>
                </a:lnTo>
                <a:lnTo>
                  <a:pt x="4085" y="2702"/>
                </a:lnTo>
                <a:lnTo>
                  <a:pt x="4097" y="2703"/>
                </a:lnTo>
                <a:lnTo>
                  <a:pt x="4116" y="2702"/>
                </a:lnTo>
                <a:lnTo>
                  <a:pt x="4130" y="2701"/>
                </a:lnTo>
                <a:lnTo>
                  <a:pt x="4137" y="2699"/>
                </a:lnTo>
                <a:lnTo>
                  <a:pt x="4143" y="2697"/>
                </a:lnTo>
                <a:lnTo>
                  <a:pt x="4150" y="2694"/>
                </a:lnTo>
                <a:lnTo>
                  <a:pt x="4157" y="2688"/>
                </a:lnTo>
                <a:lnTo>
                  <a:pt x="4161" y="2686"/>
                </a:lnTo>
                <a:lnTo>
                  <a:pt x="4162" y="2683"/>
                </a:lnTo>
                <a:lnTo>
                  <a:pt x="4162" y="2679"/>
                </a:lnTo>
                <a:lnTo>
                  <a:pt x="4162" y="2676"/>
                </a:lnTo>
                <a:lnTo>
                  <a:pt x="4157" y="2671"/>
                </a:lnTo>
                <a:lnTo>
                  <a:pt x="4151" y="2664"/>
                </a:lnTo>
                <a:lnTo>
                  <a:pt x="4136" y="2655"/>
                </a:lnTo>
                <a:lnTo>
                  <a:pt x="4128" y="2651"/>
                </a:lnTo>
                <a:lnTo>
                  <a:pt x="4083" y="2600"/>
                </a:lnTo>
                <a:lnTo>
                  <a:pt x="4074" y="2600"/>
                </a:lnTo>
                <a:lnTo>
                  <a:pt x="4053" y="2597"/>
                </a:lnTo>
                <a:lnTo>
                  <a:pt x="4026" y="2594"/>
                </a:lnTo>
                <a:lnTo>
                  <a:pt x="4000" y="2589"/>
                </a:lnTo>
                <a:lnTo>
                  <a:pt x="3990" y="2584"/>
                </a:lnTo>
                <a:lnTo>
                  <a:pt x="3981" y="2580"/>
                </a:lnTo>
                <a:lnTo>
                  <a:pt x="3976" y="2574"/>
                </a:lnTo>
                <a:lnTo>
                  <a:pt x="3970" y="2567"/>
                </a:lnTo>
                <a:lnTo>
                  <a:pt x="3961" y="2551"/>
                </a:lnTo>
                <a:lnTo>
                  <a:pt x="3946" y="2532"/>
                </a:lnTo>
                <a:lnTo>
                  <a:pt x="3937" y="2521"/>
                </a:lnTo>
                <a:lnTo>
                  <a:pt x="3932" y="2512"/>
                </a:lnTo>
                <a:lnTo>
                  <a:pt x="3928" y="2505"/>
                </a:lnTo>
                <a:lnTo>
                  <a:pt x="3927" y="2498"/>
                </a:lnTo>
                <a:lnTo>
                  <a:pt x="3927" y="2492"/>
                </a:lnTo>
                <a:lnTo>
                  <a:pt x="3928" y="2486"/>
                </a:lnTo>
                <a:lnTo>
                  <a:pt x="3930" y="2480"/>
                </a:lnTo>
                <a:lnTo>
                  <a:pt x="3934" y="2474"/>
                </a:lnTo>
                <a:lnTo>
                  <a:pt x="3936" y="2471"/>
                </a:lnTo>
                <a:lnTo>
                  <a:pt x="3938" y="2469"/>
                </a:lnTo>
                <a:lnTo>
                  <a:pt x="3940" y="2467"/>
                </a:lnTo>
                <a:lnTo>
                  <a:pt x="3943" y="2465"/>
                </a:lnTo>
                <a:lnTo>
                  <a:pt x="3951" y="2462"/>
                </a:lnTo>
                <a:lnTo>
                  <a:pt x="3960" y="2461"/>
                </a:lnTo>
                <a:lnTo>
                  <a:pt x="3979" y="2461"/>
                </a:lnTo>
                <a:lnTo>
                  <a:pt x="4000" y="2462"/>
                </a:lnTo>
                <a:lnTo>
                  <a:pt x="4017" y="2462"/>
                </a:lnTo>
                <a:lnTo>
                  <a:pt x="4044" y="2461"/>
                </a:lnTo>
                <a:lnTo>
                  <a:pt x="4077" y="2460"/>
                </a:lnTo>
                <a:lnTo>
                  <a:pt x="4115" y="2459"/>
                </a:lnTo>
                <a:lnTo>
                  <a:pt x="4152" y="2458"/>
                </a:lnTo>
                <a:lnTo>
                  <a:pt x="4187" y="2457"/>
                </a:lnTo>
                <a:lnTo>
                  <a:pt x="4214" y="2456"/>
                </a:lnTo>
                <a:lnTo>
                  <a:pt x="4231" y="2457"/>
                </a:lnTo>
                <a:lnTo>
                  <a:pt x="4242" y="2457"/>
                </a:lnTo>
                <a:lnTo>
                  <a:pt x="4254" y="2456"/>
                </a:lnTo>
                <a:lnTo>
                  <a:pt x="4264" y="2455"/>
                </a:lnTo>
                <a:lnTo>
                  <a:pt x="4275" y="2453"/>
                </a:lnTo>
                <a:lnTo>
                  <a:pt x="4297" y="2448"/>
                </a:lnTo>
                <a:lnTo>
                  <a:pt x="4317" y="2442"/>
                </a:lnTo>
                <a:lnTo>
                  <a:pt x="4326" y="2439"/>
                </a:lnTo>
                <a:lnTo>
                  <a:pt x="4330" y="2434"/>
                </a:lnTo>
                <a:lnTo>
                  <a:pt x="4330" y="2433"/>
                </a:lnTo>
                <a:lnTo>
                  <a:pt x="4330" y="2431"/>
                </a:lnTo>
                <a:lnTo>
                  <a:pt x="4330" y="2429"/>
                </a:lnTo>
                <a:lnTo>
                  <a:pt x="4329" y="2428"/>
                </a:lnTo>
                <a:lnTo>
                  <a:pt x="4326" y="2422"/>
                </a:lnTo>
                <a:lnTo>
                  <a:pt x="4323" y="2417"/>
                </a:lnTo>
                <a:lnTo>
                  <a:pt x="4321" y="2411"/>
                </a:lnTo>
                <a:lnTo>
                  <a:pt x="4320" y="2403"/>
                </a:lnTo>
                <a:lnTo>
                  <a:pt x="6413" y="3450"/>
                </a:lnTo>
                <a:lnTo>
                  <a:pt x="6470" y="3477"/>
                </a:lnTo>
                <a:lnTo>
                  <a:pt x="6526" y="3502"/>
                </a:lnTo>
                <a:lnTo>
                  <a:pt x="6554" y="3514"/>
                </a:lnTo>
                <a:lnTo>
                  <a:pt x="6582" y="3526"/>
                </a:lnTo>
                <a:lnTo>
                  <a:pt x="6611" y="3537"/>
                </a:lnTo>
                <a:lnTo>
                  <a:pt x="6639" y="3547"/>
                </a:lnTo>
                <a:lnTo>
                  <a:pt x="6669" y="3555"/>
                </a:lnTo>
                <a:lnTo>
                  <a:pt x="6699" y="3563"/>
                </a:lnTo>
                <a:lnTo>
                  <a:pt x="6728" y="3570"/>
                </a:lnTo>
                <a:lnTo>
                  <a:pt x="6759" y="3576"/>
                </a:lnTo>
                <a:lnTo>
                  <a:pt x="6790" y="3580"/>
                </a:lnTo>
                <a:lnTo>
                  <a:pt x="6822" y="3583"/>
                </a:lnTo>
                <a:lnTo>
                  <a:pt x="6853" y="3586"/>
                </a:lnTo>
                <a:lnTo>
                  <a:pt x="6887" y="3587"/>
                </a:lnTo>
                <a:lnTo>
                  <a:pt x="6938" y="3586"/>
                </a:lnTo>
                <a:lnTo>
                  <a:pt x="7031" y="3586"/>
                </a:lnTo>
                <a:lnTo>
                  <a:pt x="7165" y="3586"/>
                </a:lnTo>
                <a:lnTo>
                  <a:pt x="7337" y="3586"/>
                </a:lnTo>
                <a:lnTo>
                  <a:pt x="7543" y="3585"/>
                </a:lnTo>
                <a:lnTo>
                  <a:pt x="7781" y="3585"/>
                </a:lnTo>
                <a:lnTo>
                  <a:pt x="8049" y="3585"/>
                </a:lnTo>
                <a:lnTo>
                  <a:pt x="8344" y="3583"/>
                </a:lnTo>
                <a:lnTo>
                  <a:pt x="8663" y="3583"/>
                </a:lnTo>
                <a:lnTo>
                  <a:pt x="9003" y="3582"/>
                </a:lnTo>
                <a:lnTo>
                  <a:pt x="9363" y="3582"/>
                </a:lnTo>
                <a:lnTo>
                  <a:pt x="9739" y="3582"/>
                </a:lnTo>
                <a:lnTo>
                  <a:pt x="10127" y="3581"/>
                </a:lnTo>
                <a:lnTo>
                  <a:pt x="10526" y="3581"/>
                </a:lnTo>
                <a:lnTo>
                  <a:pt x="10932" y="3580"/>
                </a:lnTo>
                <a:lnTo>
                  <a:pt x="11344" y="3580"/>
                </a:lnTo>
                <a:lnTo>
                  <a:pt x="11342" y="3582"/>
                </a:lnTo>
                <a:lnTo>
                  <a:pt x="11339" y="3585"/>
                </a:lnTo>
                <a:lnTo>
                  <a:pt x="11339" y="3587"/>
                </a:lnTo>
                <a:lnTo>
                  <a:pt x="11339" y="3589"/>
                </a:lnTo>
                <a:lnTo>
                  <a:pt x="11341" y="3594"/>
                </a:lnTo>
                <a:lnTo>
                  <a:pt x="11344" y="3601"/>
                </a:lnTo>
                <a:lnTo>
                  <a:pt x="11354" y="3616"/>
                </a:lnTo>
                <a:lnTo>
                  <a:pt x="11362" y="3632"/>
                </a:lnTo>
                <a:lnTo>
                  <a:pt x="11367" y="3643"/>
                </a:lnTo>
                <a:lnTo>
                  <a:pt x="11373" y="3651"/>
                </a:lnTo>
                <a:lnTo>
                  <a:pt x="11381" y="3660"/>
                </a:lnTo>
                <a:lnTo>
                  <a:pt x="11389" y="3669"/>
                </a:lnTo>
                <a:lnTo>
                  <a:pt x="11412" y="3685"/>
                </a:lnTo>
                <a:lnTo>
                  <a:pt x="11439" y="3704"/>
                </a:lnTo>
                <a:lnTo>
                  <a:pt x="11445" y="3709"/>
                </a:lnTo>
                <a:lnTo>
                  <a:pt x="11451" y="3711"/>
                </a:lnTo>
                <a:lnTo>
                  <a:pt x="11455" y="3713"/>
                </a:lnTo>
                <a:lnTo>
                  <a:pt x="11458" y="3713"/>
                </a:lnTo>
                <a:lnTo>
                  <a:pt x="11461" y="3712"/>
                </a:lnTo>
                <a:lnTo>
                  <a:pt x="11462" y="3711"/>
                </a:lnTo>
                <a:lnTo>
                  <a:pt x="11463" y="3708"/>
                </a:lnTo>
                <a:lnTo>
                  <a:pt x="11464" y="3704"/>
                </a:lnTo>
                <a:lnTo>
                  <a:pt x="11465" y="3697"/>
                </a:lnTo>
                <a:lnTo>
                  <a:pt x="11466" y="3687"/>
                </a:lnTo>
                <a:lnTo>
                  <a:pt x="11468" y="3683"/>
                </a:lnTo>
                <a:lnTo>
                  <a:pt x="11470" y="3678"/>
                </a:lnTo>
                <a:lnTo>
                  <a:pt x="11472" y="3674"/>
                </a:lnTo>
                <a:lnTo>
                  <a:pt x="11477" y="3670"/>
                </a:lnTo>
                <a:lnTo>
                  <a:pt x="11481" y="3667"/>
                </a:lnTo>
                <a:lnTo>
                  <a:pt x="11485" y="3664"/>
                </a:lnTo>
                <a:lnTo>
                  <a:pt x="11490" y="3663"/>
                </a:lnTo>
                <a:lnTo>
                  <a:pt x="11494" y="3662"/>
                </a:lnTo>
                <a:lnTo>
                  <a:pt x="11503" y="3663"/>
                </a:lnTo>
                <a:lnTo>
                  <a:pt x="11510" y="3666"/>
                </a:lnTo>
                <a:lnTo>
                  <a:pt x="11526" y="3675"/>
                </a:lnTo>
                <a:lnTo>
                  <a:pt x="11539" y="3683"/>
                </a:lnTo>
                <a:lnTo>
                  <a:pt x="11557" y="3694"/>
                </a:lnTo>
                <a:lnTo>
                  <a:pt x="11583" y="3712"/>
                </a:lnTo>
                <a:lnTo>
                  <a:pt x="11598" y="3723"/>
                </a:lnTo>
                <a:lnTo>
                  <a:pt x="11614" y="3732"/>
                </a:lnTo>
                <a:lnTo>
                  <a:pt x="11631" y="3741"/>
                </a:lnTo>
                <a:lnTo>
                  <a:pt x="11650" y="3749"/>
                </a:lnTo>
                <a:lnTo>
                  <a:pt x="11658" y="3751"/>
                </a:lnTo>
                <a:lnTo>
                  <a:pt x="11664" y="3754"/>
                </a:lnTo>
                <a:lnTo>
                  <a:pt x="11669" y="3756"/>
                </a:lnTo>
                <a:lnTo>
                  <a:pt x="11672" y="3759"/>
                </a:lnTo>
                <a:lnTo>
                  <a:pt x="11675" y="3762"/>
                </a:lnTo>
                <a:lnTo>
                  <a:pt x="11676" y="3764"/>
                </a:lnTo>
                <a:lnTo>
                  <a:pt x="11677" y="3767"/>
                </a:lnTo>
                <a:lnTo>
                  <a:pt x="11677" y="3769"/>
                </a:lnTo>
                <a:lnTo>
                  <a:pt x="11677" y="3776"/>
                </a:lnTo>
                <a:lnTo>
                  <a:pt x="11678" y="3783"/>
                </a:lnTo>
                <a:lnTo>
                  <a:pt x="11679" y="3788"/>
                </a:lnTo>
                <a:lnTo>
                  <a:pt x="11681" y="3792"/>
                </a:lnTo>
                <a:lnTo>
                  <a:pt x="11685" y="3797"/>
                </a:lnTo>
                <a:lnTo>
                  <a:pt x="11690" y="3803"/>
                </a:lnTo>
                <a:lnTo>
                  <a:pt x="11697" y="3809"/>
                </a:lnTo>
                <a:lnTo>
                  <a:pt x="11707" y="3818"/>
                </a:lnTo>
                <a:lnTo>
                  <a:pt x="11720" y="3826"/>
                </a:lnTo>
                <a:lnTo>
                  <a:pt x="11734" y="3836"/>
                </a:lnTo>
                <a:lnTo>
                  <a:pt x="11768" y="3858"/>
                </a:lnTo>
                <a:lnTo>
                  <a:pt x="11802" y="3878"/>
                </a:lnTo>
                <a:lnTo>
                  <a:pt x="11835" y="3899"/>
                </a:lnTo>
                <a:lnTo>
                  <a:pt x="11861" y="3915"/>
                </a:lnTo>
                <a:lnTo>
                  <a:pt x="11869" y="3921"/>
                </a:lnTo>
                <a:lnTo>
                  <a:pt x="11876" y="3926"/>
                </a:lnTo>
                <a:lnTo>
                  <a:pt x="11878" y="3927"/>
                </a:lnTo>
                <a:lnTo>
                  <a:pt x="11879" y="3928"/>
                </a:lnTo>
                <a:lnTo>
                  <a:pt x="11879" y="3929"/>
                </a:lnTo>
                <a:lnTo>
                  <a:pt x="11878" y="3929"/>
                </a:lnTo>
                <a:lnTo>
                  <a:pt x="11865" y="3927"/>
                </a:lnTo>
                <a:lnTo>
                  <a:pt x="11852" y="3925"/>
                </a:lnTo>
                <a:lnTo>
                  <a:pt x="11833" y="3921"/>
                </a:lnTo>
                <a:lnTo>
                  <a:pt x="11804" y="3915"/>
                </a:lnTo>
                <a:lnTo>
                  <a:pt x="11789" y="3911"/>
                </a:lnTo>
                <a:lnTo>
                  <a:pt x="11778" y="3906"/>
                </a:lnTo>
                <a:lnTo>
                  <a:pt x="11771" y="3901"/>
                </a:lnTo>
                <a:lnTo>
                  <a:pt x="11762" y="3897"/>
                </a:lnTo>
                <a:lnTo>
                  <a:pt x="11752" y="3892"/>
                </a:lnTo>
                <a:lnTo>
                  <a:pt x="11738" y="3887"/>
                </a:lnTo>
                <a:lnTo>
                  <a:pt x="11718" y="3882"/>
                </a:lnTo>
                <a:lnTo>
                  <a:pt x="11690" y="3876"/>
                </a:lnTo>
                <a:lnTo>
                  <a:pt x="11676" y="3874"/>
                </a:lnTo>
                <a:lnTo>
                  <a:pt x="11664" y="3873"/>
                </a:lnTo>
                <a:lnTo>
                  <a:pt x="11656" y="3873"/>
                </a:lnTo>
                <a:lnTo>
                  <a:pt x="11651" y="3874"/>
                </a:lnTo>
                <a:lnTo>
                  <a:pt x="11649" y="3875"/>
                </a:lnTo>
                <a:lnTo>
                  <a:pt x="11648" y="3878"/>
                </a:lnTo>
                <a:lnTo>
                  <a:pt x="11650" y="3882"/>
                </a:lnTo>
                <a:lnTo>
                  <a:pt x="11652" y="3885"/>
                </a:lnTo>
                <a:lnTo>
                  <a:pt x="11661" y="3892"/>
                </a:lnTo>
                <a:lnTo>
                  <a:pt x="11670" y="3901"/>
                </a:lnTo>
                <a:lnTo>
                  <a:pt x="11679" y="3910"/>
                </a:lnTo>
                <a:lnTo>
                  <a:pt x="11684" y="3916"/>
                </a:lnTo>
                <a:lnTo>
                  <a:pt x="11688" y="3924"/>
                </a:lnTo>
                <a:lnTo>
                  <a:pt x="11689" y="3928"/>
                </a:lnTo>
                <a:lnTo>
                  <a:pt x="11690" y="3937"/>
                </a:lnTo>
                <a:lnTo>
                  <a:pt x="11691" y="3953"/>
                </a:lnTo>
                <a:lnTo>
                  <a:pt x="11692" y="3963"/>
                </a:lnTo>
                <a:lnTo>
                  <a:pt x="11690" y="3968"/>
                </a:lnTo>
                <a:lnTo>
                  <a:pt x="11689" y="3969"/>
                </a:lnTo>
                <a:lnTo>
                  <a:pt x="11688" y="3970"/>
                </a:lnTo>
                <a:lnTo>
                  <a:pt x="11685" y="3970"/>
                </a:lnTo>
                <a:lnTo>
                  <a:pt x="11683" y="3970"/>
                </a:lnTo>
                <a:lnTo>
                  <a:pt x="11671" y="3964"/>
                </a:lnTo>
                <a:lnTo>
                  <a:pt x="11655" y="3956"/>
                </a:lnTo>
                <a:lnTo>
                  <a:pt x="11648" y="3954"/>
                </a:lnTo>
                <a:lnTo>
                  <a:pt x="11641" y="3953"/>
                </a:lnTo>
                <a:lnTo>
                  <a:pt x="11636" y="3954"/>
                </a:lnTo>
                <a:lnTo>
                  <a:pt x="11631" y="3955"/>
                </a:lnTo>
                <a:lnTo>
                  <a:pt x="11627" y="3958"/>
                </a:lnTo>
                <a:lnTo>
                  <a:pt x="11625" y="3960"/>
                </a:lnTo>
                <a:lnTo>
                  <a:pt x="11629" y="3965"/>
                </a:lnTo>
                <a:lnTo>
                  <a:pt x="11634" y="3971"/>
                </a:lnTo>
                <a:lnTo>
                  <a:pt x="11637" y="3979"/>
                </a:lnTo>
                <a:lnTo>
                  <a:pt x="11638" y="3986"/>
                </a:lnTo>
                <a:lnTo>
                  <a:pt x="11637" y="3991"/>
                </a:lnTo>
                <a:lnTo>
                  <a:pt x="11636" y="3994"/>
                </a:lnTo>
                <a:lnTo>
                  <a:pt x="11632" y="3998"/>
                </a:lnTo>
                <a:lnTo>
                  <a:pt x="11629" y="4001"/>
                </a:lnTo>
                <a:lnTo>
                  <a:pt x="11624" y="4004"/>
                </a:lnTo>
                <a:lnTo>
                  <a:pt x="11617" y="4007"/>
                </a:lnTo>
                <a:lnTo>
                  <a:pt x="11609" y="4009"/>
                </a:lnTo>
                <a:lnTo>
                  <a:pt x="11599" y="4010"/>
                </a:lnTo>
                <a:lnTo>
                  <a:pt x="16307" y="4013"/>
                </a:lnTo>
                <a:lnTo>
                  <a:pt x="16312" y="4013"/>
                </a:lnTo>
                <a:lnTo>
                  <a:pt x="16312" y="3578"/>
                </a:lnTo>
                <a:lnTo>
                  <a:pt x="16181" y="3578"/>
                </a:lnTo>
                <a:lnTo>
                  <a:pt x="16026" y="3578"/>
                </a:lnTo>
                <a:lnTo>
                  <a:pt x="15846" y="3578"/>
                </a:lnTo>
                <a:lnTo>
                  <a:pt x="15645" y="3578"/>
                </a:lnTo>
                <a:lnTo>
                  <a:pt x="15422" y="3578"/>
                </a:lnTo>
                <a:lnTo>
                  <a:pt x="15182" y="3578"/>
                </a:lnTo>
                <a:lnTo>
                  <a:pt x="14924" y="3578"/>
                </a:lnTo>
                <a:lnTo>
                  <a:pt x="14651" y="3578"/>
                </a:lnTo>
                <a:lnTo>
                  <a:pt x="14363" y="3578"/>
                </a:lnTo>
                <a:lnTo>
                  <a:pt x="14062" y="3578"/>
                </a:lnTo>
                <a:lnTo>
                  <a:pt x="13751" y="3578"/>
                </a:lnTo>
                <a:lnTo>
                  <a:pt x="13430" y="3578"/>
                </a:lnTo>
                <a:lnTo>
                  <a:pt x="13101" y="3579"/>
                </a:lnTo>
                <a:lnTo>
                  <a:pt x="12766" y="3579"/>
                </a:lnTo>
                <a:lnTo>
                  <a:pt x="12427" y="3579"/>
                </a:lnTo>
                <a:lnTo>
                  <a:pt x="12083" y="3579"/>
                </a:lnTo>
                <a:lnTo>
                  <a:pt x="12062" y="3562"/>
                </a:lnTo>
                <a:lnTo>
                  <a:pt x="12042" y="3545"/>
                </a:lnTo>
                <a:lnTo>
                  <a:pt x="12027" y="3533"/>
                </a:lnTo>
                <a:lnTo>
                  <a:pt x="12022" y="3528"/>
                </a:lnTo>
                <a:lnTo>
                  <a:pt x="12022" y="3527"/>
                </a:lnTo>
                <a:lnTo>
                  <a:pt x="12022" y="3526"/>
                </a:lnTo>
                <a:lnTo>
                  <a:pt x="15921" y="3525"/>
                </a:lnTo>
                <a:lnTo>
                  <a:pt x="15922" y="3099"/>
                </a:lnTo>
                <a:lnTo>
                  <a:pt x="15747" y="3099"/>
                </a:lnTo>
                <a:lnTo>
                  <a:pt x="15546" y="3099"/>
                </a:lnTo>
                <a:lnTo>
                  <a:pt x="15322" y="3099"/>
                </a:lnTo>
                <a:lnTo>
                  <a:pt x="15078" y="3097"/>
                </a:lnTo>
                <a:lnTo>
                  <a:pt x="14814" y="3097"/>
                </a:lnTo>
                <a:lnTo>
                  <a:pt x="14533" y="3097"/>
                </a:lnTo>
                <a:lnTo>
                  <a:pt x="14234" y="3096"/>
                </a:lnTo>
                <a:lnTo>
                  <a:pt x="13923" y="3096"/>
                </a:lnTo>
                <a:lnTo>
                  <a:pt x="13599" y="3095"/>
                </a:lnTo>
                <a:lnTo>
                  <a:pt x="13263" y="3095"/>
                </a:lnTo>
                <a:lnTo>
                  <a:pt x="12919" y="3094"/>
                </a:lnTo>
                <a:lnTo>
                  <a:pt x="12567" y="3094"/>
                </a:lnTo>
                <a:lnTo>
                  <a:pt x="12210" y="3093"/>
                </a:lnTo>
                <a:lnTo>
                  <a:pt x="11849" y="3093"/>
                </a:lnTo>
                <a:lnTo>
                  <a:pt x="11484" y="3092"/>
                </a:lnTo>
                <a:lnTo>
                  <a:pt x="11121" y="3092"/>
                </a:lnTo>
                <a:lnTo>
                  <a:pt x="11094" y="3077"/>
                </a:lnTo>
                <a:lnTo>
                  <a:pt x="11070" y="3064"/>
                </a:lnTo>
                <a:lnTo>
                  <a:pt x="11048" y="3053"/>
                </a:lnTo>
                <a:lnTo>
                  <a:pt x="11026" y="3045"/>
                </a:lnTo>
                <a:lnTo>
                  <a:pt x="11004" y="3038"/>
                </a:lnTo>
                <a:lnTo>
                  <a:pt x="10982" y="3033"/>
                </a:lnTo>
                <a:lnTo>
                  <a:pt x="10956" y="3028"/>
                </a:lnTo>
                <a:lnTo>
                  <a:pt x="10927" y="3024"/>
                </a:lnTo>
                <a:lnTo>
                  <a:pt x="10908" y="3022"/>
                </a:lnTo>
                <a:lnTo>
                  <a:pt x="10892" y="3019"/>
                </a:lnTo>
                <a:lnTo>
                  <a:pt x="10877" y="3015"/>
                </a:lnTo>
                <a:lnTo>
                  <a:pt x="10862" y="3012"/>
                </a:lnTo>
                <a:lnTo>
                  <a:pt x="10836" y="3003"/>
                </a:lnTo>
                <a:lnTo>
                  <a:pt x="10811" y="2996"/>
                </a:lnTo>
                <a:lnTo>
                  <a:pt x="10784" y="2988"/>
                </a:lnTo>
                <a:lnTo>
                  <a:pt x="10755" y="2982"/>
                </a:lnTo>
                <a:lnTo>
                  <a:pt x="10737" y="2979"/>
                </a:lnTo>
                <a:lnTo>
                  <a:pt x="10719" y="2978"/>
                </a:lnTo>
                <a:lnTo>
                  <a:pt x="10697" y="2976"/>
                </a:lnTo>
                <a:lnTo>
                  <a:pt x="10675" y="2975"/>
                </a:lnTo>
                <a:lnTo>
                  <a:pt x="10631" y="2976"/>
                </a:lnTo>
                <a:lnTo>
                  <a:pt x="10598" y="2979"/>
                </a:lnTo>
                <a:lnTo>
                  <a:pt x="10571" y="2981"/>
                </a:lnTo>
                <a:lnTo>
                  <a:pt x="10549" y="2982"/>
                </a:lnTo>
                <a:lnTo>
                  <a:pt x="10529" y="2982"/>
                </a:lnTo>
                <a:lnTo>
                  <a:pt x="10508" y="2981"/>
                </a:lnTo>
                <a:lnTo>
                  <a:pt x="10497" y="2979"/>
                </a:lnTo>
                <a:lnTo>
                  <a:pt x="10486" y="2975"/>
                </a:lnTo>
                <a:lnTo>
                  <a:pt x="10471" y="2972"/>
                </a:lnTo>
                <a:lnTo>
                  <a:pt x="10457" y="2967"/>
                </a:lnTo>
                <a:lnTo>
                  <a:pt x="10429" y="2958"/>
                </a:lnTo>
                <a:lnTo>
                  <a:pt x="10408" y="2952"/>
                </a:lnTo>
                <a:lnTo>
                  <a:pt x="10391" y="2948"/>
                </a:lnTo>
                <a:lnTo>
                  <a:pt x="10380" y="2947"/>
                </a:lnTo>
                <a:lnTo>
                  <a:pt x="10376" y="2947"/>
                </a:lnTo>
                <a:lnTo>
                  <a:pt x="10374" y="2948"/>
                </a:lnTo>
                <a:lnTo>
                  <a:pt x="10373" y="2951"/>
                </a:lnTo>
                <a:lnTo>
                  <a:pt x="10373" y="2952"/>
                </a:lnTo>
                <a:lnTo>
                  <a:pt x="10376" y="2957"/>
                </a:lnTo>
                <a:lnTo>
                  <a:pt x="10383" y="2965"/>
                </a:lnTo>
                <a:lnTo>
                  <a:pt x="10410" y="2984"/>
                </a:lnTo>
                <a:lnTo>
                  <a:pt x="10448" y="3010"/>
                </a:lnTo>
                <a:lnTo>
                  <a:pt x="10489" y="3036"/>
                </a:lnTo>
                <a:lnTo>
                  <a:pt x="10520" y="3055"/>
                </a:lnTo>
                <a:lnTo>
                  <a:pt x="10527" y="3061"/>
                </a:lnTo>
                <a:lnTo>
                  <a:pt x="10531" y="3066"/>
                </a:lnTo>
                <a:lnTo>
                  <a:pt x="10531" y="3068"/>
                </a:lnTo>
                <a:lnTo>
                  <a:pt x="10531" y="3072"/>
                </a:lnTo>
                <a:lnTo>
                  <a:pt x="10531" y="3074"/>
                </a:lnTo>
                <a:lnTo>
                  <a:pt x="10529" y="3076"/>
                </a:lnTo>
                <a:lnTo>
                  <a:pt x="10524" y="3080"/>
                </a:lnTo>
                <a:lnTo>
                  <a:pt x="10518" y="3083"/>
                </a:lnTo>
                <a:lnTo>
                  <a:pt x="10510" y="3088"/>
                </a:lnTo>
                <a:lnTo>
                  <a:pt x="10501" y="3091"/>
                </a:lnTo>
                <a:lnTo>
                  <a:pt x="10473" y="3091"/>
                </a:lnTo>
                <a:lnTo>
                  <a:pt x="10444" y="3091"/>
                </a:lnTo>
                <a:lnTo>
                  <a:pt x="10416" y="3091"/>
                </a:lnTo>
                <a:lnTo>
                  <a:pt x="10389" y="3091"/>
                </a:lnTo>
                <a:lnTo>
                  <a:pt x="10383" y="3088"/>
                </a:lnTo>
                <a:lnTo>
                  <a:pt x="10377" y="3084"/>
                </a:lnTo>
                <a:lnTo>
                  <a:pt x="10337" y="3064"/>
                </a:lnTo>
                <a:lnTo>
                  <a:pt x="10295" y="3042"/>
                </a:lnTo>
                <a:lnTo>
                  <a:pt x="10275" y="3033"/>
                </a:lnTo>
                <a:lnTo>
                  <a:pt x="10254" y="3024"/>
                </a:lnTo>
                <a:lnTo>
                  <a:pt x="10235" y="3018"/>
                </a:lnTo>
                <a:lnTo>
                  <a:pt x="10216" y="3013"/>
                </a:lnTo>
                <a:lnTo>
                  <a:pt x="10201" y="3011"/>
                </a:lnTo>
                <a:lnTo>
                  <a:pt x="10189" y="3011"/>
                </a:lnTo>
                <a:lnTo>
                  <a:pt x="10177" y="3013"/>
                </a:lnTo>
                <a:lnTo>
                  <a:pt x="10166" y="3016"/>
                </a:lnTo>
                <a:lnTo>
                  <a:pt x="10149" y="3019"/>
                </a:lnTo>
                <a:lnTo>
                  <a:pt x="10129" y="3021"/>
                </a:lnTo>
                <a:lnTo>
                  <a:pt x="10102" y="3022"/>
                </a:lnTo>
                <a:lnTo>
                  <a:pt x="10065" y="3022"/>
                </a:lnTo>
                <a:lnTo>
                  <a:pt x="10019" y="3019"/>
                </a:lnTo>
                <a:lnTo>
                  <a:pt x="9967" y="3016"/>
                </a:lnTo>
                <a:lnTo>
                  <a:pt x="9912" y="3013"/>
                </a:lnTo>
                <a:lnTo>
                  <a:pt x="9855" y="3010"/>
                </a:lnTo>
                <a:lnTo>
                  <a:pt x="9801" y="3006"/>
                </a:lnTo>
                <a:lnTo>
                  <a:pt x="9752" y="3002"/>
                </a:lnTo>
                <a:lnTo>
                  <a:pt x="9708" y="2999"/>
                </a:lnTo>
                <a:lnTo>
                  <a:pt x="9675" y="2996"/>
                </a:lnTo>
                <a:lnTo>
                  <a:pt x="9651" y="2992"/>
                </a:lnTo>
                <a:lnTo>
                  <a:pt x="9635" y="2988"/>
                </a:lnTo>
                <a:lnTo>
                  <a:pt x="9629" y="2985"/>
                </a:lnTo>
                <a:lnTo>
                  <a:pt x="9624" y="2983"/>
                </a:lnTo>
                <a:lnTo>
                  <a:pt x="9621" y="2981"/>
                </a:lnTo>
                <a:lnTo>
                  <a:pt x="9616" y="2978"/>
                </a:lnTo>
                <a:lnTo>
                  <a:pt x="9611" y="2971"/>
                </a:lnTo>
                <a:lnTo>
                  <a:pt x="9605" y="2965"/>
                </a:lnTo>
                <a:lnTo>
                  <a:pt x="9595" y="2956"/>
                </a:lnTo>
                <a:lnTo>
                  <a:pt x="9581" y="2947"/>
                </a:lnTo>
                <a:lnTo>
                  <a:pt x="9563" y="2935"/>
                </a:lnTo>
                <a:lnTo>
                  <a:pt x="9546" y="2922"/>
                </a:lnTo>
                <a:lnTo>
                  <a:pt x="9529" y="2908"/>
                </a:lnTo>
                <a:lnTo>
                  <a:pt x="9510" y="2894"/>
                </a:lnTo>
                <a:lnTo>
                  <a:pt x="9501" y="2887"/>
                </a:lnTo>
                <a:lnTo>
                  <a:pt x="9491" y="2880"/>
                </a:lnTo>
                <a:lnTo>
                  <a:pt x="9480" y="2873"/>
                </a:lnTo>
                <a:lnTo>
                  <a:pt x="9468" y="2867"/>
                </a:lnTo>
                <a:lnTo>
                  <a:pt x="9456" y="2862"/>
                </a:lnTo>
                <a:lnTo>
                  <a:pt x="9445" y="2857"/>
                </a:lnTo>
                <a:lnTo>
                  <a:pt x="9432" y="2852"/>
                </a:lnTo>
                <a:lnTo>
                  <a:pt x="9418" y="2849"/>
                </a:lnTo>
                <a:lnTo>
                  <a:pt x="9389" y="2845"/>
                </a:lnTo>
                <a:lnTo>
                  <a:pt x="9363" y="2840"/>
                </a:lnTo>
                <a:lnTo>
                  <a:pt x="9339" y="2836"/>
                </a:lnTo>
                <a:lnTo>
                  <a:pt x="9315" y="2833"/>
                </a:lnTo>
                <a:lnTo>
                  <a:pt x="9291" y="2831"/>
                </a:lnTo>
                <a:lnTo>
                  <a:pt x="9266" y="2829"/>
                </a:lnTo>
                <a:lnTo>
                  <a:pt x="9239" y="2827"/>
                </a:lnTo>
                <a:lnTo>
                  <a:pt x="9211" y="2826"/>
                </a:lnTo>
                <a:lnTo>
                  <a:pt x="9197" y="2827"/>
                </a:lnTo>
                <a:lnTo>
                  <a:pt x="9186" y="2827"/>
                </a:lnTo>
                <a:lnTo>
                  <a:pt x="9178" y="2829"/>
                </a:lnTo>
                <a:lnTo>
                  <a:pt x="9170" y="2831"/>
                </a:lnTo>
                <a:lnTo>
                  <a:pt x="9158" y="2834"/>
                </a:lnTo>
                <a:lnTo>
                  <a:pt x="9147" y="2837"/>
                </a:lnTo>
                <a:lnTo>
                  <a:pt x="9141" y="2838"/>
                </a:lnTo>
                <a:lnTo>
                  <a:pt x="9134" y="2839"/>
                </a:lnTo>
                <a:lnTo>
                  <a:pt x="9125" y="2840"/>
                </a:lnTo>
                <a:lnTo>
                  <a:pt x="9114" y="2840"/>
                </a:lnTo>
                <a:lnTo>
                  <a:pt x="9083" y="2838"/>
                </a:lnTo>
                <a:lnTo>
                  <a:pt x="9039" y="2833"/>
                </a:lnTo>
                <a:lnTo>
                  <a:pt x="8991" y="2824"/>
                </a:lnTo>
                <a:lnTo>
                  <a:pt x="8951" y="2816"/>
                </a:lnTo>
                <a:lnTo>
                  <a:pt x="8918" y="2807"/>
                </a:lnTo>
                <a:lnTo>
                  <a:pt x="8890" y="2799"/>
                </a:lnTo>
                <a:lnTo>
                  <a:pt x="8866" y="2794"/>
                </a:lnTo>
                <a:lnTo>
                  <a:pt x="8844" y="2790"/>
                </a:lnTo>
                <a:lnTo>
                  <a:pt x="8834" y="2789"/>
                </a:lnTo>
                <a:lnTo>
                  <a:pt x="8823" y="2790"/>
                </a:lnTo>
                <a:lnTo>
                  <a:pt x="8812" y="2791"/>
                </a:lnTo>
                <a:lnTo>
                  <a:pt x="8801" y="2792"/>
                </a:lnTo>
                <a:lnTo>
                  <a:pt x="8768" y="2802"/>
                </a:lnTo>
                <a:lnTo>
                  <a:pt x="8749" y="2807"/>
                </a:lnTo>
                <a:lnTo>
                  <a:pt x="8743" y="2809"/>
                </a:lnTo>
                <a:lnTo>
                  <a:pt x="8735" y="2810"/>
                </a:lnTo>
                <a:lnTo>
                  <a:pt x="8727" y="2810"/>
                </a:lnTo>
                <a:lnTo>
                  <a:pt x="8715" y="2809"/>
                </a:lnTo>
                <a:lnTo>
                  <a:pt x="8702" y="2808"/>
                </a:lnTo>
                <a:lnTo>
                  <a:pt x="8691" y="2808"/>
                </a:lnTo>
                <a:lnTo>
                  <a:pt x="8681" y="2806"/>
                </a:lnTo>
                <a:lnTo>
                  <a:pt x="8676" y="2805"/>
                </a:lnTo>
                <a:lnTo>
                  <a:pt x="8674" y="2804"/>
                </a:lnTo>
                <a:lnTo>
                  <a:pt x="8674" y="2802"/>
                </a:lnTo>
                <a:lnTo>
                  <a:pt x="8674" y="2800"/>
                </a:lnTo>
                <a:lnTo>
                  <a:pt x="8675" y="2798"/>
                </a:lnTo>
                <a:lnTo>
                  <a:pt x="8681" y="2793"/>
                </a:lnTo>
                <a:lnTo>
                  <a:pt x="8692" y="2786"/>
                </a:lnTo>
                <a:lnTo>
                  <a:pt x="8700" y="2783"/>
                </a:lnTo>
                <a:lnTo>
                  <a:pt x="8707" y="2780"/>
                </a:lnTo>
                <a:lnTo>
                  <a:pt x="8716" y="2778"/>
                </a:lnTo>
                <a:lnTo>
                  <a:pt x="8725" y="2776"/>
                </a:lnTo>
                <a:lnTo>
                  <a:pt x="8742" y="2772"/>
                </a:lnTo>
                <a:lnTo>
                  <a:pt x="8756" y="2769"/>
                </a:lnTo>
                <a:lnTo>
                  <a:pt x="8761" y="2768"/>
                </a:lnTo>
                <a:lnTo>
                  <a:pt x="8765" y="2766"/>
                </a:lnTo>
                <a:lnTo>
                  <a:pt x="8767" y="2764"/>
                </a:lnTo>
                <a:lnTo>
                  <a:pt x="8768" y="2762"/>
                </a:lnTo>
                <a:lnTo>
                  <a:pt x="8766" y="2759"/>
                </a:lnTo>
                <a:lnTo>
                  <a:pt x="8761" y="2757"/>
                </a:lnTo>
                <a:lnTo>
                  <a:pt x="8754" y="2753"/>
                </a:lnTo>
                <a:lnTo>
                  <a:pt x="8744" y="2750"/>
                </a:lnTo>
                <a:lnTo>
                  <a:pt x="8705" y="2736"/>
                </a:lnTo>
                <a:lnTo>
                  <a:pt x="8677" y="2727"/>
                </a:lnTo>
                <a:lnTo>
                  <a:pt x="8666" y="2724"/>
                </a:lnTo>
                <a:lnTo>
                  <a:pt x="8654" y="2722"/>
                </a:lnTo>
                <a:lnTo>
                  <a:pt x="8641" y="2721"/>
                </a:lnTo>
                <a:lnTo>
                  <a:pt x="8626" y="2721"/>
                </a:lnTo>
                <a:lnTo>
                  <a:pt x="8611" y="2719"/>
                </a:lnTo>
                <a:lnTo>
                  <a:pt x="8599" y="2717"/>
                </a:lnTo>
                <a:lnTo>
                  <a:pt x="8589" y="2714"/>
                </a:lnTo>
                <a:lnTo>
                  <a:pt x="8581" y="2710"/>
                </a:lnTo>
                <a:lnTo>
                  <a:pt x="8574" y="2704"/>
                </a:lnTo>
                <a:lnTo>
                  <a:pt x="8568" y="2698"/>
                </a:lnTo>
                <a:lnTo>
                  <a:pt x="8562" y="2691"/>
                </a:lnTo>
                <a:lnTo>
                  <a:pt x="8557" y="2684"/>
                </a:lnTo>
                <a:lnTo>
                  <a:pt x="8551" y="2670"/>
                </a:lnTo>
                <a:lnTo>
                  <a:pt x="8545" y="2658"/>
                </a:lnTo>
                <a:lnTo>
                  <a:pt x="8543" y="2656"/>
                </a:lnTo>
                <a:lnTo>
                  <a:pt x="8540" y="2654"/>
                </a:lnTo>
                <a:lnTo>
                  <a:pt x="8537" y="2651"/>
                </a:lnTo>
                <a:lnTo>
                  <a:pt x="8531" y="2650"/>
                </a:lnTo>
                <a:lnTo>
                  <a:pt x="8518" y="2649"/>
                </a:lnTo>
                <a:lnTo>
                  <a:pt x="8500" y="2649"/>
                </a:lnTo>
                <a:lnTo>
                  <a:pt x="8482" y="2650"/>
                </a:lnTo>
                <a:lnTo>
                  <a:pt x="8471" y="2652"/>
                </a:lnTo>
                <a:lnTo>
                  <a:pt x="8463" y="2656"/>
                </a:lnTo>
                <a:lnTo>
                  <a:pt x="8459" y="2659"/>
                </a:lnTo>
                <a:lnTo>
                  <a:pt x="8455" y="2664"/>
                </a:lnTo>
                <a:lnTo>
                  <a:pt x="8451" y="2670"/>
                </a:lnTo>
                <a:lnTo>
                  <a:pt x="8445" y="2677"/>
                </a:lnTo>
                <a:lnTo>
                  <a:pt x="8434" y="2686"/>
                </a:lnTo>
                <a:lnTo>
                  <a:pt x="8420" y="2696"/>
                </a:lnTo>
                <a:lnTo>
                  <a:pt x="8405" y="2703"/>
                </a:lnTo>
                <a:lnTo>
                  <a:pt x="8387" y="2710"/>
                </a:lnTo>
                <a:lnTo>
                  <a:pt x="8371" y="2713"/>
                </a:lnTo>
                <a:lnTo>
                  <a:pt x="8362" y="2714"/>
                </a:lnTo>
                <a:lnTo>
                  <a:pt x="8355" y="2715"/>
                </a:lnTo>
                <a:lnTo>
                  <a:pt x="8347" y="2715"/>
                </a:lnTo>
                <a:lnTo>
                  <a:pt x="8340" y="2714"/>
                </a:lnTo>
                <a:lnTo>
                  <a:pt x="8333" y="2713"/>
                </a:lnTo>
                <a:lnTo>
                  <a:pt x="8328" y="2711"/>
                </a:lnTo>
                <a:lnTo>
                  <a:pt x="8324" y="2708"/>
                </a:lnTo>
                <a:lnTo>
                  <a:pt x="8319" y="2703"/>
                </a:lnTo>
                <a:lnTo>
                  <a:pt x="8315" y="2696"/>
                </a:lnTo>
                <a:lnTo>
                  <a:pt x="8313" y="2688"/>
                </a:lnTo>
                <a:lnTo>
                  <a:pt x="8311" y="2683"/>
                </a:lnTo>
                <a:lnTo>
                  <a:pt x="8309" y="2677"/>
                </a:lnTo>
                <a:lnTo>
                  <a:pt x="8308" y="2675"/>
                </a:lnTo>
                <a:lnTo>
                  <a:pt x="8306" y="2673"/>
                </a:lnTo>
                <a:lnTo>
                  <a:pt x="8304" y="2671"/>
                </a:lnTo>
                <a:lnTo>
                  <a:pt x="8302" y="2669"/>
                </a:lnTo>
                <a:lnTo>
                  <a:pt x="8293" y="2665"/>
                </a:lnTo>
                <a:lnTo>
                  <a:pt x="8279" y="2663"/>
                </a:lnTo>
                <a:lnTo>
                  <a:pt x="8265" y="2661"/>
                </a:lnTo>
                <a:lnTo>
                  <a:pt x="8255" y="2660"/>
                </a:lnTo>
                <a:lnTo>
                  <a:pt x="8248" y="2658"/>
                </a:lnTo>
                <a:lnTo>
                  <a:pt x="8241" y="2656"/>
                </a:lnTo>
                <a:lnTo>
                  <a:pt x="8232" y="2648"/>
                </a:lnTo>
                <a:lnTo>
                  <a:pt x="8217" y="2635"/>
                </a:lnTo>
                <a:lnTo>
                  <a:pt x="8204" y="2621"/>
                </a:lnTo>
                <a:lnTo>
                  <a:pt x="8194" y="2614"/>
                </a:lnTo>
                <a:lnTo>
                  <a:pt x="8186" y="2611"/>
                </a:lnTo>
                <a:lnTo>
                  <a:pt x="8174" y="2610"/>
                </a:lnTo>
                <a:lnTo>
                  <a:pt x="8156" y="2609"/>
                </a:lnTo>
                <a:lnTo>
                  <a:pt x="8131" y="2609"/>
                </a:lnTo>
                <a:lnTo>
                  <a:pt x="8102" y="2609"/>
                </a:lnTo>
                <a:lnTo>
                  <a:pt x="8076" y="2610"/>
                </a:lnTo>
                <a:lnTo>
                  <a:pt x="8054" y="2611"/>
                </a:lnTo>
                <a:lnTo>
                  <a:pt x="8036" y="2614"/>
                </a:lnTo>
                <a:lnTo>
                  <a:pt x="8028" y="2616"/>
                </a:lnTo>
                <a:lnTo>
                  <a:pt x="8022" y="2618"/>
                </a:lnTo>
                <a:lnTo>
                  <a:pt x="8017" y="2621"/>
                </a:lnTo>
                <a:lnTo>
                  <a:pt x="8013" y="2623"/>
                </a:lnTo>
                <a:lnTo>
                  <a:pt x="8010" y="2627"/>
                </a:lnTo>
                <a:lnTo>
                  <a:pt x="8009" y="2631"/>
                </a:lnTo>
                <a:lnTo>
                  <a:pt x="8009" y="2635"/>
                </a:lnTo>
                <a:lnTo>
                  <a:pt x="8010" y="2641"/>
                </a:lnTo>
                <a:lnTo>
                  <a:pt x="8013" y="2646"/>
                </a:lnTo>
                <a:lnTo>
                  <a:pt x="8018" y="2651"/>
                </a:lnTo>
                <a:lnTo>
                  <a:pt x="8023" y="2657"/>
                </a:lnTo>
                <a:lnTo>
                  <a:pt x="8031" y="2663"/>
                </a:lnTo>
                <a:lnTo>
                  <a:pt x="8046" y="2675"/>
                </a:lnTo>
                <a:lnTo>
                  <a:pt x="8063" y="2686"/>
                </a:lnTo>
                <a:lnTo>
                  <a:pt x="8078" y="2698"/>
                </a:lnTo>
                <a:lnTo>
                  <a:pt x="8092" y="2710"/>
                </a:lnTo>
                <a:lnTo>
                  <a:pt x="8097" y="2715"/>
                </a:lnTo>
                <a:lnTo>
                  <a:pt x="8100" y="2722"/>
                </a:lnTo>
                <a:lnTo>
                  <a:pt x="8102" y="2727"/>
                </a:lnTo>
                <a:lnTo>
                  <a:pt x="8102" y="2732"/>
                </a:lnTo>
                <a:lnTo>
                  <a:pt x="8101" y="2737"/>
                </a:lnTo>
                <a:lnTo>
                  <a:pt x="8099" y="2741"/>
                </a:lnTo>
                <a:lnTo>
                  <a:pt x="8095" y="2744"/>
                </a:lnTo>
                <a:lnTo>
                  <a:pt x="8091" y="2745"/>
                </a:lnTo>
                <a:lnTo>
                  <a:pt x="8082" y="2749"/>
                </a:lnTo>
                <a:lnTo>
                  <a:pt x="8072" y="2750"/>
                </a:lnTo>
                <a:lnTo>
                  <a:pt x="8060" y="2750"/>
                </a:lnTo>
                <a:lnTo>
                  <a:pt x="8048" y="2751"/>
                </a:lnTo>
                <a:lnTo>
                  <a:pt x="8041" y="2752"/>
                </a:lnTo>
                <a:lnTo>
                  <a:pt x="8036" y="2753"/>
                </a:lnTo>
                <a:lnTo>
                  <a:pt x="8031" y="2755"/>
                </a:lnTo>
                <a:lnTo>
                  <a:pt x="8024" y="2758"/>
                </a:lnTo>
                <a:lnTo>
                  <a:pt x="8020" y="2762"/>
                </a:lnTo>
                <a:lnTo>
                  <a:pt x="8018" y="2765"/>
                </a:lnTo>
                <a:lnTo>
                  <a:pt x="8015" y="2768"/>
                </a:lnTo>
                <a:lnTo>
                  <a:pt x="8015" y="2771"/>
                </a:lnTo>
                <a:lnTo>
                  <a:pt x="8017" y="2777"/>
                </a:lnTo>
                <a:lnTo>
                  <a:pt x="8018" y="2783"/>
                </a:lnTo>
                <a:lnTo>
                  <a:pt x="8018" y="2785"/>
                </a:lnTo>
                <a:lnTo>
                  <a:pt x="8017" y="2787"/>
                </a:lnTo>
                <a:lnTo>
                  <a:pt x="8014" y="2789"/>
                </a:lnTo>
                <a:lnTo>
                  <a:pt x="8011" y="2791"/>
                </a:lnTo>
                <a:lnTo>
                  <a:pt x="8006" y="2792"/>
                </a:lnTo>
                <a:lnTo>
                  <a:pt x="7998" y="2793"/>
                </a:lnTo>
                <a:lnTo>
                  <a:pt x="7988" y="2793"/>
                </a:lnTo>
                <a:lnTo>
                  <a:pt x="7975" y="2792"/>
                </a:lnTo>
                <a:lnTo>
                  <a:pt x="7953" y="2792"/>
                </a:lnTo>
                <a:lnTo>
                  <a:pt x="7937" y="2791"/>
                </a:lnTo>
                <a:lnTo>
                  <a:pt x="7925" y="2789"/>
                </a:lnTo>
                <a:lnTo>
                  <a:pt x="7916" y="2786"/>
                </a:lnTo>
                <a:lnTo>
                  <a:pt x="7906" y="2783"/>
                </a:lnTo>
                <a:lnTo>
                  <a:pt x="7895" y="2779"/>
                </a:lnTo>
                <a:lnTo>
                  <a:pt x="7879" y="2772"/>
                </a:lnTo>
                <a:lnTo>
                  <a:pt x="7855" y="2764"/>
                </a:lnTo>
                <a:lnTo>
                  <a:pt x="7810" y="2746"/>
                </a:lnTo>
                <a:lnTo>
                  <a:pt x="7780" y="2733"/>
                </a:lnTo>
                <a:lnTo>
                  <a:pt x="7774" y="2732"/>
                </a:lnTo>
                <a:lnTo>
                  <a:pt x="7769" y="2731"/>
                </a:lnTo>
                <a:lnTo>
                  <a:pt x="7764" y="2730"/>
                </a:lnTo>
                <a:lnTo>
                  <a:pt x="7759" y="2731"/>
                </a:lnTo>
                <a:lnTo>
                  <a:pt x="7755" y="2732"/>
                </a:lnTo>
                <a:lnTo>
                  <a:pt x="7751" y="2735"/>
                </a:lnTo>
                <a:lnTo>
                  <a:pt x="7745" y="2737"/>
                </a:lnTo>
                <a:lnTo>
                  <a:pt x="7741" y="2741"/>
                </a:lnTo>
                <a:lnTo>
                  <a:pt x="7724" y="2758"/>
                </a:lnTo>
                <a:lnTo>
                  <a:pt x="7710" y="2772"/>
                </a:lnTo>
                <a:lnTo>
                  <a:pt x="7702" y="2778"/>
                </a:lnTo>
                <a:lnTo>
                  <a:pt x="7693" y="2781"/>
                </a:lnTo>
                <a:lnTo>
                  <a:pt x="7690" y="2782"/>
                </a:lnTo>
                <a:lnTo>
                  <a:pt x="7685" y="2782"/>
                </a:lnTo>
                <a:lnTo>
                  <a:pt x="7680" y="2782"/>
                </a:lnTo>
                <a:lnTo>
                  <a:pt x="7675" y="2781"/>
                </a:lnTo>
                <a:lnTo>
                  <a:pt x="7656" y="2770"/>
                </a:lnTo>
                <a:lnTo>
                  <a:pt x="7636" y="2758"/>
                </a:lnTo>
                <a:lnTo>
                  <a:pt x="7631" y="2756"/>
                </a:lnTo>
                <a:lnTo>
                  <a:pt x="7625" y="2755"/>
                </a:lnTo>
                <a:lnTo>
                  <a:pt x="7620" y="2754"/>
                </a:lnTo>
                <a:lnTo>
                  <a:pt x="7613" y="2754"/>
                </a:lnTo>
                <a:lnTo>
                  <a:pt x="7606" y="2755"/>
                </a:lnTo>
                <a:lnTo>
                  <a:pt x="7598" y="2758"/>
                </a:lnTo>
                <a:lnTo>
                  <a:pt x="7590" y="2762"/>
                </a:lnTo>
                <a:lnTo>
                  <a:pt x="7581" y="2767"/>
                </a:lnTo>
                <a:lnTo>
                  <a:pt x="7565" y="2778"/>
                </a:lnTo>
                <a:lnTo>
                  <a:pt x="7553" y="2786"/>
                </a:lnTo>
                <a:lnTo>
                  <a:pt x="7546" y="2794"/>
                </a:lnTo>
                <a:lnTo>
                  <a:pt x="7542" y="2800"/>
                </a:lnTo>
                <a:lnTo>
                  <a:pt x="7539" y="2812"/>
                </a:lnTo>
                <a:lnTo>
                  <a:pt x="7532" y="2824"/>
                </a:lnTo>
                <a:lnTo>
                  <a:pt x="7530" y="2827"/>
                </a:lnTo>
                <a:lnTo>
                  <a:pt x="7529" y="2830"/>
                </a:lnTo>
                <a:lnTo>
                  <a:pt x="7530" y="2833"/>
                </a:lnTo>
                <a:lnTo>
                  <a:pt x="7531" y="2835"/>
                </a:lnTo>
                <a:lnTo>
                  <a:pt x="7534" y="2839"/>
                </a:lnTo>
                <a:lnTo>
                  <a:pt x="7537" y="2843"/>
                </a:lnTo>
                <a:lnTo>
                  <a:pt x="7532" y="2843"/>
                </a:lnTo>
                <a:lnTo>
                  <a:pt x="7521" y="2841"/>
                </a:lnTo>
                <a:lnTo>
                  <a:pt x="7499" y="2838"/>
                </a:lnTo>
                <a:lnTo>
                  <a:pt x="7463" y="2833"/>
                </a:lnTo>
                <a:lnTo>
                  <a:pt x="7441" y="2829"/>
                </a:lnTo>
                <a:lnTo>
                  <a:pt x="7422" y="2823"/>
                </a:lnTo>
                <a:lnTo>
                  <a:pt x="7404" y="2817"/>
                </a:lnTo>
                <a:lnTo>
                  <a:pt x="7386" y="2809"/>
                </a:lnTo>
                <a:lnTo>
                  <a:pt x="7371" y="2800"/>
                </a:lnTo>
                <a:lnTo>
                  <a:pt x="7356" y="2792"/>
                </a:lnTo>
                <a:lnTo>
                  <a:pt x="7342" y="2783"/>
                </a:lnTo>
                <a:lnTo>
                  <a:pt x="7328" y="2773"/>
                </a:lnTo>
                <a:lnTo>
                  <a:pt x="7302" y="2754"/>
                </a:lnTo>
                <a:lnTo>
                  <a:pt x="7277" y="2735"/>
                </a:lnTo>
                <a:lnTo>
                  <a:pt x="7265" y="2725"/>
                </a:lnTo>
                <a:lnTo>
                  <a:pt x="7252" y="2715"/>
                </a:lnTo>
                <a:lnTo>
                  <a:pt x="7239" y="2706"/>
                </a:lnTo>
                <a:lnTo>
                  <a:pt x="7225" y="2698"/>
                </a:lnTo>
                <a:lnTo>
                  <a:pt x="7199" y="2682"/>
                </a:lnTo>
                <a:lnTo>
                  <a:pt x="7176" y="2665"/>
                </a:lnTo>
                <a:lnTo>
                  <a:pt x="7155" y="2650"/>
                </a:lnTo>
                <a:lnTo>
                  <a:pt x="7139" y="2635"/>
                </a:lnTo>
                <a:lnTo>
                  <a:pt x="7126" y="2621"/>
                </a:lnTo>
                <a:lnTo>
                  <a:pt x="7116" y="2609"/>
                </a:lnTo>
                <a:lnTo>
                  <a:pt x="7112" y="2604"/>
                </a:lnTo>
                <a:lnTo>
                  <a:pt x="7110" y="2600"/>
                </a:lnTo>
                <a:lnTo>
                  <a:pt x="7109" y="2595"/>
                </a:lnTo>
                <a:lnTo>
                  <a:pt x="7107" y="2592"/>
                </a:lnTo>
                <a:lnTo>
                  <a:pt x="7109" y="2584"/>
                </a:lnTo>
                <a:lnTo>
                  <a:pt x="7111" y="2576"/>
                </a:lnTo>
                <a:lnTo>
                  <a:pt x="7112" y="2571"/>
                </a:lnTo>
                <a:lnTo>
                  <a:pt x="7112" y="2566"/>
                </a:lnTo>
                <a:lnTo>
                  <a:pt x="7111" y="2562"/>
                </a:lnTo>
                <a:lnTo>
                  <a:pt x="7110" y="2556"/>
                </a:lnTo>
                <a:lnTo>
                  <a:pt x="7107" y="2552"/>
                </a:lnTo>
                <a:lnTo>
                  <a:pt x="7103" y="2548"/>
                </a:lnTo>
                <a:lnTo>
                  <a:pt x="7098" y="2543"/>
                </a:lnTo>
                <a:lnTo>
                  <a:pt x="7090" y="2540"/>
                </a:lnTo>
                <a:lnTo>
                  <a:pt x="7080" y="2537"/>
                </a:lnTo>
                <a:lnTo>
                  <a:pt x="7069" y="2535"/>
                </a:lnTo>
                <a:lnTo>
                  <a:pt x="7053" y="2533"/>
                </a:lnTo>
                <a:lnTo>
                  <a:pt x="7036" y="2532"/>
                </a:lnTo>
                <a:lnTo>
                  <a:pt x="7002" y="2530"/>
                </a:lnTo>
                <a:lnTo>
                  <a:pt x="6972" y="2529"/>
                </a:lnTo>
                <a:lnTo>
                  <a:pt x="6949" y="2527"/>
                </a:lnTo>
                <a:lnTo>
                  <a:pt x="6927" y="2525"/>
                </a:lnTo>
                <a:lnTo>
                  <a:pt x="6910" y="2522"/>
                </a:lnTo>
                <a:lnTo>
                  <a:pt x="6892" y="2517"/>
                </a:lnTo>
                <a:lnTo>
                  <a:pt x="6877" y="2511"/>
                </a:lnTo>
                <a:lnTo>
                  <a:pt x="6861" y="2503"/>
                </a:lnTo>
                <a:lnTo>
                  <a:pt x="6833" y="2487"/>
                </a:lnTo>
                <a:lnTo>
                  <a:pt x="6812" y="2475"/>
                </a:lnTo>
                <a:lnTo>
                  <a:pt x="6804" y="2473"/>
                </a:lnTo>
                <a:lnTo>
                  <a:pt x="6796" y="2472"/>
                </a:lnTo>
                <a:lnTo>
                  <a:pt x="6793" y="2473"/>
                </a:lnTo>
                <a:lnTo>
                  <a:pt x="6790" y="2474"/>
                </a:lnTo>
                <a:lnTo>
                  <a:pt x="6786" y="2478"/>
                </a:lnTo>
                <a:lnTo>
                  <a:pt x="6784" y="2481"/>
                </a:lnTo>
                <a:lnTo>
                  <a:pt x="6782" y="2484"/>
                </a:lnTo>
                <a:lnTo>
                  <a:pt x="6780" y="2487"/>
                </a:lnTo>
                <a:lnTo>
                  <a:pt x="6780" y="2492"/>
                </a:lnTo>
                <a:lnTo>
                  <a:pt x="6779" y="2495"/>
                </a:lnTo>
                <a:lnTo>
                  <a:pt x="6781" y="2501"/>
                </a:lnTo>
                <a:lnTo>
                  <a:pt x="6783" y="2508"/>
                </a:lnTo>
                <a:lnTo>
                  <a:pt x="6786" y="2514"/>
                </a:lnTo>
                <a:lnTo>
                  <a:pt x="6790" y="2522"/>
                </a:lnTo>
                <a:lnTo>
                  <a:pt x="6792" y="2529"/>
                </a:lnTo>
                <a:lnTo>
                  <a:pt x="6793" y="2538"/>
                </a:lnTo>
                <a:lnTo>
                  <a:pt x="6792" y="2541"/>
                </a:lnTo>
                <a:lnTo>
                  <a:pt x="6791" y="2546"/>
                </a:lnTo>
                <a:lnTo>
                  <a:pt x="6789" y="2549"/>
                </a:lnTo>
                <a:lnTo>
                  <a:pt x="6785" y="2551"/>
                </a:lnTo>
                <a:lnTo>
                  <a:pt x="6778" y="2555"/>
                </a:lnTo>
                <a:lnTo>
                  <a:pt x="6770" y="2559"/>
                </a:lnTo>
                <a:lnTo>
                  <a:pt x="6754" y="2563"/>
                </a:lnTo>
                <a:lnTo>
                  <a:pt x="6746" y="2563"/>
                </a:lnTo>
                <a:lnTo>
                  <a:pt x="6744" y="2563"/>
                </a:lnTo>
                <a:lnTo>
                  <a:pt x="6738" y="2563"/>
                </a:lnTo>
                <a:lnTo>
                  <a:pt x="6726" y="2562"/>
                </a:lnTo>
                <a:lnTo>
                  <a:pt x="6709" y="2562"/>
                </a:lnTo>
                <a:lnTo>
                  <a:pt x="6685" y="2561"/>
                </a:lnTo>
                <a:lnTo>
                  <a:pt x="6655" y="2560"/>
                </a:lnTo>
                <a:lnTo>
                  <a:pt x="6618" y="2559"/>
                </a:lnTo>
                <a:lnTo>
                  <a:pt x="6572" y="2557"/>
                </a:lnTo>
                <a:lnTo>
                  <a:pt x="6549" y="2556"/>
                </a:lnTo>
                <a:lnTo>
                  <a:pt x="6528" y="2555"/>
                </a:lnTo>
                <a:lnTo>
                  <a:pt x="6510" y="2554"/>
                </a:lnTo>
                <a:lnTo>
                  <a:pt x="6493" y="2552"/>
                </a:lnTo>
                <a:lnTo>
                  <a:pt x="6479" y="2549"/>
                </a:lnTo>
                <a:lnTo>
                  <a:pt x="6468" y="2547"/>
                </a:lnTo>
                <a:lnTo>
                  <a:pt x="6457" y="2543"/>
                </a:lnTo>
                <a:lnTo>
                  <a:pt x="6447" y="2540"/>
                </a:lnTo>
                <a:lnTo>
                  <a:pt x="6432" y="2533"/>
                </a:lnTo>
                <a:lnTo>
                  <a:pt x="6418" y="2526"/>
                </a:lnTo>
                <a:lnTo>
                  <a:pt x="6405" y="2519"/>
                </a:lnTo>
                <a:lnTo>
                  <a:pt x="6392" y="2512"/>
                </a:lnTo>
                <a:lnTo>
                  <a:pt x="6373" y="2505"/>
                </a:lnTo>
                <a:lnTo>
                  <a:pt x="6351" y="2498"/>
                </a:lnTo>
                <a:lnTo>
                  <a:pt x="6324" y="2490"/>
                </a:lnTo>
                <a:lnTo>
                  <a:pt x="6296" y="2484"/>
                </a:lnTo>
                <a:lnTo>
                  <a:pt x="6268" y="2480"/>
                </a:lnTo>
                <a:lnTo>
                  <a:pt x="6239" y="2476"/>
                </a:lnTo>
                <a:lnTo>
                  <a:pt x="6226" y="2476"/>
                </a:lnTo>
                <a:lnTo>
                  <a:pt x="6215" y="2476"/>
                </a:lnTo>
                <a:lnTo>
                  <a:pt x="6204" y="2479"/>
                </a:lnTo>
                <a:lnTo>
                  <a:pt x="6194" y="2481"/>
                </a:lnTo>
                <a:lnTo>
                  <a:pt x="6189" y="2482"/>
                </a:lnTo>
                <a:lnTo>
                  <a:pt x="6184" y="2484"/>
                </a:lnTo>
                <a:lnTo>
                  <a:pt x="6181" y="2486"/>
                </a:lnTo>
                <a:lnTo>
                  <a:pt x="6178" y="2489"/>
                </a:lnTo>
                <a:lnTo>
                  <a:pt x="6173" y="2496"/>
                </a:lnTo>
                <a:lnTo>
                  <a:pt x="6170" y="2502"/>
                </a:lnTo>
                <a:lnTo>
                  <a:pt x="6166" y="2517"/>
                </a:lnTo>
                <a:lnTo>
                  <a:pt x="6161" y="2530"/>
                </a:lnTo>
                <a:lnTo>
                  <a:pt x="6500" y="2888"/>
                </a:lnTo>
                <a:lnTo>
                  <a:pt x="6539" y="2929"/>
                </a:lnTo>
                <a:lnTo>
                  <a:pt x="6578" y="2968"/>
                </a:lnTo>
                <a:lnTo>
                  <a:pt x="6598" y="2985"/>
                </a:lnTo>
                <a:lnTo>
                  <a:pt x="6618" y="3002"/>
                </a:lnTo>
                <a:lnTo>
                  <a:pt x="6637" y="3019"/>
                </a:lnTo>
                <a:lnTo>
                  <a:pt x="6658" y="3034"/>
                </a:lnTo>
                <a:lnTo>
                  <a:pt x="6679" y="3047"/>
                </a:lnTo>
                <a:lnTo>
                  <a:pt x="6700" y="3059"/>
                </a:lnTo>
                <a:lnTo>
                  <a:pt x="6723" y="3069"/>
                </a:lnTo>
                <a:lnTo>
                  <a:pt x="6744" y="3078"/>
                </a:lnTo>
                <a:lnTo>
                  <a:pt x="6768" y="3084"/>
                </a:lnTo>
                <a:lnTo>
                  <a:pt x="6792" y="3090"/>
                </a:lnTo>
                <a:lnTo>
                  <a:pt x="6805" y="3092"/>
                </a:lnTo>
                <a:lnTo>
                  <a:pt x="6817" y="3093"/>
                </a:lnTo>
                <a:lnTo>
                  <a:pt x="6830" y="3093"/>
                </a:lnTo>
                <a:lnTo>
                  <a:pt x="6844" y="3094"/>
                </a:lnTo>
                <a:lnTo>
                  <a:pt x="6979" y="3093"/>
                </a:lnTo>
                <a:lnTo>
                  <a:pt x="7130" y="3092"/>
                </a:lnTo>
                <a:lnTo>
                  <a:pt x="7296" y="3092"/>
                </a:lnTo>
                <a:lnTo>
                  <a:pt x="7474" y="3091"/>
                </a:lnTo>
                <a:lnTo>
                  <a:pt x="7666" y="3091"/>
                </a:lnTo>
                <a:lnTo>
                  <a:pt x="7871" y="3090"/>
                </a:lnTo>
                <a:lnTo>
                  <a:pt x="8086" y="3090"/>
                </a:lnTo>
                <a:lnTo>
                  <a:pt x="8311" y="3090"/>
                </a:lnTo>
                <a:lnTo>
                  <a:pt x="8546" y="3090"/>
                </a:lnTo>
                <a:lnTo>
                  <a:pt x="8789" y="3090"/>
                </a:lnTo>
                <a:lnTo>
                  <a:pt x="9041" y="3090"/>
                </a:lnTo>
                <a:lnTo>
                  <a:pt x="9301" y="3090"/>
                </a:lnTo>
                <a:lnTo>
                  <a:pt x="9566" y="3090"/>
                </a:lnTo>
                <a:lnTo>
                  <a:pt x="9836" y="3090"/>
                </a:lnTo>
                <a:lnTo>
                  <a:pt x="10110" y="3090"/>
                </a:lnTo>
                <a:lnTo>
                  <a:pt x="10389" y="3091"/>
                </a:lnTo>
                <a:lnTo>
                  <a:pt x="10401" y="3096"/>
                </a:lnTo>
                <a:lnTo>
                  <a:pt x="10412" y="3101"/>
                </a:lnTo>
                <a:lnTo>
                  <a:pt x="10421" y="3104"/>
                </a:lnTo>
                <a:lnTo>
                  <a:pt x="10428" y="3105"/>
                </a:lnTo>
                <a:lnTo>
                  <a:pt x="10436" y="3105"/>
                </a:lnTo>
                <a:lnTo>
                  <a:pt x="10444" y="3103"/>
                </a:lnTo>
                <a:lnTo>
                  <a:pt x="10455" y="3102"/>
                </a:lnTo>
                <a:lnTo>
                  <a:pt x="10468" y="3099"/>
                </a:lnTo>
                <a:lnTo>
                  <a:pt x="10486" y="3095"/>
                </a:lnTo>
                <a:lnTo>
                  <a:pt x="10501" y="3091"/>
                </a:lnTo>
                <a:lnTo>
                  <a:pt x="10577" y="3091"/>
                </a:lnTo>
                <a:lnTo>
                  <a:pt x="10654" y="3091"/>
                </a:lnTo>
                <a:lnTo>
                  <a:pt x="10732" y="3091"/>
                </a:lnTo>
                <a:lnTo>
                  <a:pt x="10810" y="3091"/>
                </a:lnTo>
                <a:lnTo>
                  <a:pt x="10888" y="3091"/>
                </a:lnTo>
                <a:lnTo>
                  <a:pt x="10965" y="3091"/>
                </a:lnTo>
                <a:lnTo>
                  <a:pt x="11043" y="3091"/>
                </a:lnTo>
                <a:lnTo>
                  <a:pt x="11121" y="3092"/>
                </a:lnTo>
                <a:lnTo>
                  <a:pt x="11136" y="3100"/>
                </a:lnTo>
                <a:lnTo>
                  <a:pt x="11151" y="3109"/>
                </a:lnTo>
                <a:lnTo>
                  <a:pt x="11169" y="3119"/>
                </a:lnTo>
                <a:lnTo>
                  <a:pt x="11188" y="3130"/>
                </a:lnTo>
                <a:lnTo>
                  <a:pt x="11211" y="3143"/>
                </a:lnTo>
                <a:lnTo>
                  <a:pt x="11232" y="3154"/>
                </a:lnTo>
                <a:lnTo>
                  <a:pt x="11252" y="3163"/>
                </a:lnTo>
                <a:lnTo>
                  <a:pt x="11270" y="3171"/>
                </a:lnTo>
                <a:lnTo>
                  <a:pt x="11288" y="3177"/>
                </a:lnTo>
                <a:lnTo>
                  <a:pt x="11304" y="3184"/>
                </a:lnTo>
                <a:lnTo>
                  <a:pt x="11319" y="3188"/>
                </a:lnTo>
                <a:lnTo>
                  <a:pt x="11334" y="3192"/>
                </a:lnTo>
                <a:lnTo>
                  <a:pt x="11365" y="3200"/>
                </a:lnTo>
                <a:lnTo>
                  <a:pt x="11398" y="3209"/>
                </a:lnTo>
                <a:lnTo>
                  <a:pt x="11435" y="3218"/>
                </a:lnTo>
                <a:lnTo>
                  <a:pt x="11477" y="3234"/>
                </a:lnTo>
                <a:lnTo>
                  <a:pt x="11501" y="3242"/>
                </a:lnTo>
                <a:lnTo>
                  <a:pt x="11523" y="3253"/>
                </a:lnTo>
                <a:lnTo>
                  <a:pt x="11545" y="3264"/>
                </a:lnTo>
                <a:lnTo>
                  <a:pt x="11566" y="3276"/>
                </a:lnTo>
                <a:lnTo>
                  <a:pt x="11587" y="3288"/>
                </a:lnTo>
                <a:lnTo>
                  <a:pt x="11608" y="3300"/>
                </a:lnTo>
                <a:lnTo>
                  <a:pt x="11626" y="3312"/>
                </a:lnTo>
                <a:lnTo>
                  <a:pt x="11643" y="3324"/>
                </a:lnTo>
                <a:lnTo>
                  <a:pt x="11675" y="3347"/>
                </a:lnTo>
                <a:lnTo>
                  <a:pt x="11697" y="3365"/>
                </a:lnTo>
                <a:lnTo>
                  <a:pt x="11712" y="3377"/>
                </a:lnTo>
                <a:lnTo>
                  <a:pt x="11718" y="3381"/>
                </a:lnTo>
                <a:lnTo>
                  <a:pt x="11726" y="3386"/>
                </a:lnTo>
                <a:lnTo>
                  <a:pt x="11747" y="3397"/>
                </a:lnTo>
                <a:lnTo>
                  <a:pt x="11776" y="3410"/>
                </a:lnTo>
                <a:lnTo>
                  <a:pt x="11806" y="3423"/>
                </a:lnTo>
                <a:lnTo>
                  <a:pt x="11819" y="3428"/>
                </a:lnTo>
                <a:lnTo>
                  <a:pt x="11830" y="3433"/>
                </a:lnTo>
                <a:lnTo>
                  <a:pt x="11839" y="3440"/>
                </a:lnTo>
                <a:lnTo>
                  <a:pt x="11846" y="3445"/>
                </a:lnTo>
                <a:lnTo>
                  <a:pt x="11854" y="3450"/>
                </a:lnTo>
                <a:lnTo>
                  <a:pt x="11862" y="3453"/>
                </a:lnTo>
                <a:lnTo>
                  <a:pt x="11866" y="3454"/>
                </a:lnTo>
                <a:lnTo>
                  <a:pt x="11871" y="3455"/>
                </a:lnTo>
                <a:lnTo>
                  <a:pt x="11878" y="3454"/>
                </a:lnTo>
                <a:lnTo>
                  <a:pt x="11884" y="3454"/>
                </a:lnTo>
                <a:lnTo>
                  <a:pt x="11895" y="3452"/>
                </a:lnTo>
                <a:lnTo>
                  <a:pt x="11899" y="3450"/>
                </a:lnTo>
                <a:lnTo>
                  <a:pt x="11901" y="3447"/>
                </a:lnTo>
                <a:lnTo>
                  <a:pt x="11901" y="3446"/>
                </a:lnTo>
                <a:lnTo>
                  <a:pt x="11899" y="3445"/>
                </a:lnTo>
                <a:lnTo>
                  <a:pt x="11898" y="3443"/>
                </a:lnTo>
                <a:lnTo>
                  <a:pt x="11894" y="3440"/>
                </a:lnTo>
                <a:lnTo>
                  <a:pt x="11890" y="3434"/>
                </a:lnTo>
                <a:lnTo>
                  <a:pt x="11888" y="3432"/>
                </a:lnTo>
                <a:lnTo>
                  <a:pt x="11885" y="3429"/>
                </a:lnTo>
                <a:lnTo>
                  <a:pt x="11884" y="3426"/>
                </a:lnTo>
                <a:lnTo>
                  <a:pt x="11884" y="3423"/>
                </a:lnTo>
                <a:lnTo>
                  <a:pt x="11883" y="3418"/>
                </a:lnTo>
                <a:lnTo>
                  <a:pt x="11882" y="3415"/>
                </a:lnTo>
                <a:lnTo>
                  <a:pt x="11880" y="3411"/>
                </a:lnTo>
                <a:lnTo>
                  <a:pt x="11877" y="3406"/>
                </a:lnTo>
                <a:lnTo>
                  <a:pt x="11868" y="3399"/>
                </a:lnTo>
                <a:lnTo>
                  <a:pt x="11858" y="3391"/>
                </a:lnTo>
                <a:lnTo>
                  <a:pt x="11838" y="3376"/>
                </a:lnTo>
                <a:lnTo>
                  <a:pt x="11821" y="3362"/>
                </a:lnTo>
                <a:lnTo>
                  <a:pt x="11818" y="3359"/>
                </a:lnTo>
                <a:lnTo>
                  <a:pt x="11818" y="3357"/>
                </a:lnTo>
                <a:lnTo>
                  <a:pt x="11819" y="3354"/>
                </a:lnTo>
                <a:lnTo>
                  <a:pt x="11823" y="3352"/>
                </a:lnTo>
                <a:lnTo>
                  <a:pt x="11832" y="3351"/>
                </a:lnTo>
                <a:lnTo>
                  <a:pt x="11849" y="3350"/>
                </a:lnTo>
                <a:lnTo>
                  <a:pt x="11869" y="3352"/>
                </a:lnTo>
                <a:lnTo>
                  <a:pt x="11893" y="3354"/>
                </a:lnTo>
                <a:lnTo>
                  <a:pt x="11922" y="3359"/>
                </a:lnTo>
                <a:lnTo>
                  <a:pt x="11952" y="3365"/>
                </a:lnTo>
                <a:lnTo>
                  <a:pt x="11969" y="3369"/>
                </a:lnTo>
                <a:lnTo>
                  <a:pt x="11985" y="3374"/>
                </a:lnTo>
                <a:lnTo>
                  <a:pt x="12001" y="3379"/>
                </a:lnTo>
                <a:lnTo>
                  <a:pt x="12016" y="3387"/>
                </a:lnTo>
                <a:lnTo>
                  <a:pt x="12032" y="3394"/>
                </a:lnTo>
                <a:lnTo>
                  <a:pt x="12048" y="3402"/>
                </a:lnTo>
                <a:lnTo>
                  <a:pt x="12062" y="3411"/>
                </a:lnTo>
                <a:lnTo>
                  <a:pt x="12076" y="3419"/>
                </a:lnTo>
                <a:lnTo>
                  <a:pt x="12102" y="3437"/>
                </a:lnTo>
                <a:lnTo>
                  <a:pt x="12123" y="3452"/>
                </a:lnTo>
                <a:lnTo>
                  <a:pt x="12140" y="3465"/>
                </a:lnTo>
                <a:lnTo>
                  <a:pt x="12153" y="3473"/>
                </a:lnTo>
                <a:lnTo>
                  <a:pt x="12157" y="3477"/>
                </a:lnTo>
                <a:lnTo>
                  <a:pt x="12158" y="3480"/>
                </a:lnTo>
                <a:lnTo>
                  <a:pt x="12157" y="3482"/>
                </a:lnTo>
                <a:lnTo>
                  <a:pt x="12155" y="3484"/>
                </a:lnTo>
                <a:lnTo>
                  <a:pt x="12144" y="3486"/>
                </a:lnTo>
                <a:lnTo>
                  <a:pt x="12128" y="3488"/>
                </a:lnTo>
                <a:lnTo>
                  <a:pt x="12090" y="3491"/>
                </a:lnTo>
                <a:lnTo>
                  <a:pt x="12053" y="3491"/>
                </a:lnTo>
                <a:lnTo>
                  <a:pt x="12046" y="3491"/>
                </a:lnTo>
                <a:lnTo>
                  <a:pt x="12042" y="3492"/>
                </a:lnTo>
                <a:lnTo>
                  <a:pt x="12037" y="3494"/>
                </a:lnTo>
                <a:lnTo>
                  <a:pt x="12033" y="3495"/>
                </a:lnTo>
                <a:lnTo>
                  <a:pt x="12027" y="3500"/>
                </a:lnTo>
                <a:lnTo>
                  <a:pt x="12024" y="3506"/>
                </a:lnTo>
                <a:lnTo>
                  <a:pt x="12022" y="3511"/>
                </a:lnTo>
                <a:lnTo>
                  <a:pt x="12021" y="3518"/>
                </a:lnTo>
                <a:lnTo>
                  <a:pt x="12021" y="3522"/>
                </a:lnTo>
                <a:lnTo>
                  <a:pt x="12022" y="3526"/>
                </a:lnTo>
                <a:lnTo>
                  <a:pt x="11822" y="3526"/>
                </a:lnTo>
                <a:lnTo>
                  <a:pt x="11804" y="3509"/>
                </a:lnTo>
                <a:lnTo>
                  <a:pt x="11798" y="3502"/>
                </a:lnTo>
                <a:lnTo>
                  <a:pt x="11789" y="3504"/>
                </a:lnTo>
                <a:lnTo>
                  <a:pt x="11766" y="3507"/>
                </a:lnTo>
                <a:lnTo>
                  <a:pt x="11742" y="3510"/>
                </a:lnTo>
                <a:lnTo>
                  <a:pt x="11721" y="3511"/>
                </a:lnTo>
                <a:lnTo>
                  <a:pt x="11704" y="3510"/>
                </a:lnTo>
                <a:lnTo>
                  <a:pt x="11682" y="3507"/>
                </a:lnTo>
                <a:lnTo>
                  <a:pt x="11671" y="3504"/>
                </a:lnTo>
                <a:lnTo>
                  <a:pt x="11661" y="3500"/>
                </a:lnTo>
                <a:lnTo>
                  <a:pt x="11651" y="3495"/>
                </a:lnTo>
                <a:lnTo>
                  <a:pt x="11640" y="3488"/>
                </a:lnTo>
                <a:lnTo>
                  <a:pt x="11619" y="3468"/>
                </a:lnTo>
                <a:lnTo>
                  <a:pt x="11595" y="3441"/>
                </a:lnTo>
                <a:lnTo>
                  <a:pt x="11581" y="3427"/>
                </a:lnTo>
                <a:lnTo>
                  <a:pt x="11565" y="3414"/>
                </a:lnTo>
                <a:lnTo>
                  <a:pt x="11558" y="3407"/>
                </a:lnTo>
                <a:lnTo>
                  <a:pt x="11549" y="3402"/>
                </a:lnTo>
                <a:lnTo>
                  <a:pt x="11541" y="3398"/>
                </a:lnTo>
                <a:lnTo>
                  <a:pt x="11532" y="3393"/>
                </a:lnTo>
                <a:lnTo>
                  <a:pt x="11522" y="3390"/>
                </a:lnTo>
                <a:lnTo>
                  <a:pt x="11512" y="3388"/>
                </a:lnTo>
                <a:lnTo>
                  <a:pt x="11504" y="3387"/>
                </a:lnTo>
                <a:lnTo>
                  <a:pt x="11494" y="3386"/>
                </a:lnTo>
                <a:lnTo>
                  <a:pt x="11485" y="3386"/>
                </a:lnTo>
                <a:lnTo>
                  <a:pt x="11477" y="3387"/>
                </a:lnTo>
                <a:lnTo>
                  <a:pt x="11468" y="3388"/>
                </a:lnTo>
                <a:lnTo>
                  <a:pt x="11461" y="3390"/>
                </a:lnTo>
                <a:lnTo>
                  <a:pt x="11453" y="3392"/>
                </a:lnTo>
                <a:lnTo>
                  <a:pt x="11447" y="3396"/>
                </a:lnTo>
                <a:lnTo>
                  <a:pt x="11441" y="3399"/>
                </a:lnTo>
                <a:lnTo>
                  <a:pt x="11437" y="3403"/>
                </a:lnTo>
                <a:lnTo>
                  <a:pt x="11432" y="3406"/>
                </a:lnTo>
                <a:lnTo>
                  <a:pt x="11430" y="3411"/>
                </a:lnTo>
                <a:lnTo>
                  <a:pt x="11428" y="3415"/>
                </a:lnTo>
                <a:lnTo>
                  <a:pt x="11428" y="3419"/>
                </a:lnTo>
                <a:lnTo>
                  <a:pt x="11429" y="3423"/>
                </a:lnTo>
                <a:lnTo>
                  <a:pt x="11431" y="3427"/>
                </a:lnTo>
                <a:lnTo>
                  <a:pt x="11435" y="3432"/>
                </a:lnTo>
                <a:lnTo>
                  <a:pt x="11439" y="3438"/>
                </a:lnTo>
                <a:lnTo>
                  <a:pt x="11450" y="3451"/>
                </a:lnTo>
                <a:lnTo>
                  <a:pt x="11464" y="3465"/>
                </a:lnTo>
                <a:lnTo>
                  <a:pt x="11480" y="3480"/>
                </a:lnTo>
                <a:lnTo>
                  <a:pt x="11498" y="3496"/>
                </a:lnTo>
                <a:lnTo>
                  <a:pt x="11517" y="3511"/>
                </a:lnTo>
                <a:lnTo>
                  <a:pt x="11536" y="3526"/>
                </a:lnTo>
                <a:lnTo>
                  <a:pt x="7120" y="3526"/>
                </a:lnTo>
                <a:lnTo>
                  <a:pt x="7023" y="3527"/>
                </a:lnTo>
                <a:lnTo>
                  <a:pt x="6941" y="3527"/>
                </a:lnTo>
                <a:lnTo>
                  <a:pt x="6905" y="3527"/>
                </a:lnTo>
                <a:lnTo>
                  <a:pt x="6871" y="3526"/>
                </a:lnTo>
                <a:lnTo>
                  <a:pt x="6838" y="3523"/>
                </a:lnTo>
                <a:lnTo>
                  <a:pt x="6806" y="3520"/>
                </a:lnTo>
                <a:lnTo>
                  <a:pt x="6775" y="3514"/>
                </a:lnTo>
                <a:lnTo>
                  <a:pt x="6742" y="3508"/>
                </a:lnTo>
                <a:lnTo>
                  <a:pt x="6709" y="3498"/>
                </a:lnTo>
                <a:lnTo>
                  <a:pt x="6673" y="3487"/>
                </a:lnTo>
                <a:lnTo>
                  <a:pt x="6635" y="3472"/>
                </a:lnTo>
                <a:lnTo>
                  <a:pt x="6594" y="3456"/>
                </a:lnTo>
                <a:lnTo>
                  <a:pt x="6549" y="3435"/>
                </a:lnTo>
                <a:lnTo>
                  <a:pt x="6499" y="3413"/>
                </a:lnTo>
                <a:lnTo>
                  <a:pt x="6443" y="3385"/>
                </a:lnTo>
                <a:lnTo>
                  <a:pt x="6383" y="3354"/>
                </a:lnTo>
                <a:lnTo>
                  <a:pt x="6323" y="3322"/>
                </a:lnTo>
                <a:lnTo>
                  <a:pt x="6262" y="3290"/>
                </a:lnTo>
                <a:lnTo>
                  <a:pt x="6201" y="3256"/>
                </a:lnTo>
                <a:lnTo>
                  <a:pt x="6140" y="3222"/>
                </a:lnTo>
                <a:lnTo>
                  <a:pt x="6079" y="3188"/>
                </a:lnTo>
                <a:lnTo>
                  <a:pt x="6020" y="3154"/>
                </a:lnTo>
                <a:lnTo>
                  <a:pt x="5962" y="3121"/>
                </a:lnTo>
                <a:lnTo>
                  <a:pt x="5906" y="3089"/>
                </a:lnTo>
                <a:lnTo>
                  <a:pt x="5852" y="3059"/>
                </a:lnTo>
                <a:lnTo>
                  <a:pt x="5803" y="3029"/>
                </a:lnTo>
                <a:lnTo>
                  <a:pt x="5756" y="3003"/>
                </a:lnTo>
                <a:lnTo>
                  <a:pt x="5713" y="2980"/>
                </a:lnTo>
                <a:lnTo>
                  <a:pt x="5675" y="2958"/>
                </a:lnTo>
                <a:lnTo>
                  <a:pt x="5642" y="2941"/>
                </a:lnTo>
                <a:lnTo>
                  <a:pt x="4373" y="2258"/>
                </a:lnTo>
                <a:lnTo>
                  <a:pt x="4383" y="2256"/>
                </a:lnTo>
                <a:lnTo>
                  <a:pt x="4386" y="2255"/>
                </a:lnTo>
                <a:lnTo>
                  <a:pt x="4390" y="2252"/>
                </a:lnTo>
                <a:lnTo>
                  <a:pt x="4404" y="2242"/>
                </a:lnTo>
                <a:lnTo>
                  <a:pt x="4414" y="2236"/>
                </a:lnTo>
                <a:lnTo>
                  <a:pt x="4427" y="2230"/>
                </a:lnTo>
                <a:lnTo>
                  <a:pt x="4443" y="2225"/>
                </a:lnTo>
                <a:lnTo>
                  <a:pt x="4460" y="2222"/>
                </a:lnTo>
                <a:lnTo>
                  <a:pt x="4497" y="2216"/>
                </a:lnTo>
                <a:lnTo>
                  <a:pt x="4529" y="2213"/>
                </a:lnTo>
                <a:lnTo>
                  <a:pt x="4554" y="2211"/>
                </a:lnTo>
                <a:lnTo>
                  <a:pt x="4573" y="2206"/>
                </a:lnTo>
                <a:lnTo>
                  <a:pt x="4587" y="2200"/>
                </a:lnTo>
                <a:lnTo>
                  <a:pt x="4603" y="2189"/>
                </a:lnTo>
                <a:lnTo>
                  <a:pt x="4613" y="2184"/>
                </a:lnTo>
                <a:lnTo>
                  <a:pt x="4621" y="2179"/>
                </a:lnTo>
                <a:lnTo>
                  <a:pt x="4631" y="2176"/>
                </a:lnTo>
                <a:lnTo>
                  <a:pt x="4641" y="2175"/>
                </a:lnTo>
                <a:lnTo>
                  <a:pt x="4650" y="2176"/>
                </a:lnTo>
                <a:lnTo>
                  <a:pt x="4658" y="2178"/>
                </a:lnTo>
                <a:lnTo>
                  <a:pt x="4664" y="2182"/>
                </a:lnTo>
                <a:lnTo>
                  <a:pt x="4671" y="2186"/>
                </a:lnTo>
                <a:lnTo>
                  <a:pt x="4678" y="2192"/>
                </a:lnTo>
                <a:lnTo>
                  <a:pt x="4681" y="2196"/>
                </a:lnTo>
                <a:lnTo>
                  <a:pt x="4684" y="2197"/>
                </a:lnTo>
                <a:lnTo>
                  <a:pt x="4697" y="2199"/>
                </a:lnTo>
                <a:lnTo>
                  <a:pt x="4709" y="2201"/>
                </a:lnTo>
                <a:lnTo>
                  <a:pt x="4726" y="2201"/>
                </a:lnTo>
                <a:lnTo>
                  <a:pt x="4749" y="2202"/>
                </a:lnTo>
                <a:lnTo>
                  <a:pt x="4778" y="2201"/>
                </a:lnTo>
                <a:lnTo>
                  <a:pt x="4808" y="2200"/>
                </a:lnTo>
                <a:lnTo>
                  <a:pt x="4830" y="2198"/>
                </a:lnTo>
                <a:lnTo>
                  <a:pt x="4846" y="2196"/>
                </a:lnTo>
                <a:lnTo>
                  <a:pt x="4856" y="2192"/>
                </a:lnTo>
                <a:lnTo>
                  <a:pt x="4865" y="2189"/>
                </a:lnTo>
                <a:lnTo>
                  <a:pt x="4868" y="2187"/>
                </a:lnTo>
                <a:lnTo>
                  <a:pt x="4868" y="2185"/>
                </a:lnTo>
                <a:lnTo>
                  <a:pt x="4870" y="2177"/>
                </a:lnTo>
                <a:lnTo>
                  <a:pt x="4872" y="2173"/>
                </a:lnTo>
                <a:lnTo>
                  <a:pt x="4875" y="2168"/>
                </a:lnTo>
                <a:lnTo>
                  <a:pt x="4880" y="2162"/>
                </a:lnTo>
                <a:lnTo>
                  <a:pt x="4886" y="2156"/>
                </a:lnTo>
                <a:lnTo>
                  <a:pt x="4889" y="2152"/>
                </a:lnTo>
                <a:lnTo>
                  <a:pt x="4893" y="2151"/>
                </a:lnTo>
                <a:lnTo>
                  <a:pt x="4895" y="2150"/>
                </a:lnTo>
                <a:lnTo>
                  <a:pt x="4897" y="2150"/>
                </a:lnTo>
                <a:lnTo>
                  <a:pt x="4901" y="2154"/>
                </a:lnTo>
                <a:lnTo>
                  <a:pt x="4905" y="2158"/>
                </a:lnTo>
                <a:lnTo>
                  <a:pt x="4909" y="2162"/>
                </a:lnTo>
                <a:lnTo>
                  <a:pt x="4913" y="2168"/>
                </a:lnTo>
                <a:lnTo>
                  <a:pt x="4918" y="2173"/>
                </a:lnTo>
                <a:lnTo>
                  <a:pt x="4925" y="2175"/>
                </a:lnTo>
                <a:lnTo>
                  <a:pt x="4940" y="2181"/>
                </a:lnTo>
                <a:lnTo>
                  <a:pt x="4957" y="2186"/>
                </a:lnTo>
                <a:lnTo>
                  <a:pt x="4967" y="2188"/>
                </a:lnTo>
                <a:lnTo>
                  <a:pt x="4977" y="2190"/>
                </a:lnTo>
                <a:lnTo>
                  <a:pt x="4988" y="2191"/>
                </a:lnTo>
                <a:lnTo>
                  <a:pt x="5000" y="2191"/>
                </a:lnTo>
                <a:lnTo>
                  <a:pt x="5004" y="2190"/>
                </a:lnTo>
                <a:lnTo>
                  <a:pt x="5007" y="2189"/>
                </a:lnTo>
                <a:lnTo>
                  <a:pt x="5010" y="2188"/>
                </a:lnTo>
                <a:lnTo>
                  <a:pt x="5011" y="2187"/>
                </a:lnTo>
                <a:lnTo>
                  <a:pt x="5011" y="2186"/>
                </a:lnTo>
                <a:lnTo>
                  <a:pt x="5011" y="2184"/>
                </a:lnTo>
                <a:lnTo>
                  <a:pt x="5010" y="2182"/>
                </a:lnTo>
                <a:lnTo>
                  <a:pt x="5008" y="2179"/>
                </a:lnTo>
                <a:lnTo>
                  <a:pt x="4998" y="2170"/>
                </a:lnTo>
                <a:lnTo>
                  <a:pt x="4989" y="2160"/>
                </a:lnTo>
                <a:lnTo>
                  <a:pt x="4985" y="2155"/>
                </a:lnTo>
                <a:lnTo>
                  <a:pt x="4981" y="2149"/>
                </a:lnTo>
                <a:lnTo>
                  <a:pt x="4976" y="2145"/>
                </a:lnTo>
                <a:lnTo>
                  <a:pt x="4970" y="2141"/>
                </a:lnTo>
                <a:lnTo>
                  <a:pt x="4963" y="2135"/>
                </a:lnTo>
                <a:lnTo>
                  <a:pt x="4958" y="2133"/>
                </a:lnTo>
                <a:lnTo>
                  <a:pt x="4966" y="2132"/>
                </a:lnTo>
                <a:lnTo>
                  <a:pt x="4983" y="2132"/>
                </a:lnTo>
                <a:lnTo>
                  <a:pt x="5004" y="2131"/>
                </a:lnTo>
                <a:lnTo>
                  <a:pt x="5023" y="2133"/>
                </a:lnTo>
                <a:lnTo>
                  <a:pt x="5040" y="2136"/>
                </a:lnTo>
                <a:lnTo>
                  <a:pt x="5055" y="2139"/>
                </a:lnTo>
                <a:lnTo>
                  <a:pt x="5061" y="2141"/>
                </a:lnTo>
                <a:lnTo>
                  <a:pt x="5069" y="2141"/>
                </a:lnTo>
                <a:lnTo>
                  <a:pt x="5075" y="2139"/>
                </a:lnTo>
                <a:lnTo>
                  <a:pt x="5082" y="2136"/>
                </a:lnTo>
                <a:lnTo>
                  <a:pt x="5085" y="2135"/>
                </a:lnTo>
                <a:lnTo>
                  <a:pt x="5087" y="2133"/>
                </a:lnTo>
                <a:lnTo>
                  <a:pt x="5088" y="2131"/>
                </a:lnTo>
                <a:lnTo>
                  <a:pt x="5088" y="2129"/>
                </a:lnTo>
                <a:lnTo>
                  <a:pt x="5086" y="2125"/>
                </a:lnTo>
                <a:lnTo>
                  <a:pt x="5082" y="2121"/>
                </a:lnTo>
                <a:lnTo>
                  <a:pt x="5067" y="2111"/>
                </a:lnTo>
                <a:lnTo>
                  <a:pt x="5048" y="2101"/>
                </a:lnTo>
                <a:lnTo>
                  <a:pt x="5029" y="2092"/>
                </a:lnTo>
                <a:lnTo>
                  <a:pt x="5013" y="2085"/>
                </a:lnTo>
                <a:lnTo>
                  <a:pt x="4997" y="2079"/>
                </a:lnTo>
                <a:lnTo>
                  <a:pt x="4983" y="2073"/>
                </a:lnTo>
                <a:lnTo>
                  <a:pt x="4977" y="2068"/>
                </a:lnTo>
                <a:lnTo>
                  <a:pt x="4973" y="2064"/>
                </a:lnTo>
                <a:lnTo>
                  <a:pt x="4969" y="2058"/>
                </a:lnTo>
                <a:lnTo>
                  <a:pt x="4967" y="2054"/>
                </a:lnTo>
                <a:lnTo>
                  <a:pt x="4967" y="2049"/>
                </a:lnTo>
                <a:lnTo>
                  <a:pt x="4967" y="2043"/>
                </a:lnTo>
                <a:lnTo>
                  <a:pt x="4969" y="2038"/>
                </a:lnTo>
                <a:lnTo>
                  <a:pt x="4971" y="2033"/>
                </a:lnTo>
                <a:lnTo>
                  <a:pt x="4977" y="2026"/>
                </a:lnTo>
                <a:lnTo>
                  <a:pt x="4983" y="2021"/>
                </a:lnTo>
                <a:lnTo>
                  <a:pt x="4992" y="2016"/>
                </a:lnTo>
                <a:lnTo>
                  <a:pt x="5003" y="2011"/>
                </a:lnTo>
                <a:lnTo>
                  <a:pt x="5023" y="2003"/>
                </a:lnTo>
                <a:lnTo>
                  <a:pt x="5042" y="1997"/>
                </a:lnTo>
                <a:lnTo>
                  <a:pt x="5050" y="1994"/>
                </a:lnTo>
                <a:lnTo>
                  <a:pt x="5059" y="1992"/>
                </a:lnTo>
                <a:lnTo>
                  <a:pt x="5069" y="1989"/>
                </a:lnTo>
                <a:lnTo>
                  <a:pt x="5081" y="1988"/>
                </a:lnTo>
                <a:lnTo>
                  <a:pt x="5093" y="1987"/>
                </a:lnTo>
                <a:lnTo>
                  <a:pt x="5107" y="1987"/>
                </a:lnTo>
                <a:lnTo>
                  <a:pt x="5123" y="1987"/>
                </a:lnTo>
                <a:lnTo>
                  <a:pt x="5141" y="1989"/>
                </a:lnTo>
                <a:lnTo>
                  <a:pt x="5156" y="1992"/>
                </a:lnTo>
                <a:lnTo>
                  <a:pt x="5166" y="1995"/>
                </a:lnTo>
                <a:lnTo>
                  <a:pt x="5169" y="1997"/>
                </a:lnTo>
                <a:lnTo>
                  <a:pt x="5171" y="1998"/>
                </a:lnTo>
                <a:lnTo>
                  <a:pt x="5172" y="2000"/>
                </a:lnTo>
                <a:lnTo>
                  <a:pt x="5172" y="2002"/>
                </a:lnTo>
                <a:lnTo>
                  <a:pt x="5170" y="2006"/>
                </a:lnTo>
                <a:lnTo>
                  <a:pt x="5166" y="2010"/>
                </a:lnTo>
                <a:lnTo>
                  <a:pt x="5161" y="2013"/>
                </a:lnTo>
                <a:lnTo>
                  <a:pt x="5155" y="2016"/>
                </a:lnTo>
                <a:lnTo>
                  <a:pt x="5149" y="2020"/>
                </a:lnTo>
                <a:lnTo>
                  <a:pt x="5140" y="2022"/>
                </a:lnTo>
                <a:lnTo>
                  <a:pt x="5130" y="2024"/>
                </a:lnTo>
                <a:lnTo>
                  <a:pt x="5117" y="2025"/>
                </a:lnTo>
                <a:lnTo>
                  <a:pt x="5087" y="2029"/>
                </a:lnTo>
                <a:lnTo>
                  <a:pt x="5048" y="2037"/>
                </a:lnTo>
                <a:lnTo>
                  <a:pt x="5030" y="2040"/>
                </a:lnTo>
                <a:lnTo>
                  <a:pt x="5019" y="2044"/>
                </a:lnTo>
                <a:lnTo>
                  <a:pt x="5016" y="2046"/>
                </a:lnTo>
                <a:lnTo>
                  <a:pt x="5014" y="2047"/>
                </a:lnTo>
                <a:lnTo>
                  <a:pt x="5013" y="2048"/>
                </a:lnTo>
                <a:lnTo>
                  <a:pt x="5013" y="2050"/>
                </a:lnTo>
                <a:lnTo>
                  <a:pt x="5015" y="2052"/>
                </a:lnTo>
                <a:lnTo>
                  <a:pt x="5019" y="2054"/>
                </a:lnTo>
                <a:lnTo>
                  <a:pt x="5024" y="2056"/>
                </a:lnTo>
                <a:lnTo>
                  <a:pt x="5031" y="2058"/>
                </a:lnTo>
                <a:lnTo>
                  <a:pt x="5036" y="2060"/>
                </a:lnTo>
                <a:lnTo>
                  <a:pt x="5042" y="2061"/>
                </a:lnTo>
                <a:lnTo>
                  <a:pt x="5047" y="2061"/>
                </a:lnTo>
                <a:lnTo>
                  <a:pt x="5054" y="2061"/>
                </a:lnTo>
                <a:lnTo>
                  <a:pt x="5065" y="2060"/>
                </a:lnTo>
                <a:lnTo>
                  <a:pt x="5077" y="2060"/>
                </a:lnTo>
                <a:lnTo>
                  <a:pt x="5088" y="2061"/>
                </a:lnTo>
                <a:lnTo>
                  <a:pt x="5104" y="2062"/>
                </a:lnTo>
                <a:lnTo>
                  <a:pt x="5126" y="2063"/>
                </a:lnTo>
                <a:lnTo>
                  <a:pt x="5152" y="2064"/>
                </a:lnTo>
                <a:lnTo>
                  <a:pt x="5178" y="2066"/>
                </a:lnTo>
                <a:lnTo>
                  <a:pt x="5205" y="2067"/>
                </a:lnTo>
                <a:lnTo>
                  <a:pt x="5229" y="2068"/>
                </a:lnTo>
                <a:lnTo>
                  <a:pt x="5249" y="2068"/>
                </a:lnTo>
                <a:lnTo>
                  <a:pt x="5258" y="2068"/>
                </a:lnTo>
                <a:lnTo>
                  <a:pt x="5267" y="2069"/>
                </a:lnTo>
                <a:lnTo>
                  <a:pt x="5273" y="2071"/>
                </a:lnTo>
                <a:lnTo>
                  <a:pt x="5280" y="2074"/>
                </a:lnTo>
                <a:lnTo>
                  <a:pt x="5291" y="2079"/>
                </a:lnTo>
                <a:lnTo>
                  <a:pt x="5300" y="2087"/>
                </a:lnTo>
                <a:lnTo>
                  <a:pt x="5309" y="2093"/>
                </a:lnTo>
                <a:lnTo>
                  <a:pt x="5316" y="2100"/>
                </a:lnTo>
                <a:lnTo>
                  <a:pt x="5323" y="2106"/>
                </a:lnTo>
                <a:lnTo>
                  <a:pt x="5330" y="2109"/>
                </a:lnTo>
                <a:lnTo>
                  <a:pt x="5345" y="2116"/>
                </a:lnTo>
                <a:lnTo>
                  <a:pt x="5362" y="2121"/>
                </a:lnTo>
                <a:lnTo>
                  <a:pt x="5371" y="2123"/>
                </a:lnTo>
                <a:lnTo>
                  <a:pt x="5382" y="2124"/>
                </a:lnTo>
                <a:lnTo>
                  <a:pt x="5394" y="2125"/>
                </a:lnTo>
                <a:lnTo>
                  <a:pt x="5407" y="2125"/>
                </a:lnTo>
                <a:lnTo>
                  <a:pt x="5419" y="2124"/>
                </a:lnTo>
                <a:lnTo>
                  <a:pt x="5428" y="2122"/>
                </a:lnTo>
                <a:lnTo>
                  <a:pt x="5432" y="2119"/>
                </a:lnTo>
                <a:lnTo>
                  <a:pt x="5435" y="2116"/>
                </a:lnTo>
                <a:lnTo>
                  <a:pt x="5438" y="2111"/>
                </a:lnTo>
                <a:lnTo>
                  <a:pt x="5443" y="2106"/>
                </a:lnTo>
                <a:lnTo>
                  <a:pt x="5449" y="2102"/>
                </a:lnTo>
                <a:lnTo>
                  <a:pt x="5460" y="2096"/>
                </a:lnTo>
                <a:lnTo>
                  <a:pt x="5467" y="2095"/>
                </a:lnTo>
                <a:lnTo>
                  <a:pt x="5473" y="2093"/>
                </a:lnTo>
                <a:lnTo>
                  <a:pt x="5479" y="2093"/>
                </a:lnTo>
                <a:lnTo>
                  <a:pt x="5486" y="2093"/>
                </a:lnTo>
                <a:lnTo>
                  <a:pt x="5499" y="2094"/>
                </a:lnTo>
                <a:lnTo>
                  <a:pt x="5512" y="2096"/>
                </a:lnTo>
                <a:lnTo>
                  <a:pt x="5524" y="2098"/>
                </a:lnTo>
                <a:lnTo>
                  <a:pt x="5536" y="2102"/>
                </a:lnTo>
                <a:lnTo>
                  <a:pt x="5547" y="2104"/>
                </a:lnTo>
                <a:lnTo>
                  <a:pt x="5556" y="2104"/>
                </a:lnTo>
                <a:lnTo>
                  <a:pt x="5572" y="2104"/>
                </a:lnTo>
                <a:lnTo>
                  <a:pt x="5585" y="2104"/>
                </a:lnTo>
                <a:lnTo>
                  <a:pt x="5602" y="2106"/>
                </a:lnTo>
                <a:lnTo>
                  <a:pt x="5625" y="2108"/>
                </a:lnTo>
                <a:lnTo>
                  <a:pt x="5632" y="2109"/>
                </a:lnTo>
                <a:lnTo>
                  <a:pt x="5637" y="2110"/>
                </a:lnTo>
                <a:lnTo>
                  <a:pt x="5642" y="2111"/>
                </a:lnTo>
                <a:lnTo>
                  <a:pt x="5645" y="2114"/>
                </a:lnTo>
                <a:lnTo>
                  <a:pt x="5647" y="2116"/>
                </a:lnTo>
                <a:lnTo>
                  <a:pt x="5649" y="2118"/>
                </a:lnTo>
                <a:lnTo>
                  <a:pt x="5650" y="2120"/>
                </a:lnTo>
                <a:lnTo>
                  <a:pt x="5651" y="2122"/>
                </a:lnTo>
                <a:lnTo>
                  <a:pt x="5650" y="2133"/>
                </a:lnTo>
                <a:lnTo>
                  <a:pt x="5648" y="2143"/>
                </a:lnTo>
                <a:lnTo>
                  <a:pt x="5648" y="2146"/>
                </a:lnTo>
                <a:lnTo>
                  <a:pt x="5650" y="2150"/>
                </a:lnTo>
                <a:lnTo>
                  <a:pt x="5652" y="2155"/>
                </a:lnTo>
                <a:lnTo>
                  <a:pt x="5655" y="2158"/>
                </a:lnTo>
                <a:lnTo>
                  <a:pt x="5659" y="2163"/>
                </a:lnTo>
                <a:lnTo>
                  <a:pt x="5661" y="2165"/>
                </a:lnTo>
                <a:lnTo>
                  <a:pt x="5715" y="2154"/>
                </a:lnTo>
                <a:lnTo>
                  <a:pt x="5714" y="2157"/>
                </a:lnTo>
                <a:lnTo>
                  <a:pt x="5713" y="2163"/>
                </a:lnTo>
                <a:lnTo>
                  <a:pt x="5712" y="2177"/>
                </a:lnTo>
                <a:lnTo>
                  <a:pt x="5713" y="2197"/>
                </a:lnTo>
                <a:lnTo>
                  <a:pt x="5714" y="2206"/>
                </a:lnTo>
                <a:lnTo>
                  <a:pt x="5715" y="2211"/>
                </a:lnTo>
                <a:lnTo>
                  <a:pt x="5717" y="2212"/>
                </a:lnTo>
                <a:lnTo>
                  <a:pt x="5718" y="2212"/>
                </a:lnTo>
                <a:lnTo>
                  <a:pt x="5721" y="2212"/>
                </a:lnTo>
                <a:lnTo>
                  <a:pt x="5723" y="2211"/>
                </a:lnTo>
                <a:lnTo>
                  <a:pt x="5728" y="2209"/>
                </a:lnTo>
                <a:lnTo>
                  <a:pt x="5736" y="2206"/>
                </a:lnTo>
                <a:lnTo>
                  <a:pt x="5740" y="2205"/>
                </a:lnTo>
                <a:lnTo>
                  <a:pt x="5745" y="2204"/>
                </a:lnTo>
                <a:lnTo>
                  <a:pt x="5752" y="2204"/>
                </a:lnTo>
                <a:lnTo>
                  <a:pt x="5758" y="2205"/>
                </a:lnTo>
                <a:lnTo>
                  <a:pt x="5774" y="2209"/>
                </a:lnTo>
                <a:lnTo>
                  <a:pt x="5791" y="2213"/>
                </a:lnTo>
                <a:lnTo>
                  <a:pt x="5809" y="2219"/>
                </a:lnTo>
                <a:lnTo>
                  <a:pt x="5826" y="2227"/>
                </a:lnTo>
                <a:lnTo>
                  <a:pt x="5844" y="2235"/>
                </a:lnTo>
                <a:lnTo>
                  <a:pt x="5858" y="2244"/>
                </a:lnTo>
                <a:lnTo>
                  <a:pt x="5864" y="2249"/>
                </a:lnTo>
                <a:lnTo>
                  <a:pt x="5869" y="2253"/>
                </a:lnTo>
                <a:lnTo>
                  <a:pt x="5873" y="2258"/>
                </a:lnTo>
                <a:lnTo>
                  <a:pt x="5876" y="2263"/>
                </a:lnTo>
                <a:lnTo>
                  <a:pt x="5877" y="2267"/>
                </a:lnTo>
                <a:lnTo>
                  <a:pt x="5877" y="2271"/>
                </a:lnTo>
                <a:lnTo>
                  <a:pt x="5875" y="2276"/>
                </a:lnTo>
                <a:lnTo>
                  <a:pt x="5873" y="2280"/>
                </a:lnTo>
                <a:lnTo>
                  <a:pt x="5869" y="2283"/>
                </a:lnTo>
                <a:lnTo>
                  <a:pt x="5863" y="2286"/>
                </a:lnTo>
                <a:lnTo>
                  <a:pt x="5858" y="2290"/>
                </a:lnTo>
                <a:lnTo>
                  <a:pt x="5850" y="2293"/>
                </a:lnTo>
                <a:lnTo>
                  <a:pt x="5816" y="2307"/>
                </a:lnTo>
                <a:lnTo>
                  <a:pt x="5776" y="2325"/>
                </a:lnTo>
                <a:lnTo>
                  <a:pt x="5755" y="2335"/>
                </a:lnTo>
                <a:lnTo>
                  <a:pt x="5735" y="2343"/>
                </a:lnTo>
                <a:lnTo>
                  <a:pt x="5716" y="2349"/>
                </a:lnTo>
                <a:lnTo>
                  <a:pt x="5700" y="2355"/>
                </a:lnTo>
                <a:lnTo>
                  <a:pt x="5692" y="2358"/>
                </a:lnTo>
                <a:lnTo>
                  <a:pt x="5687" y="2361"/>
                </a:lnTo>
                <a:lnTo>
                  <a:pt x="5683" y="2363"/>
                </a:lnTo>
                <a:lnTo>
                  <a:pt x="5679" y="2366"/>
                </a:lnTo>
                <a:lnTo>
                  <a:pt x="5678" y="2370"/>
                </a:lnTo>
                <a:lnTo>
                  <a:pt x="5678" y="2373"/>
                </a:lnTo>
                <a:lnTo>
                  <a:pt x="5679" y="2376"/>
                </a:lnTo>
                <a:lnTo>
                  <a:pt x="5684" y="2380"/>
                </a:lnTo>
                <a:lnTo>
                  <a:pt x="5694" y="2388"/>
                </a:lnTo>
                <a:lnTo>
                  <a:pt x="5703" y="2393"/>
                </a:lnTo>
                <a:lnTo>
                  <a:pt x="5712" y="2399"/>
                </a:lnTo>
                <a:lnTo>
                  <a:pt x="5719" y="2402"/>
                </a:lnTo>
                <a:lnTo>
                  <a:pt x="5731" y="2405"/>
                </a:lnTo>
                <a:lnTo>
                  <a:pt x="5736" y="2406"/>
                </a:lnTo>
                <a:lnTo>
                  <a:pt x="5722" y="2413"/>
                </a:lnTo>
                <a:lnTo>
                  <a:pt x="5689" y="2430"/>
                </a:lnTo>
                <a:lnTo>
                  <a:pt x="5670" y="2441"/>
                </a:lnTo>
                <a:lnTo>
                  <a:pt x="5648" y="2453"/>
                </a:lnTo>
                <a:lnTo>
                  <a:pt x="5628" y="2466"/>
                </a:lnTo>
                <a:lnTo>
                  <a:pt x="5609" y="2478"/>
                </a:lnTo>
                <a:lnTo>
                  <a:pt x="5593" y="2489"/>
                </a:lnTo>
                <a:lnTo>
                  <a:pt x="5579" y="2501"/>
                </a:lnTo>
                <a:lnTo>
                  <a:pt x="5567" y="2513"/>
                </a:lnTo>
                <a:lnTo>
                  <a:pt x="5557" y="2525"/>
                </a:lnTo>
                <a:lnTo>
                  <a:pt x="5550" y="2536"/>
                </a:lnTo>
                <a:lnTo>
                  <a:pt x="5544" y="2547"/>
                </a:lnTo>
                <a:lnTo>
                  <a:pt x="5543" y="2552"/>
                </a:lnTo>
                <a:lnTo>
                  <a:pt x="5542" y="2557"/>
                </a:lnTo>
                <a:lnTo>
                  <a:pt x="5542" y="2562"/>
                </a:lnTo>
                <a:lnTo>
                  <a:pt x="5543" y="2566"/>
                </a:lnTo>
                <a:lnTo>
                  <a:pt x="5545" y="2573"/>
                </a:lnTo>
                <a:lnTo>
                  <a:pt x="5548" y="2577"/>
                </a:lnTo>
                <a:lnTo>
                  <a:pt x="5551" y="2578"/>
                </a:lnTo>
                <a:lnTo>
                  <a:pt x="5556" y="2578"/>
                </a:lnTo>
                <a:lnTo>
                  <a:pt x="5563" y="2578"/>
                </a:lnTo>
                <a:lnTo>
                  <a:pt x="5572" y="2577"/>
                </a:lnTo>
                <a:lnTo>
                  <a:pt x="5584" y="2577"/>
                </a:lnTo>
                <a:lnTo>
                  <a:pt x="5601" y="2578"/>
                </a:lnTo>
                <a:lnTo>
                  <a:pt x="5616" y="2579"/>
                </a:lnTo>
                <a:lnTo>
                  <a:pt x="5623" y="2579"/>
                </a:lnTo>
                <a:lnTo>
                  <a:pt x="5627" y="2578"/>
                </a:lnTo>
                <a:lnTo>
                  <a:pt x="5628" y="2577"/>
                </a:lnTo>
                <a:lnTo>
                  <a:pt x="5629" y="2575"/>
                </a:lnTo>
                <a:lnTo>
                  <a:pt x="5630" y="2574"/>
                </a:lnTo>
                <a:lnTo>
                  <a:pt x="5632" y="2568"/>
                </a:lnTo>
                <a:lnTo>
                  <a:pt x="5635" y="2562"/>
                </a:lnTo>
                <a:lnTo>
                  <a:pt x="5638" y="2557"/>
                </a:lnTo>
                <a:lnTo>
                  <a:pt x="5643" y="2553"/>
                </a:lnTo>
                <a:lnTo>
                  <a:pt x="5648" y="2549"/>
                </a:lnTo>
                <a:lnTo>
                  <a:pt x="5655" y="2543"/>
                </a:lnTo>
                <a:lnTo>
                  <a:pt x="5663" y="2538"/>
                </a:lnTo>
                <a:lnTo>
                  <a:pt x="5672" y="2534"/>
                </a:lnTo>
                <a:lnTo>
                  <a:pt x="5681" y="2530"/>
                </a:lnTo>
                <a:lnTo>
                  <a:pt x="5689" y="2527"/>
                </a:lnTo>
                <a:lnTo>
                  <a:pt x="5708" y="2523"/>
                </a:lnTo>
                <a:lnTo>
                  <a:pt x="5727" y="2520"/>
                </a:lnTo>
                <a:lnTo>
                  <a:pt x="5748" y="2516"/>
                </a:lnTo>
                <a:lnTo>
                  <a:pt x="5769" y="2513"/>
                </a:lnTo>
                <a:lnTo>
                  <a:pt x="5791" y="2508"/>
                </a:lnTo>
                <a:lnTo>
                  <a:pt x="5812" y="2500"/>
                </a:lnTo>
                <a:lnTo>
                  <a:pt x="5834" y="2493"/>
                </a:lnTo>
                <a:lnTo>
                  <a:pt x="5852" y="2486"/>
                </a:lnTo>
                <a:lnTo>
                  <a:pt x="5870" y="2482"/>
                </a:lnTo>
                <a:lnTo>
                  <a:pt x="5887" y="2479"/>
                </a:lnTo>
                <a:lnTo>
                  <a:pt x="5905" y="2476"/>
                </a:lnTo>
                <a:lnTo>
                  <a:pt x="5925" y="2475"/>
                </a:lnTo>
                <a:lnTo>
                  <a:pt x="5949" y="2474"/>
                </a:lnTo>
                <a:lnTo>
                  <a:pt x="5976" y="2474"/>
                </a:lnTo>
                <a:lnTo>
                  <a:pt x="5990" y="2474"/>
                </a:lnTo>
                <a:lnTo>
                  <a:pt x="6001" y="2475"/>
                </a:lnTo>
                <a:lnTo>
                  <a:pt x="6009" y="2476"/>
                </a:lnTo>
                <a:lnTo>
                  <a:pt x="6016" y="2478"/>
                </a:lnTo>
                <a:lnTo>
                  <a:pt x="6021" y="2480"/>
                </a:lnTo>
                <a:lnTo>
                  <a:pt x="6025" y="2482"/>
                </a:lnTo>
                <a:lnTo>
                  <a:pt x="6029" y="2485"/>
                </a:lnTo>
                <a:lnTo>
                  <a:pt x="6032" y="2488"/>
                </a:lnTo>
                <a:lnTo>
                  <a:pt x="6039" y="2496"/>
                </a:lnTo>
                <a:lnTo>
                  <a:pt x="6051" y="2505"/>
                </a:lnTo>
                <a:lnTo>
                  <a:pt x="6060" y="2510"/>
                </a:lnTo>
                <a:lnTo>
                  <a:pt x="6070" y="2516"/>
                </a:lnTo>
                <a:lnTo>
                  <a:pt x="6083" y="2522"/>
                </a:lnTo>
                <a:lnTo>
                  <a:pt x="6099" y="2529"/>
                </a:lnTo>
                <a:lnTo>
                  <a:pt x="6113" y="2534"/>
                </a:lnTo>
                <a:lnTo>
                  <a:pt x="6125" y="2537"/>
                </a:lnTo>
                <a:lnTo>
                  <a:pt x="6135" y="2539"/>
                </a:lnTo>
                <a:lnTo>
                  <a:pt x="6142" y="2539"/>
                </a:lnTo>
                <a:lnTo>
                  <a:pt x="6149" y="2539"/>
                </a:lnTo>
                <a:lnTo>
                  <a:pt x="6154" y="2537"/>
                </a:lnTo>
                <a:lnTo>
                  <a:pt x="6158" y="2534"/>
                </a:lnTo>
                <a:lnTo>
                  <a:pt x="6161" y="2530"/>
                </a:lnTo>
                <a:lnTo>
                  <a:pt x="3767" y="0"/>
                </a:lnTo>
                <a:lnTo>
                  <a:pt x="171" y="0"/>
                </a:lnTo>
                <a:lnTo>
                  <a:pt x="4373" y="2258"/>
                </a:lnTo>
                <a:lnTo>
                  <a:pt x="4367" y="2259"/>
                </a:lnTo>
                <a:lnTo>
                  <a:pt x="4359" y="2259"/>
                </a:lnTo>
                <a:lnTo>
                  <a:pt x="4350" y="2260"/>
                </a:lnTo>
                <a:lnTo>
                  <a:pt x="4340" y="2263"/>
                </a:lnTo>
                <a:lnTo>
                  <a:pt x="4330" y="2265"/>
                </a:lnTo>
                <a:lnTo>
                  <a:pt x="4321" y="2267"/>
                </a:lnTo>
                <a:lnTo>
                  <a:pt x="4311" y="2271"/>
                </a:lnTo>
                <a:lnTo>
                  <a:pt x="4301" y="2276"/>
                </a:lnTo>
                <a:lnTo>
                  <a:pt x="4291" y="2282"/>
                </a:lnTo>
                <a:lnTo>
                  <a:pt x="4283" y="2289"/>
                </a:lnTo>
                <a:lnTo>
                  <a:pt x="4266" y="2299"/>
                </a:lnTo>
                <a:lnTo>
                  <a:pt x="4254" y="2306"/>
                </a:lnTo>
                <a:lnTo>
                  <a:pt x="4253" y="2308"/>
                </a:lnTo>
                <a:lnTo>
                  <a:pt x="4251" y="2309"/>
                </a:lnTo>
                <a:lnTo>
                  <a:pt x="4253" y="2311"/>
                </a:lnTo>
                <a:lnTo>
                  <a:pt x="4254" y="2313"/>
                </a:lnTo>
                <a:lnTo>
                  <a:pt x="4260" y="2319"/>
                </a:lnTo>
                <a:lnTo>
                  <a:pt x="4271" y="2327"/>
                </a:lnTo>
                <a:lnTo>
                  <a:pt x="4285" y="2336"/>
                </a:lnTo>
                <a:lnTo>
                  <a:pt x="4296" y="2346"/>
                </a:lnTo>
                <a:lnTo>
                  <a:pt x="4304" y="2355"/>
                </a:lnTo>
                <a:lnTo>
                  <a:pt x="4311" y="2365"/>
                </a:lnTo>
                <a:lnTo>
                  <a:pt x="4315" y="2375"/>
                </a:lnTo>
                <a:lnTo>
                  <a:pt x="4319" y="2385"/>
                </a:lnTo>
                <a:lnTo>
                  <a:pt x="4320" y="2394"/>
                </a:lnTo>
                <a:lnTo>
                  <a:pt x="4320" y="2403"/>
                </a:lnTo>
                <a:lnTo>
                  <a:pt x="0" y="244"/>
                </a:lnTo>
                <a:lnTo>
                  <a:pt x="0" y="3902"/>
                </a:lnTo>
                <a:lnTo>
                  <a:pt x="812" y="3916"/>
                </a:lnTo>
                <a:lnTo>
                  <a:pt x="807" y="3921"/>
                </a:lnTo>
                <a:lnTo>
                  <a:pt x="803" y="3927"/>
                </a:lnTo>
                <a:lnTo>
                  <a:pt x="792" y="3941"/>
                </a:lnTo>
                <a:lnTo>
                  <a:pt x="783" y="3952"/>
                </a:lnTo>
                <a:lnTo>
                  <a:pt x="773" y="3961"/>
                </a:lnTo>
                <a:lnTo>
                  <a:pt x="764" y="3970"/>
                </a:lnTo>
                <a:lnTo>
                  <a:pt x="756" y="3978"/>
                </a:lnTo>
                <a:lnTo>
                  <a:pt x="749" y="3985"/>
                </a:lnTo>
                <a:lnTo>
                  <a:pt x="742" y="3993"/>
                </a:lnTo>
                <a:lnTo>
                  <a:pt x="736" y="4000"/>
                </a:lnTo>
                <a:lnTo>
                  <a:pt x="724" y="4018"/>
                </a:lnTo>
                <a:lnTo>
                  <a:pt x="713" y="4034"/>
                </a:lnTo>
                <a:lnTo>
                  <a:pt x="704" y="4047"/>
                </a:lnTo>
                <a:lnTo>
                  <a:pt x="700" y="4051"/>
                </a:lnTo>
                <a:lnTo>
                  <a:pt x="703" y="4053"/>
                </a:lnTo>
                <a:lnTo>
                  <a:pt x="709" y="4056"/>
                </a:lnTo>
                <a:lnTo>
                  <a:pt x="713" y="4056"/>
                </a:lnTo>
                <a:lnTo>
                  <a:pt x="720" y="4056"/>
                </a:lnTo>
                <a:lnTo>
                  <a:pt x="728" y="4054"/>
                </a:lnTo>
                <a:lnTo>
                  <a:pt x="736" y="4050"/>
                </a:lnTo>
                <a:lnTo>
                  <a:pt x="746" y="4044"/>
                </a:lnTo>
                <a:lnTo>
                  <a:pt x="755" y="4036"/>
                </a:lnTo>
                <a:lnTo>
                  <a:pt x="762" y="4027"/>
                </a:lnTo>
                <a:lnTo>
                  <a:pt x="771" y="4019"/>
                </a:lnTo>
                <a:lnTo>
                  <a:pt x="778" y="4011"/>
                </a:lnTo>
                <a:lnTo>
                  <a:pt x="785" y="4006"/>
                </a:lnTo>
                <a:lnTo>
                  <a:pt x="789" y="4005"/>
                </a:lnTo>
                <a:lnTo>
                  <a:pt x="792" y="4004"/>
                </a:lnTo>
                <a:lnTo>
                  <a:pt x="796" y="4004"/>
                </a:lnTo>
                <a:lnTo>
                  <a:pt x="799" y="4005"/>
                </a:lnTo>
                <a:lnTo>
                  <a:pt x="814" y="4012"/>
                </a:lnTo>
                <a:lnTo>
                  <a:pt x="832" y="4023"/>
                </a:lnTo>
                <a:lnTo>
                  <a:pt x="855" y="4038"/>
                </a:lnTo>
                <a:lnTo>
                  <a:pt x="885" y="4059"/>
                </a:lnTo>
                <a:lnTo>
                  <a:pt x="916" y="4078"/>
                </a:lnTo>
                <a:lnTo>
                  <a:pt x="937" y="4093"/>
                </a:lnTo>
                <a:lnTo>
                  <a:pt x="946" y="4100"/>
                </a:lnTo>
                <a:lnTo>
                  <a:pt x="952" y="4106"/>
                </a:lnTo>
                <a:lnTo>
                  <a:pt x="958" y="4115"/>
                </a:lnTo>
                <a:lnTo>
                  <a:pt x="961" y="4123"/>
                </a:lnTo>
                <a:lnTo>
                  <a:pt x="969" y="4145"/>
                </a:lnTo>
                <a:lnTo>
                  <a:pt x="974" y="4170"/>
                </a:lnTo>
                <a:lnTo>
                  <a:pt x="975" y="4176"/>
                </a:lnTo>
                <a:lnTo>
                  <a:pt x="975" y="4182"/>
                </a:lnTo>
                <a:lnTo>
                  <a:pt x="974" y="4188"/>
                </a:lnTo>
                <a:lnTo>
                  <a:pt x="973" y="4195"/>
                </a:lnTo>
                <a:lnTo>
                  <a:pt x="970" y="4201"/>
                </a:lnTo>
                <a:lnTo>
                  <a:pt x="966" y="4208"/>
                </a:lnTo>
                <a:lnTo>
                  <a:pt x="961" y="4213"/>
                </a:lnTo>
                <a:lnTo>
                  <a:pt x="956" y="4220"/>
                </a:lnTo>
                <a:lnTo>
                  <a:pt x="949" y="4224"/>
                </a:lnTo>
                <a:lnTo>
                  <a:pt x="943" y="4228"/>
                </a:lnTo>
                <a:lnTo>
                  <a:pt x="938" y="4230"/>
                </a:lnTo>
                <a:lnTo>
                  <a:pt x="933" y="4233"/>
                </a:lnTo>
                <a:lnTo>
                  <a:pt x="924" y="4235"/>
                </a:lnTo>
                <a:lnTo>
                  <a:pt x="917" y="4234"/>
                </a:lnTo>
                <a:lnTo>
                  <a:pt x="909" y="4233"/>
                </a:lnTo>
                <a:lnTo>
                  <a:pt x="903" y="4231"/>
                </a:lnTo>
                <a:lnTo>
                  <a:pt x="896" y="4231"/>
                </a:lnTo>
                <a:lnTo>
                  <a:pt x="889" y="4234"/>
                </a:lnTo>
                <a:lnTo>
                  <a:pt x="882" y="4237"/>
                </a:lnTo>
                <a:lnTo>
                  <a:pt x="879" y="4240"/>
                </a:lnTo>
                <a:lnTo>
                  <a:pt x="878" y="4242"/>
                </a:lnTo>
                <a:lnTo>
                  <a:pt x="877" y="4245"/>
                </a:lnTo>
                <a:lnTo>
                  <a:pt x="876" y="4248"/>
                </a:lnTo>
                <a:lnTo>
                  <a:pt x="873" y="4251"/>
                </a:lnTo>
                <a:lnTo>
                  <a:pt x="869" y="4255"/>
                </a:lnTo>
                <a:lnTo>
                  <a:pt x="860" y="4260"/>
                </a:lnTo>
                <a:lnTo>
                  <a:pt x="844" y="4268"/>
                </a:lnTo>
                <a:lnTo>
                  <a:pt x="832" y="4274"/>
                </a:lnTo>
                <a:lnTo>
                  <a:pt x="828" y="4275"/>
                </a:lnTo>
                <a:lnTo>
                  <a:pt x="824" y="4275"/>
                </a:lnTo>
                <a:lnTo>
                  <a:pt x="820" y="4272"/>
                </a:lnTo>
                <a:lnTo>
                  <a:pt x="816" y="4268"/>
                </a:lnTo>
                <a:lnTo>
                  <a:pt x="814" y="4262"/>
                </a:lnTo>
                <a:lnTo>
                  <a:pt x="812" y="4254"/>
                </a:lnTo>
                <a:lnTo>
                  <a:pt x="812" y="4247"/>
                </a:lnTo>
                <a:lnTo>
                  <a:pt x="811" y="4237"/>
                </a:lnTo>
                <a:lnTo>
                  <a:pt x="809" y="4227"/>
                </a:lnTo>
                <a:lnTo>
                  <a:pt x="805" y="4216"/>
                </a:lnTo>
                <a:lnTo>
                  <a:pt x="802" y="4211"/>
                </a:lnTo>
                <a:lnTo>
                  <a:pt x="799" y="4204"/>
                </a:lnTo>
                <a:lnTo>
                  <a:pt x="795" y="4198"/>
                </a:lnTo>
                <a:lnTo>
                  <a:pt x="789" y="4191"/>
                </a:lnTo>
                <a:lnTo>
                  <a:pt x="778" y="4179"/>
                </a:lnTo>
                <a:lnTo>
                  <a:pt x="770" y="4166"/>
                </a:lnTo>
                <a:lnTo>
                  <a:pt x="761" y="4154"/>
                </a:lnTo>
                <a:lnTo>
                  <a:pt x="753" y="4142"/>
                </a:lnTo>
                <a:lnTo>
                  <a:pt x="746" y="4131"/>
                </a:lnTo>
                <a:lnTo>
                  <a:pt x="739" y="4121"/>
                </a:lnTo>
                <a:lnTo>
                  <a:pt x="733" y="4115"/>
                </a:lnTo>
                <a:lnTo>
                  <a:pt x="726" y="4110"/>
                </a:lnTo>
                <a:lnTo>
                  <a:pt x="713" y="4103"/>
                </a:lnTo>
                <a:lnTo>
                  <a:pt x="699" y="4094"/>
                </a:lnTo>
                <a:lnTo>
                  <a:pt x="693" y="4091"/>
                </a:lnTo>
                <a:lnTo>
                  <a:pt x="686" y="4089"/>
                </a:lnTo>
                <a:lnTo>
                  <a:pt x="680" y="4088"/>
                </a:lnTo>
                <a:lnTo>
                  <a:pt x="673" y="4089"/>
                </a:lnTo>
                <a:lnTo>
                  <a:pt x="668" y="4090"/>
                </a:lnTo>
                <a:lnTo>
                  <a:pt x="665" y="4091"/>
                </a:lnTo>
                <a:lnTo>
                  <a:pt x="663" y="4093"/>
                </a:lnTo>
                <a:lnTo>
                  <a:pt x="660" y="4095"/>
                </a:lnTo>
                <a:lnTo>
                  <a:pt x="655" y="4103"/>
                </a:lnTo>
                <a:lnTo>
                  <a:pt x="642" y="4120"/>
                </a:lnTo>
                <a:lnTo>
                  <a:pt x="633" y="4130"/>
                </a:lnTo>
                <a:lnTo>
                  <a:pt x="629" y="4136"/>
                </a:lnTo>
                <a:lnTo>
                  <a:pt x="628" y="4140"/>
                </a:lnTo>
                <a:lnTo>
                  <a:pt x="628" y="4142"/>
                </a:lnTo>
                <a:lnTo>
                  <a:pt x="629" y="4144"/>
                </a:lnTo>
                <a:lnTo>
                  <a:pt x="629" y="4146"/>
                </a:lnTo>
                <a:lnTo>
                  <a:pt x="638" y="4156"/>
                </a:lnTo>
                <a:lnTo>
                  <a:pt x="652" y="4173"/>
                </a:lnTo>
                <a:lnTo>
                  <a:pt x="656" y="4179"/>
                </a:lnTo>
                <a:lnTo>
                  <a:pt x="660" y="4184"/>
                </a:lnTo>
                <a:lnTo>
                  <a:pt x="667" y="4188"/>
                </a:lnTo>
                <a:lnTo>
                  <a:pt x="672" y="4193"/>
                </a:lnTo>
                <a:lnTo>
                  <a:pt x="686" y="4200"/>
                </a:lnTo>
                <a:lnTo>
                  <a:pt x="700" y="4206"/>
                </a:lnTo>
                <a:lnTo>
                  <a:pt x="728" y="4214"/>
                </a:lnTo>
                <a:lnTo>
                  <a:pt x="745" y="4220"/>
                </a:lnTo>
                <a:lnTo>
                  <a:pt x="756" y="4223"/>
                </a:lnTo>
                <a:lnTo>
                  <a:pt x="764" y="4227"/>
                </a:lnTo>
                <a:lnTo>
                  <a:pt x="767" y="4230"/>
                </a:lnTo>
                <a:lnTo>
                  <a:pt x="771" y="4233"/>
                </a:lnTo>
                <a:lnTo>
                  <a:pt x="773" y="4236"/>
                </a:lnTo>
                <a:lnTo>
                  <a:pt x="774" y="4239"/>
                </a:lnTo>
                <a:lnTo>
                  <a:pt x="776" y="4248"/>
                </a:lnTo>
                <a:lnTo>
                  <a:pt x="777" y="4260"/>
                </a:lnTo>
                <a:lnTo>
                  <a:pt x="776" y="4265"/>
                </a:lnTo>
                <a:lnTo>
                  <a:pt x="774" y="4270"/>
                </a:lnTo>
                <a:lnTo>
                  <a:pt x="772" y="4272"/>
                </a:lnTo>
                <a:lnTo>
                  <a:pt x="769" y="4275"/>
                </a:lnTo>
                <a:lnTo>
                  <a:pt x="765" y="4277"/>
                </a:lnTo>
                <a:lnTo>
                  <a:pt x="761" y="4279"/>
                </a:lnTo>
                <a:lnTo>
                  <a:pt x="751" y="4282"/>
                </a:lnTo>
                <a:lnTo>
                  <a:pt x="742" y="4283"/>
                </a:lnTo>
                <a:lnTo>
                  <a:pt x="733" y="4284"/>
                </a:lnTo>
                <a:lnTo>
                  <a:pt x="723" y="4284"/>
                </a:lnTo>
                <a:lnTo>
                  <a:pt x="715" y="4284"/>
                </a:lnTo>
                <a:lnTo>
                  <a:pt x="705" y="4284"/>
                </a:lnTo>
                <a:lnTo>
                  <a:pt x="696" y="4287"/>
                </a:lnTo>
                <a:lnTo>
                  <a:pt x="686" y="4289"/>
                </a:lnTo>
                <a:lnTo>
                  <a:pt x="671" y="4295"/>
                </a:lnTo>
                <a:lnTo>
                  <a:pt x="658" y="4299"/>
                </a:lnTo>
                <a:lnTo>
                  <a:pt x="646" y="4305"/>
                </a:lnTo>
                <a:lnTo>
                  <a:pt x="636" y="4310"/>
                </a:lnTo>
                <a:lnTo>
                  <a:pt x="0" y="4336"/>
                </a:lnTo>
                <a:lnTo>
                  <a:pt x="0" y="7950"/>
                </a:lnTo>
                <a:lnTo>
                  <a:pt x="143" y="7874"/>
                </a:lnTo>
                <a:lnTo>
                  <a:pt x="285" y="7799"/>
                </a:lnTo>
                <a:lnTo>
                  <a:pt x="427" y="7724"/>
                </a:lnTo>
                <a:lnTo>
                  <a:pt x="570" y="7650"/>
                </a:lnTo>
                <a:lnTo>
                  <a:pt x="712" y="7575"/>
                </a:lnTo>
                <a:lnTo>
                  <a:pt x="855" y="7502"/>
                </a:lnTo>
                <a:lnTo>
                  <a:pt x="998" y="7427"/>
                </a:lnTo>
                <a:lnTo>
                  <a:pt x="1140" y="7354"/>
                </a:lnTo>
                <a:lnTo>
                  <a:pt x="1283" y="7281"/>
                </a:lnTo>
                <a:lnTo>
                  <a:pt x="1425" y="7208"/>
                </a:lnTo>
                <a:lnTo>
                  <a:pt x="1567" y="7134"/>
                </a:lnTo>
                <a:lnTo>
                  <a:pt x="1710" y="7062"/>
                </a:lnTo>
                <a:lnTo>
                  <a:pt x="1853" y="6990"/>
                </a:lnTo>
                <a:lnTo>
                  <a:pt x="1995" y="6917"/>
                </a:lnTo>
                <a:lnTo>
                  <a:pt x="2138" y="6845"/>
                </a:lnTo>
                <a:lnTo>
                  <a:pt x="2280" y="6773"/>
                </a:lnTo>
                <a:lnTo>
                  <a:pt x="2320" y="6774"/>
                </a:lnTo>
                <a:lnTo>
                  <a:pt x="2321" y="6774"/>
                </a:lnTo>
                <a:lnTo>
                  <a:pt x="2324" y="6773"/>
                </a:lnTo>
                <a:lnTo>
                  <a:pt x="2328" y="6772"/>
                </a:lnTo>
                <a:lnTo>
                  <a:pt x="2335" y="6773"/>
                </a:lnTo>
                <a:lnTo>
                  <a:pt x="2338" y="6774"/>
                </a:lnTo>
                <a:lnTo>
                  <a:pt x="2341" y="6775"/>
                </a:lnTo>
                <a:lnTo>
                  <a:pt x="2345" y="6778"/>
                </a:lnTo>
                <a:lnTo>
                  <a:pt x="2348" y="6781"/>
                </a:lnTo>
                <a:lnTo>
                  <a:pt x="2351" y="6786"/>
                </a:lnTo>
                <a:lnTo>
                  <a:pt x="2354" y="6791"/>
                </a:lnTo>
                <a:lnTo>
                  <a:pt x="2357" y="6798"/>
                </a:lnTo>
                <a:lnTo>
                  <a:pt x="2360" y="6805"/>
                </a:lnTo>
                <a:lnTo>
                  <a:pt x="2367" y="6834"/>
                </a:lnTo>
                <a:lnTo>
                  <a:pt x="2375" y="6854"/>
                </a:lnTo>
                <a:lnTo>
                  <a:pt x="2378" y="6861"/>
                </a:lnTo>
                <a:lnTo>
                  <a:pt x="2384" y="6867"/>
                </a:lnTo>
                <a:lnTo>
                  <a:pt x="2389" y="6872"/>
                </a:lnTo>
                <a:lnTo>
                  <a:pt x="2397" y="6877"/>
                </a:lnTo>
                <a:lnTo>
                  <a:pt x="2406" y="6881"/>
                </a:lnTo>
                <a:lnTo>
                  <a:pt x="2416" y="6884"/>
                </a:lnTo>
                <a:lnTo>
                  <a:pt x="2428" y="6886"/>
                </a:lnTo>
                <a:lnTo>
                  <a:pt x="2439" y="6888"/>
                </a:lnTo>
                <a:lnTo>
                  <a:pt x="2451" y="6891"/>
                </a:lnTo>
                <a:lnTo>
                  <a:pt x="2461" y="6895"/>
                </a:lnTo>
                <a:lnTo>
                  <a:pt x="2466" y="6897"/>
                </a:lnTo>
                <a:lnTo>
                  <a:pt x="2471" y="6899"/>
                </a:lnTo>
                <a:lnTo>
                  <a:pt x="2475" y="6902"/>
                </a:lnTo>
                <a:lnTo>
                  <a:pt x="2480" y="6906"/>
                </a:lnTo>
                <a:lnTo>
                  <a:pt x="2496" y="6918"/>
                </a:lnTo>
                <a:lnTo>
                  <a:pt x="2511" y="6929"/>
                </a:lnTo>
                <a:lnTo>
                  <a:pt x="2518" y="6934"/>
                </a:lnTo>
                <a:lnTo>
                  <a:pt x="2523" y="6939"/>
                </a:lnTo>
                <a:lnTo>
                  <a:pt x="2528" y="6944"/>
                </a:lnTo>
                <a:lnTo>
                  <a:pt x="2533" y="6951"/>
                </a:lnTo>
                <a:lnTo>
                  <a:pt x="2538" y="6961"/>
                </a:lnTo>
                <a:lnTo>
                  <a:pt x="2542" y="6968"/>
                </a:lnTo>
                <a:lnTo>
                  <a:pt x="2367" y="7070"/>
                </a:lnTo>
                <a:lnTo>
                  <a:pt x="2372" y="7061"/>
                </a:lnTo>
                <a:lnTo>
                  <a:pt x="2373" y="7058"/>
                </a:lnTo>
                <a:lnTo>
                  <a:pt x="2373" y="7056"/>
                </a:lnTo>
                <a:lnTo>
                  <a:pt x="2373" y="7052"/>
                </a:lnTo>
                <a:lnTo>
                  <a:pt x="2371" y="7050"/>
                </a:lnTo>
                <a:lnTo>
                  <a:pt x="2367" y="7046"/>
                </a:lnTo>
                <a:lnTo>
                  <a:pt x="2361" y="7043"/>
                </a:lnTo>
                <a:lnTo>
                  <a:pt x="2353" y="7039"/>
                </a:lnTo>
                <a:lnTo>
                  <a:pt x="2346" y="7035"/>
                </a:lnTo>
                <a:lnTo>
                  <a:pt x="2337" y="7031"/>
                </a:lnTo>
                <a:lnTo>
                  <a:pt x="2330" y="7024"/>
                </a:lnTo>
                <a:lnTo>
                  <a:pt x="2322" y="7018"/>
                </a:lnTo>
                <a:lnTo>
                  <a:pt x="2313" y="7011"/>
                </a:lnTo>
                <a:lnTo>
                  <a:pt x="2305" y="7006"/>
                </a:lnTo>
                <a:lnTo>
                  <a:pt x="2296" y="7001"/>
                </a:lnTo>
                <a:lnTo>
                  <a:pt x="2282" y="6994"/>
                </a:lnTo>
                <a:lnTo>
                  <a:pt x="2277" y="6991"/>
                </a:lnTo>
                <a:lnTo>
                  <a:pt x="2273" y="6993"/>
                </a:lnTo>
                <a:lnTo>
                  <a:pt x="2264" y="6997"/>
                </a:lnTo>
                <a:lnTo>
                  <a:pt x="2258" y="6999"/>
                </a:lnTo>
                <a:lnTo>
                  <a:pt x="2251" y="7001"/>
                </a:lnTo>
                <a:lnTo>
                  <a:pt x="2243" y="7003"/>
                </a:lnTo>
                <a:lnTo>
                  <a:pt x="2235" y="7003"/>
                </a:lnTo>
                <a:lnTo>
                  <a:pt x="2220" y="7004"/>
                </a:lnTo>
                <a:lnTo>
                  <a:pt x="2206" y="7008"/>
                </a:lnTo>
                <a:lnTo>
                  <a:pt x="2200" y="7009"/>
                </a:lnTo>
                <a:lnTo>
                  <a:pt x="2192" y="7011"/>
                </a:lnTo>
                <a:lnTo>
                  <a:pt x="2184" y="7012"/>
                </a:lnTo>
                <a:lnTo>
                  <a:pt x="2174" y="7012"/>
                </a:lnTo>
                <a:lnTo>
                  <a:pt x="2164" y="7014"/>
                </a:lnTo>
                <a:lnTo>
                  <a:pt x="2155" y="7017"/>
                </a:lnTo>
                <a:lnTo>
                  <a:pt x="2149" y="7020"/>
                </a:lnTo>
                <a:lnTo>
                  <a:pt x="2144" y="7025"/>
                </a:lnTo>
                <a:lnTo>
                  <a:pt x="2140" y="7030"/>
                </a:lnTo>
                <a:lnTo>
                  <a:pt x="2138" y="7036"/>
                </a:lnTo>
                <a:lnTo>
                  <a:pt x="2137" y="7041"/>
                </a:lnTo>
                <a:lnTo>
                  <a:pt x="2138" y="7046"/>
                </a:lnTo>
                <a:lnTo>
                  <a:pt x="2143" y="7055"/>
                </a:lnTo>
                <a:lnTo>
                  <a:pt x="2149" y="7064"/>
                </a:lnTo>
                <a:lnTo>
                  <a:pt x="2155" y="7074"/>
                </a:lnTo>
                <a:lnTo>
                  <a:pt x="2164" y="7086"/>
                </a:lnTo>
                <a:lnTo>
                  <a:pt x="2167" y="7091"/>
                </a:lnTo>
                <a:lnTo>
                  <a:pt x="2170" y="7098"/>
                </a:lnTo>
                <a:lnTo>
                  <a:pt x="2172" y="7104"/>
                </a:lnTo>
                <a:lnTo>
                  <a:pt x="2173" y="7111"/>
                </a:lnTo>
                <a:lnTo>
                  <a:pt x="2174" y="7127"/>
                </a:lnTo>
                <a:lnTo>
                  <a:pt x="2175" y="7149"/>
                </a:lnTo>
                <a:lnTo>
                  <a:pt x="2176" y="7166"/>
                </a:lnTo>
                <a:lnTo>
                  <a:pt x="2176" y="7172"/>
                </a:lnTo>
                <a:lnTo>
                  <a:pt x="2177" y="7176"/>
                </a:lnTo>
                <a:lnTo>
                  <a:pt x="2178" y="7179"/>
                </a:lnTo>
                <a:lnTo>
                  <a:pt x="0" y="8434"/>
                </a:lnTo>
                <a:lnTo>
                  <a:pt x="0" y="12104"/>
                </a:lnTo>
                <a:lnTo>
                  <a:pt x="4381" y="7399"/>
                </a:lnTo>
                <a:lnTo>
                  <a:pt x="4381" y="7404"/>
                </a:lnTo>
                <a:lnTo>
                  <a:pt x="4381" y="7412"/>
                </a:lnTo>
                <a:lnTo>
                  <a:pt x="4381" y="7423"/>
                </a:lnTo>
                <a:lnTo>
                  <a:pt x="4382" y="7431"/>
                </a:lnTo>
                <a:lnTo>
                  <a:pt x="4383" y="7439"/>
                </a:lnTo>
                <a:lnTo>
                  <a:pt x="4386" y="7446"/>
                </a:lnTo>
                <a:lnTo>
                  <a:pt x="4392" y="7458"/>
                </a:lnTo>
                <a:lnTo>
                  <a:pt x="4401" y="7474"/>
                </a:lnTo>
                <a:lnTo>
                  <a:pt x="4404" y="7482"/>
                </a:lnTo>
                <a:lnTo>
                  <a:pt x="4407" y="7491"/>
                </a:lnTo>
                <a:lnTo>
                  <a:pt x="4409" y="7500"/>
                </a:lnTo>
                <a:lnTo>
                  <a:pt x="4410" y="7508"/>
                </a:lnTo>
                <a:lnTo>
                  <a:pt x="4410" y="7517"/>
                </a:lnTo>
                <a:lnTo>
                  <a:pt x="4409" y="7524"/>
                </a:lnTo>
                <a:lnTo>
                  <a:pt x="4408" y="7532"/>
                </a:lnTo>
                <a:lnTo>
                  <a:pt x="4406" y="7537"/>
                </a:lnTo>
                <a:lnTo>
                  <a:pt x="4402" y="7549"/>
                </a:lnTo>
                <a:lnTo>
                  <a:pt x="4397" y="7562"/>
                </a:lnTo>
                <a:lnTo>
                  <a:pt x="4395" y="7570"/>
                </a:lnTo>
                <a:lnTo>
                  <a:pt x="4394" y="7577"/>
                </a:lnTo>
                <a:lnTo>
                  <a:pt x="4394" y="7587"/>
                </a:lnTo>
                <a:lnTo>
                  <a:pt x="4394" y="7597"/>
                </a:lnTo>
                <a:lnTo>
                  <a:pt x="4395" y="7609"/>
                </a:lnTo>
                <a:lnTo>
                  <a:pt x="4396" y="7622"/>
                </a:lnTo>
                <a:lnTo>
                  <a:pt x="4399" y="7633"/>
                </a:lnTo>
                <a:lnTo>
                  <a:pt x="4401" y="7645"/>
                </a:lnTo>
                <a:lnTo>
                  <a:pt x="0" y="12676"/>
                </a:lnTo>
                <a:lnTo>
                  <a:pt x="0" y="15347"/>
                </a:lnTo>
                <a:lnTo>
                  <a:pt x="6501" y="5706"/>
                </a:lnTo>
                <a:lnTo>
                  <a:pt x="6513" y="5708"/>
                </a:lnTo>
                <a:lnTo>
                  <a:pt x="6523" y="5709"/>
                </a:lnTo>
                <a:lnTo>
                  <a:pt x="6527" y="5708"/>
                </a:lnTo>
                <a:lnTo>
                  <a:pt x="6531" y="5706"/>
                </a:lnTo>
                <a:lnTo>
                  <a:pt x="6533" y="5703"/>
                </a:lnTo>
                <a:lnTo>
                  <a:pt x="6536" y="5700"/>
                </a:lnTo>
                <a:lnTo>
                  <a:pt x="6545" y="5685"/>
                </a:lnTo>
                <a:lnTo>
                  <a:pt x="6552" y="5674"/>
                </a:lnTo>
                <a:lnTo>
                  <a:pt x="6553" y="5669"/>
                </a:lnTo>
                <a:lnTo>
                  <a:pt x="6553" y="5662"/>
                </a:lnTo>
                <a:lnTo>
                  <a:pt x="6550" y="5654"/>
                </a:lnTo>
                <a:lnTo>
                  <a:pt x="6542" y="5644"/>
                </a:lnTo>
                <a:lnTo>
                  <a:pt x="6659" y="5472"/>
                </a:lnTo>
                <a:lnTo>
                  <a:pt x="6670" y="5456"/>
                </a:lnTo>
                <a:lnTo>
                  <a:pt x="6680" y="5441"/>
                </a:lnTo>
                <a:lnTo>
                  <a:pt x="6691" y="5445"/>
                </a:lnTo>
                <a:lnTo>
                  <a:pt x="6700" y="5449"/>
                </a:lnTo>
                <a:lnTo>
                  <a:pt x="6707" y="5452"/>
                </a:lnTo>
                <a:lnTo>
                  <a:pt x="6714" y="5454"/>
                </a:lnTo>
                <a:lnTo>
                  <a:pt x="6722" y="5457"/>
                </a:lnTo>
                <a:lnTo>
                  <a:pt x="6730" y="5459"/>
                </a:lnTo>
                <a:lnTo>
                  <a:pt x="6739" y="5462"/>
                </a:lnTo>
                <a:lnTo>
                  <a:pt x="6749" y="5463"/>
                </a:lnTo>
                <a:lnTo>
                  <a:pt x="6733" y="5472"/>
                </a:lnTo>
                <a:lnTo>
                  <a:pt x="6720" y="5483"/>
                </a:lnTo>
                <a:lnTo>
                  <a:pt x="6714" y="5490"/>
                </a:lnTo>
                <a:lnTo>
                  <a:pt x="6709" y="5497"/>
                </a:lnTo>
                <a:lnTo>
                  <a:pt x="6702" y="5505"/>
                </a:lnTo>
                <a:lnTo>
                  <a:pt x="6698" y="5512"/>
                </a:lnTo>
                <a:lnTo>
                  <a:pt x="0" y="16163"/>
                </a:lnTo>
                <a:lnTo>
                  <a:pt x="0" y="17280"/>
                </a:lnTo>
                <a:lnTo>
                  <a:pt x="1087" y="17280"/>
                </a:lnTo>
                <a:lnTo>
                  <a:pt x="1130" y="17189"/>
                </a:lnTo>
                <a:lnTo>
                  <a:pt x="1198" y="17048"/>
                </a:lnTo>
                <a:lnTo>
                  <a:pt x="1289" y="16860"/>
                </a:lnTo>
                <a:lnTo>
                  <a:pt x="1402" y="16629"/>
                </a:lnTo>
                <a:lnTo>
                  <a:pt x="1685" y="16050"/>
                </a:lnTo>
                <a:lnTo>
                  <a:pt x="2035" y="15338"/>
                </a:lnTo>
                <a:lnTo>
                  <a:pt x="2440" y="14518"/>
                </a:lnTo>
                <a:lnTo>
                  <a:pt x="2884" y="13618"/>
                </a:lnTo>
                <a:lnTo>
                  <a:pt x="3356" y="12664"/>
                </a:lnTo>
                <a:lnTo>
                  <a:pt x="3843" y="11681"/>
                </a:lnTo>
                <a:lnTo>
                  <a:pt x="4329" y="10698"/>
                </a:lnTo>
                <a:lnTo>
                  <a:pt x="4805" y="9739"/>
                </a:lnTo>
                <a:lnTo>
                  <a:pt x="5256" y="8833"/>
                </a:lnTo>
                <a:lnTo>
                  <a:pt x="5669" y="8005"/>
                </a:lnTo>
                <a:lnTo>
                  <a:pt x="6030" y="7280"/>
                </a:lnTo>
                <a:lnTo>
                  <a:pt x="6326" y="6687"/>
                </a:lnTo>
                <a:lnTo>
                  <a:pt x="6447" y="6449"/>
                </a:lnTo>
                <a:lnTo>
                  <a:pt x="6545" y="6252"/>
                </a:lnTo>
                <a:lnTo>
                  <a:pt x="6622" y="6101"/>
                </a:lnTo>
                <a:lnTo>
                  <a:pt x="6674" y="6000"/>
                </a:lnTo>
                <a:lnTo>
                  <a:pt x="6689" y="5973"/>
                </a:lnTo>
                <a:lnTo>
                  <a:pt x="6703" y="5949"/>
                </a:lnTo>
                <a:lnTo>
                  <a:pt x="6716" y="5926"/>
                </a:lnTo>
                <a:lnTo>
                  <a:pt x="6730" y="5905"/>
                </a:lnTo>
                <a:lnTo>
                  <a:pt x="6745" y="5887"/>
                </a:lnTo>
                <a:lnTo>
                  <a:pt x="6759" y="5871"/>
                </a:lnTo>
                <a:lnTo>
                  <a:pt x="6776" y="5856"/>
                </a:lnTo>
                <a:lnTo>
                  <a:pt x="6793" y="5843"/>
                </a:lnTo>
                <a:lnTo>
                  <a:pt x="6802" y="5837"/>
                </a:lnTo>
                <a:lnTo>
                  <a:pt x="6811" y="5832"/>
                </a:lnTo>
                <a:lnTo>
                  <a:pt x="6821" y="5827"/>
                </a:lnTo>
                <a:lnTo>
                  <a:pt x="6832" y="5822"/>
                </a:lnTo>
                <a:lnTo>
                  <a:pt x="6853" y="5814"/>
                </a:lnTo>
                <a:lnTo>
                  <a:pt x="6878" y="5807"/>
                </a:lnTo>
                <a:lnTo>
                  <a:pt x="6904" y="5803"/>
                </a:lnTo>
                <a:lnTo>
                  <a:pt x="6934" y="5799"/>
                </a:lnTo>
                <a:lnTo>
                  <a:pt x="6967" y="5796"/>
                </a:lnTo>
                <a:lnTo>
                  <a:pt x="7003" y="5795"/>
                </a:lnTo>
                <a:lnTo>
                  <a:pt x="7490" y="5795"/>
                </a:lnTo>
                <a:lnTo>
                  <a:pt x="7506" y="5805"/>
                </a:lnTo>
                <a:lnTo>
                  <a:pt x="7523" y="5813"/>
                </a:lnTo>
                <a:lnTo>
                  <a:pt x="7531" y="5816"/>
                </a:lnTo>
                <a:lnTo>
                  <a:pt x="7540" y="5819"/>
                </a:lnTo>
                <a:lnTo>
                  <a:pt x="7550" y="5821"/>
                </a:lnTo>
                <a:lnTo>
                  <a:pt x="7558" y="5823"/>
                </a:lnTo>
                <a:lnTo>
                  <a:pt x="7569" y="5823"/>
                </a:lnTo>
                <a:lnTo>
                  <a:pt x="7579" y="5824"/>
                </a:lnTo>
                <a:lnTo>
                  <a:pt x="7590" y="5823"/>
                </a:lnTo>
                <a:lnTo>
                  <a:pt x="7601" y="5822"/>
                </a:lnTo>
                <a:lnTo>
                  <a:pt x="7613" y="5820"/>
                </a:lnTo>
                <a:lnTo>
                  <a:pt x="7625" y="5818"/>
                </a:lnTo>
                <a:lnTo>
                  <a:pt x="7637" y="5814"/>
                </a:lnTo>
                <a:lnTo>
                  <a:pt x="7651" y="5809"/>
                </a:lnTo>
                <a:lnTo>
                  <a:pt x="7659" y="5806"/>
                </a:lnTo>
                <a:lnTo>
                  <a:pt x="7667" y="5802"/>
                </a:lnTo>
                <a:lnTo>
                  <a:pt x="7676" y="5799"/>
                </a:lnTo>
                <a:lnTo>
                  <a:pt x="7684" y="5795"/>
                </a:lnTo>
                <a:lnTo>
                  <a:pt x="9269" y="5795"/>
                </a:lnTo>
                <a:lnTo>
                  <a:pt x="9259" y="5787"/>
                </a:lnTo>
                <a:lnTo>
                  <a:pt x="9248" y="5780"/>
                </a:lnTo>
                <a:lnTo>
                  <a:pt x="9236" y="5775"/>
                </a:lnTo>
                <a:lnTo>
                  <a:pt x="9225" y="5770"/>
                </a:lnTo>
                <a:lnTo>
                  <a:pt x="9213" y="5768"/>
                </a:lnTo>
                <a:lnTo>
                  <a:pt x="9202" y="5767"/>
                </a:lnTo>
                <a:lnTo>
                  <a:pt x="9190" y="5766"/>
                </a:lnTo>
                <a:lnTo>
                  <a:pt x="9180" y="5766"/>
                </a:lnTo>
                <a:lnTo>
                  <a:pt x="9141" y="5770"/>
                </a:lnTo>
                <a:lnTo>
                  <a:pt x="9112" y="5775"/>
                </a:lnTo>
                <a:lnTo>
                  <a:pt x="9106" y="5774"/>
                </a:lnTo>
                <a:lnTo>
                  <a:pt x="9100" y="5772"/>
                </a:lnTo>
                <a:lnTo>
                  <a:pt x="9092" y="5769"/>
                </a:lnTo>
                <a:lnTo>
                  <a:pt x="9083" y="5765"/>
                </a:lnTo>
                <a:lnTo>
                  <a:pt x="9075" y="5760"/>
                </a:lnTo>
                <a:lnTo>
                  <a:pt x="9066" y="5752"/>
                </a:lnTo>
                <a:lnTo>
                  <a:pt x="9056" y="5746"/>
                </a:lnTo>
                <a:lnTo>
                  <a:pt x="9047" y="5737"/>
                </a:lnTo>
                <a:lnTo>
                  <a:pt x="9026" y="5718"/>
                </a:lnTo>
                <a:lnTo>
                  <a:pt x="9007" y="5695"/>
                </a:lnTo>
                <a:lnTo>
                  <a:pt x="8996" y="5683"/>
                </a:lnTo>
                <a:lnTo>
                  <a:pt x="8987" y="5670"/>
                </a:lnTo>
                <a:lnTo>
                  <a:pt x="8978" y="5657"/>
                </a:lnTo>
                <a:lnTo>
                  <a:pt x="8969" y="5643"/>
                </a:lnTo>
                <a:lnTo>
                  <a:pt x="8953" y="5618"/>
                </a:lnTo>
                <a:lnTo>
                  <a:pt x="8939" y="5600"/>
                </a:lnTo>
                <a:lnTo>
                  <a:pt x="8926" y="5584"/>
                </a:lnTo>
                <a:lnTo>
                  <a:pt x="8913" y="5567"/>
                </a:lnTo>
                <a:lnTo>
                  <a:pt x="8898" y="5549"/>
                </a:lnTo>
                <a:lnTo>
                  <a:pt x="8880" y="5526"/>
                </a:lnTo>
                <a:lnTo>
                  <a:pt x="8859" y="5495"/>
                </a:lnTo>
                <a:lnTo>
                  <a:pt x="8832" y="5454"/>
                </a:lnTo>
                <a:lnTo>
                  <a:pt x="8823" y="5442"/>
                </a:lnTo>
                <a:lnTo>
                  <a:pt x="8815" y="5430"/>
                </a:lnTo>
                <a:lnTo>
                  <a:pt x="10010" y="5432"/>
                </a:lnTo>
                <a:lnTo>
                  <a:pt x="10023" y="5465"/>
                </a:lnTo>
                <a:lnTo>
                  <a:pt x="10040" y="5510"/>
                </a:lnTo>
                <a:lnTo>
                  <a:pt x="10060" y="5564"/>
                </a:lnTo>
                <a:lnTo>
                  <a:pt x="10080" y="5621"/>
                </a:lnTo>
                <a:lnTo>
                  <a:pt x="10100" y="5676"/>
                </a:lnTo>
                <a:lnTo>
                  <a:pt x="10118" y="5726"/>
                </a:lnTo>
                <a:lnTo>
                  <a:pt x="10133" y="5765"/>
                </a:lnTo>
                <a:lnTo>
                  <a:pt x="10143" y="5788"/>
                </a:lnTo>
                <a:lnTo>
                  <a:pt x="10147" y="5796"/>
                </a:lnTo>
                <a:lnTo>
                  <a:pt x="10196" y="5796"/>
                </a:lnTo>
                <a:lnTo>
                  <a:pt x="10297" y="5796"/>
                </a:lnTo>
                <a:lnTo>
                  <a:pt x="10430" y="5796"/>
                </a:lnTo>
                <a:lnTo>
                  <a:pt x="10421" y="5778"/>
                </a:lnTo>
                <a:lnTo>
                  <a:pt x="10409" y="5760"/>
                </a:lnTo>
                <a:lnTo>
                  <a:pt x="10401" y="5751"/>
                </a:lnTo>
                <a:lnTo>
                  <a:pt x="10394" y="5742"/>
                </a:lnTo>
                <a:lnTo>
                  <a:pt x="10386" y="5734"/>
                </a:lnTo>
                <a:lnTo>
                  <a:pt x="10376" y="5725"/>
                </a:lnTo>
                <a:lnTo>
                  <a:pt x="10366" y="5714"/>
                </a:lnTo>
                <a:lnTo>
                  <a:pt x="10354" y="5703"/>
                </a:lnTo>
                <a:lnTo>
                  <a:pt x="10343" y="5691"/>
                </a:lnTo>
                <a:lnTo>
                  <a:pt x="10331" y="5678"/>
                </a:lnTo>
                <a:lnTo>
                  <a:pt x="10308" y="5648"/>
                </a:lnTo>
                <a:lnTo>
                  <a:pt x="10286" y="5620"/>
                </a:lnTo>
                <a:lnTo>
                  <a:pt x="10264" y="5592"/>
                </a:lnTo>
                <a:lnTo>
                  <a:pt x="10243" y="5566"/>
                </a:lnTo>
                <a:lnTo>
                  <a:pt x="10234" y="5554"/>
                </a:lnTo>
                <a:lnTo>
                  <a:pt x="10225" y="5545"/>
                </a:lnTo>
                <a:lnTo>
                  <a:pt x="10216" y="5536"/>
                </a:lnTo>
                <a:lnTo>
                  <a:pt x="10208" y="5529"/>
                </a:lnTo>
                <a:lnTo>
                  <a:pt x="10188" y="5511"/>
                </a:lnTo>
                <a:lnTo>
                  <a:pt x="10169" y="5492"/>
                </a:lnTo>
                <a:lnTo>
                  <a:pt x="10151" y="5472"/>
                </a:lnTo>
                <a:lnTo>
                  <a:pt x="10141" y="5458"/>
                </a:lnTo>
                <a:lnTo>
                  <a:pt x="10137" y="5453"/>
                </a:lnTo>
                <a:lnTo>
                  <a:pt x="10135" y="5448"/>
                </a:lnTo>
                <a:lnTo>
                  <a:pt x="10133" y="5439"/>
                </a:lnTo>
                <a:lnTo>
                  <a:pt x="10131" y="5430"/>
                </a:lnTo>
                <a:lnTo>
                  <a:pt x="10128" y="5414"/>
                </a:lnTo>
                <a:lnTo>
                  <a:pt x="10126" y="5399"/>
                </a:lnTo>
                <a:lnTo>
                  <a:pt x="10123" y="5388"/>
                </a:lnTo>
                <a:lnTo>
                  <a:pt x="10123" y="5384"/>
                </a:lnTo>
                <a:lnTo>
                  <a:pt x="10115" y="5367"/>
                </a:lnTo>
                <a:lnTo>
                  <a:pt x="10035" y="5367"/>
                </a:lnTo>
                <a:lnTo>
                  <a:pt x="10016" y="5330"/>
                </a:lnTo>
                <a:lnTo>
                  <a:pt x="9999" y="5295"/>
                </a:lnTo>
                <a:lnTo>
                  <a:pt x="9986" y="5268"/>
                </a:lnTo>
                <a:lnTo>
                  <a:pt x="9981" y="5255"/>
                </a:lnTo>
                <a:lnTo>
                  <a:pt x="9981" y="5252"/>
                </a:lnTo>
                <a:lnTo>
                  <a:pt x="9983" y="5250"/>
                </a:lnTo>
                <a:lnTo>
                  <a:pt x="9986" y="5247"/>
                </a:lnTo>
                <a:lnTo>
                  <a:pt x="9990" y="5244"/>
                </a:lnTo>
                <a:lnTo>
                  <a:pt x="9996" y="5242"/>
                </a:lnTo>
                <a:lnTo>
                  <a:pt x="10001" y="5239"/>
                </a:lnTo>
                <a:lnTo>
                  <a:pt x="10006" y="5236"/>
                </a:lnTo>
                <a:lnTo>
                  <a:pt x="10010" y="5232"/>
                </a:lnTo>
                <a:lnTo>
                  <a:pt x="10016" y="5237"/>
                </a:lnTo>
                <a:lnTo>
                  <a:pt x="10030" y="5250"/>
                </a:lnTo>
                <a:lnTo>
                  <a:pt x="10048" y="5268"/>
                </a:lnTo>
                <a:lnTo>
                  <a:pt x="10062" y="5286"/>
                </a:lnTo>
                <a:lnTo>
                  <a:pt x="10075" y="5302"/>
                </a:lnTo>
                <a:lnTo>
                  <a:pt x="10088" y="5320"/>
                </a:lnTo>
                <a:lnTo>
                  <a:pt x="10094" y="5329"/>
                </a:lnTo>
                <a:lnTo>
                  <a:pt x="10101" y="5340"/>
                </a:lnTo>
                <a:lnTo>
                  <a:pt x="10106" y="5350"/>
                </a:lnTo>
                <a:lnTo>
                  <a:pt x="10113" y="5361"/>
                </a:lnTo>
                <a:lnTo>
                  <a:pt x="10114" y="5363"/>
                </a:lnTo>
                <a:lnTo>
                  <a:pt x="10115" y="5367"/>
                </a:lnTo>
                <a:lnTo>
                  <a:pt x="10184" y="5365"/>
                </a:lnTo>
                <a:lnTo>
                  <a:pt x="10254" y="5365"/>
                </a:lnTo>
                <a:lnTo>
                  <a:pt x="10323" y="5365"/>
                </a:lnTo>
                <a:lnTo>
                  <a:pt x="10393" y="5364"/>
                </a:lnTo>
                <a:lnTo>
                  <a:pt x="10463" y="5364"/>
                </a:lnTo>
                <a:lnTo>
                  <a:pt x="10532" y="5364"/>
                </a:lnTo>
                <a:lnTo>
                  <a:pt x="10601" y="5364"/>
                </a:lnTo>
                <a:lnTo>
                  <a:pt x="10670" y="5364"/>
                </a:lnTo>
                <a:lnTo>
                  <a:pt x="10741" y="5364"/>
                </a:lnTo>
                <a:lnTo>
                  <a:pt x="10810" y="5364"/>
                </a:lnTo>
                <a:lnTo>
                  <a:pt x="10879" y="5364"/>
                </a:lnTo>
                <a:lnTo>
                  <a:pt x="10948" y="5364"/>
                </a:lnTo>
                <a:lnTo>
                  <a:pt x="11018" y="5364"/>
                </a:lnTo>
                <a:lnTo>
                  <a:pt x="11088" y="5364"/>
                </a:lnTo>
                <a:lnTo>
                  <a:pt x="11157" y="5364"/>
                </a:lnTo>
                <a:lnTo>
                  <a:pt x="11226" y="5365"/>
                </a:lnTo>
                <a:lnTo>
                  <a:pt x="11265" y="5422"/>
                </a:lnTo>
                <a:lnTo>
                  <a:pt x="11296" y="5467"/>
                </a:lnTo>
                <a:lnTo>
                  <a:pt x="11319" y="5499"/>
                </a:lnTo>
                <a:lnTo>
                  <a:pt x="11329" y="5517"/>
                </a:lnTo>
                <a:lnTo>
                  <a:pt x="11336" y="5530"/>
                </a:lnTo>
                <a:lnTo>
                  <a:pt x="11343" y="5543"/>
                </a:lnTo>
                <a:lnTo>
                  <a:pt x="11350" y="5552"/>
                </a:lnTo>
                <a:lnTo>
                  <a:pt x="11356" y="5560"/>
                </a:lnTo>
                <a:lnTo>
                  <a:pt x="11359" y="5562"/>
                </a:lnTo>
                <a:lnTo>
                  <a:pt x="11361" y="5563"/>
                </a:lnTo>
                <a:lnTo>
                  <a:pt x="11364" y="5564"/>
                </a:lnTo>
                <a:lnTo>
                  <a:pt x="11367" y="5564"/>
                </a:lnTo>
                <a:lnTo>
                  <a:pt x="11369" y="5563"/>
                </a:lnTo>
                <a:lnTo>
                  <a:pt x="11371" y="5560"/>
                </a:lnTo>
                <a:lnTo>
                  <a:pt x="11373" y="5557"/>
                </a:lnTo>
                <a:lnTo>
                  <a:pt x="11375" y="5552"/>
                </a:lnTo>
                <a:lnTo>
                  <a:pt x="11382" y="5535"/>
                </a:lnTo>
                <a:lnTo>
                  <a:pt x="11388" y="5523"/>
                </a:lnTo>
                <a:lnTo>
                  <a:pt x="11391" y="5516"/>
                </a:lnTo>
                <a:lnTo>
                  <a:pt x="11394" y="5508"/>
                </a:lnTo>
                <a:lnTo>
                  <a:pt x="11395" y="5498"/>
                </a:lnTo>
                <a:lnTo>
                  <a:pt x="11396" y="5484"/>
                </a:lnTo>
                <a:lnTo>
                  <a:pt x="11397" y="5470"/>
                </a:lnTo>
                <a:lnTo>
                  <a:pt x="11397" y="5457"/>
                </a:lnTo>
                <a:lnTo>
                  <a:pt x="11397" y="5444"/>
                </a:lnTo>
                <a:lnTo>
                  <a:pt x="11395" y="5432"/>
                </a:lnTo>
                <a:lnTo>
                  <a:pt x="11391" y="5419"/>
                </a:lnTo>
                <a:lnTo>
                  <a:pt x="11386" y="5406"/>
                </a:lnTo>
                <a:lnTo>
                  <a:pt x="11377" y="5391"/>
                </a:lnTo>
                <a:lnTo>
                  <a:pt x="11367" y="5374"/>
                </a:lnTo>
                <a:lnTo>
                  <a:pt x="11363" y="5370"/>
                </a:lnTo>
                <a:lnTo>
                  <a:pt x="11360" y="5367"/>
                </a:lnTo>
                <a:lnTo>
                  <a:pt x="11397" y="5367"/>
                </a:lnTo>
                <a:lnTo>
                  <a:pt x="11466" y="5367"/>
                </a:lnTo>
                <a:lnTo>
                  <a:pt x="11561" y="5367"/>
                </a:lnTo>
                <a:lnTo>
                  <a:pt x="11680" y="5367"/>
                </a:lnTo>
                <a:lnTo>
                  <a:pt x="11816" y="5367"/>
                </a:lnTo>
                <a:lnTo>
                  <a:pt x="11966" y="5368"/>
                </a:lnTo>
                <a:lnTo>
                  <a:pt x="12125" y="5368"/>
                </a:lnTo>
                <a:lnTo>
                  <a:pt x="12289" y="5368"/>
                </a:lnTo>
                <a:lnTo>
                  <a:pt x="12452" y="5368"/>
                </a:lnTo>
                <a:lnTo>
                  <a:pt x="12611" y="5368"/>
                </a:lnTo>
                <a:lnTo>
                  <a:pt x="12761" y="5369"/>
                </a:lnTo>
                <a:lnTo>
                  <a:pt x="12897" y="5369"/>
                </a:lnTo>
                <a:lnTo>
                  <a:pt x="13016" y="5369"/>
                </a:lnTo>
                <a:lnTo>
                  <a:pt x="13111" y="5369"/>
                </a:lnTo>
                <a:lnTo>
                  <a:pt x="13180" y="5370"/>
                </a:lnTo>
                <a:lnTo>
                  <a:pt x="13217" y="5370"/>
                </a:lnTo>
                <a:lnTo>
                  <a:pt x="13223" y="5025"/>
                </a:lnTo>
                <a:lnTo>
                  <a:pt x="11419" y="5024"/>
                </a:lnTo>
                <a:lnTo>
                  <a:pt x="11407" y="5012"/>
                </a:lnTo>
                <a:lnTo>
                  <a:pt x="11392" y="4998"/>
                </a:lnTo>
                <a:lnTo>
                  <a:pt x="11375" y="4983"/>
                </a:lnTo>
                <a:lnTo>
                  <a:pt x="11359" y="4967"/>
                </a:lnTo>
                <a:lnTo>
                  <a:pt x="11447" y="4967"/>
                </a:lnTo>
                <a:lnTo>
                  <a:pt x="11569" y="4967"/>
                </a:lnTo>
                <a:lnTo>
                  <a:pt x="11722" y="4967"/>
                </a:lnTo>
                <a:lnTo>
                  <a:pt x="11901" y="4967"/>
                </a:lnTo>
                <a:lnTo>
                  <a:pt x="12098" y="4967"/>
                </a:lnTo>
                <a:lnTo>
                  <a:pt x="12311" y="4967"/>
                </a:lnTo>
                <a:lnTo>
                  <a:pt x="12533" y="4967"/>
                </a:lnTo>
                <a:lnTo>
                  <a:pt x="12760" y="4967"/>
                </a:lnTo>
                <a:lnTo>
                  <a:pt x="12987" y="4967"/>
                </a:lnTo>
                <a:lnTo>
                  <a:pt x="13207" y="4967"/>
                </a:lnTo>
                <a:lnTo>
                  <a:pt x="13417" y="4967"/>
                </a:lnTo>
                <a:lnTo>
                  <a:pt x="13611" y="4967"/>
                </a:lnTo>
                <a:lnTo>
                  <a:pt x="13784" y="4967"/>
                </a:lnTo>
                <a:lnTo>
                  <a:pt x="13930" y="4967"/>
                </a:lnTo>
                <a:lnTo>
                  <a:pt x="14045" y="4967"/>
                </a:lnTo>
                <a:lnTo>
                  <a:pt x="14123" y="4967"/>
                </a:lnTo>
                <a:lnTo>
                  <a:pt x="14123" y="4539"/>
                </a:lnTo>
                <a:lnTo>
                  <a:pt x="11075" y="4539"/>
                </a:lnTo>
                <a:lnTo>
                  <a:pt x="11071" y="4526"/>
                </a:lnTo>
                <a:lnTo>
                  <a:pt x="11070" y="4514"/>
                </a:lnTo>
                <a:lnTo>
                  <a:pt x="11068" y="4503"/>
                </a:lnTo>
                <a:lnTo>
                  <a:pt x="11067" y="4490"/>
                </a:lnTo>
                <a:lnTo>
                  <a:pt x="11146" y="4490"/>
                </a:lnTo>
                <a:close/>
                <a:moveTo>
                  <a:pt x="10297" y="5796"/>
                </a:moveTo>
                <a:lnTo>
                  <a:pt x="10307" y="5822"/>
                </a:lnTo>
                <a:lnTo>
                  <a:pt x="10317" y="5849"/>
                </a:lnTo>
                <a:lnTo>
                  <a:pt x="10326" y="5872"/>
                </a:lnTo>
                <a:lnTo>
                  <a:pt x="10329" y="5884"/>
                </a:lnTo>
                <a:lnTo>
                  <a:pt x="10329" y="5889"/>
                </a:lnTo>
                <a:lnTo>
                  <a:pt x="10331" y="5895"/>
                </a:lnTo>
                <a:lnTo>
                  <a:pt x="10334" y="5902"/>
                </a:lnTo>
                <a:lnTo>
                  <a:pt x="10339" y="5911"/>
                </a:lnTo>
                <a:lnTo>
                  <a:pt x="10348" y="5927"/>
                </a:lnTo>
                <a:lnTo>
                  <a:pt x="10358" y="5941"/>
                </a:lnTo>
                <a:lnTo>
                  <a:pt x="10370" y="5957"/>
                </a:lnTo>
                <a:lnTo>
                  <a:pt x="10385" y="5978"/>
                </a:lnTo>
                <a:lnTo>
                  <a:pt x="10398" y="5995"/>
                </a:lnTo>
                <a:lnTo>
                  <a:pt x="10404" y="6003"/>
                </a:lnTo>
                <a:lnTo>
                  <a:pt x="10410" y="6017"/>
                </a:lnTo>
                <a:lnTo>
                  <a:pt x="10423" y="6051"/>
                </a:lnTo>
                <a:lnTo>
                  <a:pt x="10438" y="6089"/>
                </a:lnTo>
                <a:lnTo>
                  <a:pt x="10449" y="6118"/>
                </a:lnTo>
                <a:lnTo>
                  <a:pt x="10457" y="6143"/>
                </a:lnTo>
                <a:lnTo>
                  <a:pt x="10465" y="6172"/>
                </a:lnTo>
                <a:lnTo>
                  <a:pt x="10470" y="6197"/>
                </a:lnTo>
                <a:lnTo>
                  <a:pt x="10473" y="6207"/>
                </a:lnTo>
                <a:lnTo>
                  <a:pt x="10527" y="6307"/>
                </a:lnTo>
                <a:lnTo>
                  <a:pt x="10523" y="6255"/>
                </a:lnTo>
                <a:lnTo>
                  <a:pt x="10531" y="6237"/>
                </a:lnTo>
                <a:lnTo>
                  <a:pt x="10546" y="6220"/>
                </a:lnTo>
                <a:lnTo>
                  <a:pt x="10547" y="6218"/>
                </a:lnTo>
                <a:lnTo>
                  <a:pt x="10549" y="6213"/>
                </a:lnTo>
                <a:lnTo>
                  <a:pt x="10550" y="6207"/>
                </a:lnTo>
                <a:lnTo>
                  <a:pt x="10551" y="6200"/>
                </a:lnTo>
                <a:lnTo>
                  <a:pt x="10550" y="6196"/>
                </a:lnTo>
                <a:lnTo>
                  <a:pt x="10547" y="6192"/>
                </a:lnTo>
                <a:lnTo>
                  <a:pt x="10544" y="6187"/>
                </a:lnTo>
                <a:lnTo>
                  <a:pt x="10538" y="6183"/>
                </a:lnTo>
                <a:lnTo>
                  <a:pt x="10531" y="6175"/>
                </a:lnTo>
                <a:lnTo>
                  <a:pt x="10528" y="6172"/>
                </a:lnTo>
                <a:lnTo>
                  <a:pt x="10516" y="6159"/>
                </a:lnTo>
                <a:lnTo>
                  <a:pt x="10491" y="6129"/>
                </a:lnTo>
                <a:lnTo>
                  <a:pt x="10466" y="6098"/>
                </a:lnTo>
                <a:lnTo>
                  <a:pt x="10455" y="6081"/>
                </a:lnTo>
                <a:lnTo>
                  <a:pt x="10450" y="6069"/>
                </a:lnTo>
                <a:lnTo>
                  <a:pt x="10438" y="6045"/>
                </a:lnTo>
                <a:lnTo>
                  <a:pt x="10425" y="6020"/>
                </a:lnTo>
                <a:lnTo>
                  <a:pt x="10417" y="6003"/>
                </a:lnTo>
                <a:lnTo>
                  <a:pt x="10414" y="5991"/>
                </a:lnTo>
                <a:lnTo>
                  <a:pt x="10411" y="5977"/>
                </a:lnTo>
                <a:lnTo>
                  <a:pt x="10409" y="5964"/>
                </a:lnTo>
                <a:lnTo>
                  <a:pt x="10408" y="5954"/>
                </a:lnTo>
                <a:lnTo>
                  <a:pt x="10399" y="5927"/>
                </a:lnTo>
                <a:lnTo>
                  <a:pt x="10382" y="5876"/>
                </a:lnTo>
                <a:lnTo>
                  <a:pt x="10366" y="5827"/>
                </a:lnTo>
                <a:lnTo>
                  <a:pt x="10358" y="5805"/>
                </a:lnTo>
                <a:lnTo>
                  <a:pt x="10394" y="5803"/>
                </a:lnTo>
                <a:lnTo>
                  <a:pt x="10446" y="5832"/>
                </a:lnTo>
                <a:lnTo>
                  <a:pt x="10434" y="5802"/>
                </a:lnTo>
                <a:lnTo>
                  <a:pt x="10433" y="5800"/>
                </a:lnTo>
                <a:lnTo>
                  <a:pt x="10430" y="5796"/>
                </a:lnTo>
                <a:lnTo>
                  <a:pt x="10879" y="5796"/>
                </a:lnTo>
                <a:lnTo>
                  <a:pt x="11058" y="5796"/>
                </a:lnTo>
                <a:lnTo>
                  <a:pt x="11058" y="5430"/>
                </a:lnTo>
                <a:lnTo>
                  <a:pt x="10879" y="5430"/>
                </a:lnTo>
                <a:lnTo>
                  <a:pt x="10131" y="5430"/>
                </a:lnTo>
                <a:lnTo>
                  <a:pt x="10076" y="5430"/>
                </a:lnTo>
                <a:lnTo>
                  <a:pt x="10083" y="5444"/>
                </a:lnTo>
                <a:lnTo>
                  <a:pt x="10092" y="5458"/>
                </a:lnTo>
                <a:lnTo>
                  <a:pt x="10101" y="5472"/>
                </a:lnTo>
                <a:lnTo>
                  <a:pt x="10109" y="5486"/>
                </a:lnTo>
                <a:lnTo>
                  <a:pt x="10117" y="5495"/>
                </a:lnTo>
                <a:lnTo>
                  <a:pt x="10126" y="5506"/>
                </a:lnTo>
                <a:lnTo>
                  <a:pt x="10137" y="5517"/>
                </a:lnTo>
                <a:lnTo>
                  <a:pt x="10149" y="5529"/>
                </a:lnTo>
                <a:lnTo>
                  <a:pt x="10161" y="5539"/>
                </a:lnTo>
                <a:lnTo>
                  <a:pt x="10172" y="5550"/>
                </a:lnTo>
                <a:lnTo>
                  <a:pt x="10181" y="5560"/>
                </a:lnTo>
                <a:lnTo>
                  <a:pt x="10185" y="5567"/>
                </a:lnTo>
                <a:lnTo>
                  <a:pt x="10188" y="5575"/>
                </a:lnTo>
                <a:lnTo>
                  <a:pt x="10191" y="5584"/>
                </a:lnTo>
                <a:lnTo>
                  <a:pt x="10194" y="5594"/>
                </a:lnTo>
                <a:lnTo>
                  <a:pt x="10196" y="5604"/>
                </a:lnTo>
                <a:lnTo>
                  <a:pt x="10199" y="5625"/>
                </a:lnTo>
                <a:lnTo>
                  <a:pt x="10201" y="5638"/>
                </a:lnTo>
                <a:lnTo>
                  <a:pt x="10202" y="5643"/>
                </a:lnTo>
                <a:lnTo>
                  <a:pt x="10207" y="5651"/>
                </a:lnTo>
                <a:lnTo>
                  <a:pt x="10212" y="5658"/>
                </a:lnTo>
                <a:lnTo>
                  <a:pt x="10220" y="5668"/>
                </a:lnTo>
                <a:lnTo>
                  <a:pt x="10235" y="5687"/>
                </a:lnTo>
                <a:lnTo>
                  <a:pt x="10249" y="5705"/>
                </a:lnTo>
                <a:lnTo>
                  <a:pt x="10262" y="5725"/>
                </a:lnTo>
                <a:lnTo>
                  <a:pt x="10275" y="5746"/>
                </a:lnTo>
                <a:lnTo>
                  <a:pt x="10283" y="5763"/>
                </a:lnTo>
                <a:lnTo>
                  <a:pt x="10287" y="5770"/>
                </a:lnTo>
                <a:lnTo>
                  <a:pt x="10290" y="5778"/>
                </a:lnTo>
                <a:lnTo>
                  <a:pt x="10297" y="5796"/>
                </a:lnTo>
                <a:close/>
                <a:moveTo>
                  <a:pt x="11212" y="4180"/>
                </a:moveTo>
                <a:lnTo>
                  <a:pt x="11205" y="4184"/>
                </a:lnTo>
                <a:lnTo>
                  <a:pt x="11194" y="4190"/>
                </a:lnTo>
                <a:lnTo>
                  <a:pt x="11175" y="4200"/>
                </a:lnTo>
                <a:lnTo>
                  <a:pt x="11149" y="4213"/>
                </a:lnTo>
                <a:lnTo>
                  <a:pt x="11170" y="4202"/>
                </a:lnTo>
                <a:lnTo>
                  <a:pt x="11188" y="4193"/>
                </a:lnTo>
                <a:lnTo>
                  <a:pt x="11203" y="4184"/>
                </a:lnTo>
                <a:lnTo>
                  <a:pt x="11212" y="4180"/>
                </a:lnTo>
                <a:close/>
                <a:moveTo>
                  <a:pt x="9270" y="5796"/>
                </a:moveTo>
                <a:lnTo>
                  <a:pt x="9273" y="5799"/>
                </a:lnTo>
                <a:lnTo>
                  <a:pt x="9275" y="5801"/>
                </a:lnTo>
                <a:lnTo>
                  <a:pt x="9313" y="5836"/>
                </a:lnTo>
                <a:lnTo>
                  <a:pt x="9340" y="5864"/>
                </a:lnTo>
                <a:lnTo>
                  <a:pt x="9352" y="5877"/>
                </a:lnTo>
                <a:lnTo>
                  <a:pt x="9362" y="5890"/>
                </a:lnTo>
                <a:lnTo>
                  <a:pt x="9372" y="5905"/>
                </a:lnTo>
                <a:lnTo>
                  <a:pt x="9381" y="5924"/>
                </a:lnTo>
                <a:lnTo>
                  <a:pt x="9399" y="5961"/>
                </a:lnTo>
                <a:lnTo>
                  <a:pt x="9416" y="5993"/>
                </a:lnTo>
                <a:lnTo>
                  <a:pt x="9421" y="6000"/>
                </a:lnTo>
                <a:lnTo>
                  <a:pt x="9425" y="6006"/>
                </a:lnTo>
                <a:lnTo>
                  <a:pt x="9430" y="6011"/>
                </a:lnTo>
                <a:lnTo>
                  <a:pt x="9436" y="6017"/>
                </a:lnTo>
                <a:lnTo>
                  <a:pt x="9441" y="6020"/>
                </a:lnTo>
                <a:lnTo>
                  <a:pt x="9448" y="6023"/>
                </a:lnTo>
                <a:lnTo>
                  <a:pt x="9454" y="6025"/>
                </a:lnTo>
                <a:lnTo>
                  <a:pt x="9462" y="6026"/>
                </a:lnTo>
                <a:lnTo>
                  <a:pt x="9493" y="6031"/>
                </a:lnTo>
                <a:lnTo>
                  <a:pt x="9529" y="6036"/>
                </a:lnTo>
                <a:lnTo>
                  <a:pt x="9539" y="6036"/>
                </a:lnTo>
                <a:lnTo>
                  <a:pt x="9548" y="6036"/>
                </a:lnTo>
                <a:lnTo>
                  <a:pt x="9558" y="6036"/>
                </a:lnTo>
                <a:lnTo>
                  <a:pt x="9568" y="6034"/>
                </a:lnTo>
                <a:lnTo>
                  <a:pt x="9577" y="6032"/>
                </a:lnTo>
                <a:lnTo>
                  <a:pt x="9587" y="6029"/>
                </a:lnTo>
                <a:lnTo>
                  <a:pt x="9597" y="6024"/>
                </a:lnTo>
                <a:lnTo>
                  <a:pt x="9608" y="6018"/>
                </a:lnTo>
                <a:lnTo>
                  <a:pt x="9617" y="6011"/>
                </a:lnTo>
                <a:lnTo>
                  <a:pt x="9625" y="6004"/>
                </a:lnTo>
                <a:lnTo>
                  <a:pt x="9633" y="5996"/>
                </a:lnTo>
                <a:lnTo>
                  <a:pt x="9639" y="5989"/>
                </a:lnTo>
                <a:lnTo>
                  <a:pt x="9650" y="5975"/>
                </a:lnTo>
                <a:lnTo>
                  <a:pt x="9660" y="5962"/>
                </a:lnTo>
                <a:lnTo>
                  <a:pt x="9663" y="5956"/>
                </a:lnTo>
                <a:lnTo>
                  <a:pt x="9667" y="5952"/>
                </a:lnTo>
                <a:lnTo>
                  <a:pt x="9673" y="5949"/>
                </a:lnTo>
                <a:lnTo>
                  <a:pt x="9677" y="5946"/>
                </a:lnTo>
                <a:lnTo>
                  <a:pt x="9682" y="5946"/>
                </a:lnTo>
                <a:lnTo>
                  <a:pt x="9688" y="5949"/>
                </a:lnTo>
                <a:lnTo>
                  <a:pt x="9694" y="5952"/>
                </a:lnTo>
                <a:lnTo>
                  <a:pt x="9702" y="5958"/>
                </a:lnTo>
                <a:lnTo>
                  <a:pt x="9732" y="5982"/>
                </a:lnTo>
                <a:lnTo>
                  <a:pt x="9756" y="6004"/>
                </a:lnTo>
                <a:lnTo>
                  <a:pt x="9760" y="6009"/>
                </a:lnTo>
                <a:lnTo>
                  <a:pt x="9764" y="6016"/>
                </a:lnTo>
                <a:lnTo>
                  <a:pt x="9768" y="6022"/>
                </a:lnTo>
                <a:lnTo>
                  <a:pt x="9771" y="6030"/>
                </a:lnTo>
                <a:lnTo>
                  <a:pt x="9773" y="6037"/>
                </a:lnTo>
                <a:lnTo>
                  <a:pt x="9775" y="6046"/>
                </a:lnTo>
                <a:lnTo>
                  <a:pt x="9776" y="6056"/>
                </a:lnTo>
                <a:lnTo>
                  <a:pt x="9776" y="6066"/>
                </a:lnTo>
                <a:lnTo>
                  <a:pt x="9777" y="6088"/>
                </a:lnTo>
                <a:lnTo>
                  <a:pt x="9780" y="6108"/>
                </a:lnTo>
                <a:lnTo>
                  <a:pt x="9784" y="6129"/>
                </a:lnTo>
                <a:lnTo>
                  <a:pt x="9788" y="6151"/>
                </a:lnTo>
                <a:lnTo>
                  <a:pt x="9793" y="6173"/>
                </a:lnTo>
                <a:lnTo>
                  <a:pt x="9798" y="6199"/>
                </a:lnTo>
                <a:lnTo>
                  <a:pt x="9803" y="6229"/>
                </a:lnTo>
                <a:lnTo>
                  <a:pt x="9808" y="6264"/>
                </a:lnTo>
                <a:lnTo>
                  <a:pt x="9812" y="6301"/>
                </a:lnTo>
                <a:lnTo>
                  <a:pt x="9815" y="6335"/>
                </a:lnTo>
                <a:lnTo>
                  <a:pt x="9817" y="6367"/>
                </a:lnTo>
                <a:lnTo>
                  <a:pt x="9820" y="6394"/>
                </a:lnTo>
                <a:lnTo>
                  <a:pt x="9821" y="6416"/>
                </a:lnTo>
                <a:lnTo>
                  <a:pt x="9822" y="6432"/>
                </a:lnTo>
                <a:lnTo>
                  <a:pt x="9822" y="6443"/>
                </a:lnTo>
                <a:lnTo>
                  <a:pt x="9823" y="6448"/>
                </a:lnTo>
                <a:lnTo>
                  <a:pt x="9822" y="6451"/>
                </a:lnTo>
                <a:lnTo>
                  <a:pt x="9819" y="6459"/>
                </a:lnTo>
                <a:lnTo>
                  <a:pt x="9814" y="6464"/>
                </a:lnTo>
                <a:lnTo>
                  <a:pt x="9808" y="6468"/>
                </a:lnTo>
                <a:lnTo>
                  <a:pt x="9799" y="6471"/>
                </a:lnTo>
                <a:lnTo>
                  <a:pt x="9788" y="6474"/>
                </a:lnTo>
                <a:lnTo>
                  <a:pt x="9782" y="6474"/>
                </a:lnTo>
                <a:lnTo>
                  <a:pt x="9776" y="6472"/>
                </a:lnTo>
                <a:lnTo>
                  <a:pt x="9772" y="6472"/>
                </a:lnTo>
                <a:lnTo>
                  <a:pt x="9769" y="6471"/>
                </a:lnTo>
                <a:lnTo>
                  <a:pt x="9762" y="6468"/>
                </a:lnTo>
                <a:lnTo>
                  <a:pt x="9756" y="6464"/>
                </a:lnTo>
                <a:lnTo>
                  <a:pt x="9750" y="6461"/>
                </a:lnTo>
                <a:lnTo>
                  <a:pt x="9743" y="6459"/>
                </a:lnTo>
                <a:lnTo>
                  <a:pt x="9740" y="6458"/>
                </a:lnTo>
                <a:lnTo>
                  <a:pt x="9734" y="6459"/>
                </a:lnTo>
                <a:lnTo>
                  <a:pt x="9729" y="6459"/>
                </a:lnTo>
                <a:lnTo>
                  <a:pt x="9722" y="6462"/>
                </a:lnTo>
                <a:lnTo>
                  <a:pt x="9708" y="6466"/>
                </a:lnTo>
                <a:lnTo>
                  <a:pt x="9695" y="6471"/>
                </a:lnTo>
                <a:lnTo>
                  <a:pt x="9690" y="6475"/>
                </a:lnTo>
                <a:lnTo>
                  <a:pt x="9685" y="6478"/>
                </a:lnTo>
                <a:lnTo>
                  <a:pt x="9680" y="6482"/>
                </a:lnTo>
                <a:lnTo>
                  <a:pt x="9676" y="6485"/>
                </a:lnTo>
                <a:lnTo>
                  <a:pt x="9673" y="6490"/>
                </a:lnTo>
                <a:lnTo>
                  <a:pt x="9672" y="6495"/>
                </a:lnTo>
                <a:lnTo>
                  <a:pt x="9670" y="6499"/>
                </a:lnTo>
                <a:lnTo>
                  <a:pt x="9672" y="6506"/>
                </a:lnTo>
                <a:lnTo>
                  <a:pt x="9673" y="6511"/>
                </a:lnTo>
                <a:lnTo>
                  <a:pt x="9676" y="6518"/>
                </a:lnTo>
                <a:lnTo>
                  <a:pt x="9681" y="6525"/>
                </a:lnTo>
                <a:lnTo>
                  <a:pt x="9688" y="6533"/>
                </a:lnTo>
                <a:lnTo>
                  <a:pt x="9695" y="6542"/>
                </a:lnTo>
                <a:lnTo>
                  <a:pt x="9702" y="6550"/>
                </a:lnTo>
                <a:lnTo>
                  <a:pt x="9708" y="6560"/>
                </a:lnTo>
                <a:lnTo>
                  <a:pt x="9715" y="6570"/>
                </a:lnTo>
                <a:lnTo>
                  <a:pt x="9725" y="6590"/>
                </a:lnTo>
                <a:lnTo>
                  <a:pt x="9734" y="6610"/>
                </a:lnTo>
                <a:lnTo>
                  <a:pt x="9748" y="6646"/>
                </a:lnTo>
                <a:lnTo>
                  <a:pt x="9757" y="6673"/>
                </a:lnTo>
                <a:lnTo>
                  <a:pt x="9763" y="6695"/>
                </a:lnTo>
                <a:lnTo>
                  <a:pt x="9771" y="6717"/>
                </a:lnTo>
                <a:lnTo>
                  <a:pt x="9777" y="6733"/>
                </a:lnTo>
                <a:lnTo>
                  <a:pt x="9780" y="6739"/>
                </a:lnTo>
                <a:lnTo>
                  <a:pt x="9783" y="6738"/>
                </a:lnTo>
                <a:lnTo>
                  <a:pt x="9787" y="6735"/>
                </a:lnTo>
                <a:lnTo>
                  <a:pt x="9792" y="6731"/>
                </a:lnTo>
                <a:lnTo>
                  <a:pt x="9796" y="6723"/>
                </a:lnTo>
                <a:lnTo>
                  <a:pt x="9800" y="6715"/>
                </a:lnTo>
                <a:lnTo>
                  <a:pt x="9806" y="6704"/>
                </a:lnTo>
                <a:lnTo>
                  <a:pt x="9811" y="6691"/>
                </a:lnTo>
                <a:lnTo>
                  <a:pt x="9817" y="6674"/>
                </a:lnTo>
                <a:lnTo>
                  <a:pt x="9822" y="6665"/>
                </a:lnTo>
                <a:lnTo>
                  <a:pt x="9828" y="6656"/>
                </a:lnTo>
                <a:lnTo>
                  <a:pt x="9836" y="6648"/>
                </a:lnTo>
                <a:lnTo>
                  <a:pt x="9844" y="6642"/>
                </a:lnTo>
                <a:lnTo>
                  <a:pt x="9859" y="6630"/>
                </a:lnTo>
                <a:lnTo>
                  <a:pt x="9868" y="6621"/>
                </a:lnTo>
                <a:lnTo>
                  <a:pt x="9869" y="6621"/>
                </a:lnTo>
                <a:lnTo>
                  <a:pt x="9872" y="6621"/>
                </a:lnTo>
                <a:lnTo>
                  <a:pt x="9875" y="6621"/>
                </a:lnTo>
                <a:lnTo>
                  <a:pt x="9877" y="6625"/>
                </a:lnTo>
                <a:lnTo>
                  <a:pt x="9880" y="6631"/>
                </a:lnTo>
                <a:lnTo>
                  <a:pt x="9881" y="6643"/>
                </a:lnTo>
                <a:lnTo>
                  <a:pt x="9880" y="6660"/>
                </a:lnTo>
                <a:lnTo>
                  <a:pt x="9877" y="6685"/>
                </a:lnTo>
                <a:lnTo>
                  <a:pt x="9875" y="6701"/>
                </a:lnTo>
                <a:lnTo>
                  <a:pt x="9875" y="6714"/>
                </a:lnTo>
                <a:lnTo>
                  <a:pt x="9876" y="6725"/>
                </a:lnTo>
                <a:lnTo>
                  <a:pt x="9878" y="6733"/>
                </a:lnTo>
                <a:lnTo>
                  <a:pt x="9882" y="6739"/>
                </a:lnTo>
                <a:lnTo>
                  <a:pt x="9887" y="6744"/>
                </a:lnTo>
                <a:lnTo>
                  <a:pt x="9893" y="6747"/>
                </a:lnTo>
                <a:lnTo>
                  <a:pt x="9899" y="6749"/>
                </a:lnTo>
                <a:lnTo>
                  <a:pt x="9906" y="6752"/>
                </a:lnTo>
                <a:lnTo>
                  <a:pt x="9912" y="6758"/>
                </a:lnTo>
                <a:lnTo>
                  <a:pt x="9917" y="6764"/>
                </a:lnTo>
                <a:lnTo>
                  <a:pt x="9922" y="6769"/>
                </a:lnTo>
                <a:lnTo>
                  <a:pt x="9929" y="6775"/>
                </a:lnTo>
                <a:lnTo>
                  <a:pt x="9935" y="6780"/>
                </a:lnTo>
                <a:lnTo>
                  <a:pt x="9939" y="6781"/>
                </a:lnTo>
                <a:lnTo>
                  <a:pt x="9943" y="6782"/>
                </a:lnTo>
                <a:lnTo>
                  <a:pt x="9947" y="6782"/>
                </a:lnTo>
                <a:lnTo>
                  <a:pt x="9952" y="6782"/>
                </a:lnTo>
                <a:lnTo>
                  <a:pt x="9970" y="6779"/>
                </a:lnTo>
                <a:lnTo>
                  <a:pt x="9986" y="6776"/>
                </a:lnTo>
                <a:lnTo>
                  <a:pt x="10001" y="6773"/>
                </a:lnTo>
                <a:lnTo>
                  <a:pt x="10015" y="6768"/>
                </a:lnTo>
                <a:lnTo>
                  <a:pt x="10021" y="6765"/>
                </a:lnTo>
                <a:lnTo>
                  <a:pt x="10027" y="6762"/>
                </a:lnTo>
                <a:lnTo>
                  <a:pt x="10033" y="6758"/>
                </a:lnTo>
                <a:lnTo>
                  <a:pt x="10037" y="6753"/>
                </a:lnTo>
                <a:lnTo>
                  <a:pt x="10042" y="6748"/>
                </a:lnTo>
                <a:lnTo>
                  <a:pt x="10047" y="6742"/>
                </a:lnTo>
                <a:lnTo>
                  <a:pt x="10051" y="6736"/>
                </a:lnTo>
                <a:lnTo>
                  <a:pt x="10054" y="6727"/>
                </a:lnTo>
                <a:lnTo>
                  <a:pt x="10061" y="6713"/>
                </a:lnTo>
                <a:lnTo>
                  <a:pt x="10065" y="6700"/>
                </a:lnTo>
                <a:lnTo>
                  <a:pt x="10066" y="6688"/>
                </a:lnTo>
                <a:lnTo>
                  <a:pt x="10067" y="6678"/>
                </a:lnTo>
                <a:lnTo>
                  <a:pt x="10065" y="6659"/>
                </a:lnTo>
                <a:lnTo>
                  <a:pt x="10063" y="6639"/>
                </a:lnTo>
                <a:lnTo>
                  <a:pt x="10062" y="6621"/>
                </a:lnTo>
                <a:lnTo>
                  <a:pt x="10062" y="6610"/>
                </a:lnTo>
                <a:lnTo>
                  <a:pt x="10063" y="6605"/>
                </a:lnTo>
                <a:lnTo>
                  <a:pt x="10064" y="6601"/>
                </a:lnTo>
                <a:lnTo>
                  <a:pt x="10066" y="6597"/>
                </a:lnTo>
                <a:lnTo>
                  <a:pt x="10069" y="6592"/>
                </a:lnTo>
                <a:lnTo>
                  <a:pt x="10074" y="6585"/>
                </a:lnTo>
                <a:lnTo>
                  <a:pt x="10079" y="6573"/>
                </a:lnTo>
                <a:lnTo>
                  <a:pt x="10084" y="6560"/>
                </a:lnTo>
                <a:lnTo>
                  <a:pt x="10090" y="6545"/>
                </a:lnTo>
                <a:lnTo>
                  <a:pt x="10100" y="6519"/>
                </a:lnTo>
                <a:lnTo>
                  <a:pt x="10103" y="6507"/>
                </a:lnTo>
                <a:lnTo>
                  <a:pt x="10107" y="6497"/>
                </a:lnTo>
                <a:lnTo>
                  <a:pt x="10115" y="6468"/>
                </a:lnTo>
                <a:lnTo>
                  <a:pt x="10120" y="6448"/>
                </a:lnTo>
                <a:lnTo>
                  <a:pt x="10123" y="6422"/>
                </a:lnTo>
                <a:lnTo>
                  <a:pt x="10127" y="6393"/>
                </a:lnTo>
                <a:lnTo>
                  <a:pt x="10129" y="6359"/>
                </a:lnTo>
                <a:lnTo>
                  <a:pt x="10131" y="6323"/>
                </a:lnTo>
                <a:lnTo>
                  <a:pt x="10134" y="6289"/>
                </a:lnTo>
                <a:lnTo>
                  <a:pt x="10137" y="6255"/>
                </a:lnTo>
                <a:lnTo>
                  <a:pt x="10142" y="6223"/>
                </a:lnTo>
                <a:lnTo>
                  <a:pt x="10145" y="6193"/>
                </a:lnTo>
                <a:lnTo>
                  <a:pt x="10148" y="6162"/>
                </a:lnTo>
                <a:lnTo>
                  <a:pt x="10151" y="6135"/>
                </a:lnTo>
                <a:lnTo>
                  <a:pt x="10151" y="6110"/>
                </a:lnTo>
                <a:lnTo>
                  <a:pt x="10153" y="6081"/>
                </a:lnTo>
                <a:lnTo>
                  <a:pt x="10154" y="6049"/>
                </a:lnTo>
                <a:lnTo>
                  <a:pt x="10157" y="6015"/>
                </a:lnTo>
                <a:lnTo>
                  <a:pt x="10159" y="5980"/>
                </a:lnTo>
                <a:lnTo>
                  <a:pt x="10161" y="5950"/>
                </a:lnTo>
                <a:lnTo>
                  <a:pt x="10164" y="5924"/>
                </a:lnTo>
                <a:lnTo>
                  <a:pt x="10166" y="5907"/>
                </a:lnTo>
                <a:lnTo>
                  <a:pt x="10167" y="5901"/>
                </a:lnTo>
                <a:lnTo>
                  <a:pt x="10166" y="5889"/>
                </a:lnTo>
                <a:lnTo>
                  <a:pt x="10162" y="5863"/>
                </a:lnTo>
                <a:lnTo>
                  <a:pt x="10160" y="5846"/>
                </a:lnTo>
                <a:lnTo>
                  <a:pt x="10156" y="5829"/>
                </a:lnTo>
                <a:lnTo>
                  <a:pt x="10151" y="5811"/>
                </a:lnTo>
                <a:lnTo>
                  <a:pt x="10147" y="5796"/>
                </a:lnTo>
                <a:lnTo>
                  <a:pt x="9270" y="5796"/>
                </a:lnTo>
                <a:close/>
                <a:moveTo>
                  <a:pt x="10076" y="5430"/>
                </a:moveTo>
                <a:lnTo>
                  <a:pt x="10061" y="5430"/>
                </a:lnTo>
                <a:lnTo>
                  <a:pt x="10010" y="5430"/>
                </a:lnTo>
                <a:lnTo>
                  <a:pt x="10007" y="5424"/>
                </a:lnTo>
                <a:lnTo>
                  <a:pt x="10003" y="5417"/>
                </a:lnTo>
                <a:lnTo>
                  <a:pt x="9995" y="5404"/>
                </a:lnTo>
                <a:lnTo>
                  <a:pt x="9985" y="5392"/>
                </a:lnTo>
                <a:lnTo>
                  <a:pt x="9976" y="5381"/>
                </a:lnTo>
                <a:lnTo>
                  <a:pt x="9966" y="5368"/>
                </a:lnTo>
                <a:lnTo>
                  <a:pt x="10035" y="5367"/>
                </a:lnTo>
                <a:lnTo>
                  <a:pt x="10044" y="5382"/>
                </a:lnTo>
                <a:lnTo>
                  <a:pt x="10054" y="5396"/>
                </a:lnTo>
                <a:lnTo>
                  <a:pt x="10064" y="5410"/>
                </a:lnTo>
                <a:lnTo>
                  <a:pt x="10071" y="5423"/>
                </a:lnTo>
                <a:lnTo>
                  <a:pt x="10074" y="5427"/>
                </a:lnTo>
                <a:lnTo>
                  <a:pt x="10076" y="5430"/>
                </a:lnTo>
                <a:close/>
                <a:moveTo>
                  <a:pt x="8147" y="2280"/>
                </a:moveTo>
                <a:lnTo>
                  <a:pt x="8144" y="2276"/>
                </a:lnTo>
                <a:lnTo>
                  <a:pt x="8141" y="2272"/>
                </a:lnTo>
                <a:lnTo>
                  <a:pt x="8135" y="2269"/>
                </a:lnTo>
                <a:lnTo>
                  <a:pt x="8129" y="2267"/>
                </a:lnTo>
                <a:lnTo>
                  <a:pt x="8126" y="2266"/>
                </a:lnTo>
                <a:lnTo>
                  <a:pt x="8122" y="2265"/>
                </a:lnTo>
                <a:lnTo>
                  <a:pt x="8119" y="2266"/>
                </a:lnTo>
                <a:lnTo>
                  <a:pt x="8117" y="2267"/>
                </a:lnTo>
                <a:lnTo>
                  <a:pt x="8111" y="2271"/>
                </a:lnTo>
                <a:lnTo>
                  <a:pt x="8104" y="2276"/>
                </a:lnTo>
                <a:lnTo>
                  <a:pt x="8102" y="2278"/>
                </a:lnTo>
                <a:lnTo>
                  <a:pt x="8102" y="2280"/>
                </a:lnTo>
                <a:lnTo>
                  <a:pt x="8103" y="2281"/>
                </a:lnTo>
                <a:lnTo>
                  <a:pt x="8106" y="2282"/>
                </a:lnTo>
                <a:lnTo>
                  <a:pt x="8113" y="2285"/>
                </a:lnTo>
                <a:lnTo>
                  <a:pt x="8119" y="2289"/>
                </a:lnTo>
                <a:lnTo>
                  <a:pt x="8125" y="2293"/>
                </a:lnTo>
                <a:lnTo>
                  <a:pt x="8129" y="2295"/>
                </a:lnTo>
                <a:lnTo>
                  <a:pt x="8133" y="2296"/>
                </a:lnTo>
                <a:lnTo>
                  <a:pt x="8138" y="2296"/>
                </a:lnTo>
                <a:lnTo>
                  <a:pt x="8142" y="2294"/>
                </a:lnTo>
                <a:lnTo>
                  <a:pt x="8145" y="2291"/>
                </a:lnTo>
                <a:lnTo>
                  <a:pt x="8147" y="2286"/>
                </a:lnTo>
                <a:lnTo>
                  <a:pt x="8148" y="2282"/>
                </a:lnTo>
                <a:lnTo>
                  <a:pt x="8148" y="2281"/>
                </a:lnTo>
                <a:lnTo>
                  <a:pt x="8147" y="2280"/>
                </a:lnTo>
                <a:close/>
                <a:moveTo>
                  <a:pt x="8259" y="2284"/>
                </a:moveTo>
                <a:lnTo>
                  <a:pt x="8252" y="2281"/>
                </a:lnTo>
                <a:lnTo>
                  <a:pt x="8246" y="2280"/>
                </a:lnTo>
                <a:lnTo>
                  <a:pt x="8239" y="2280"/>
                </a:lnTo>
                <a:lnTo>
                  <a:pt x="8233" y="2280"/>
                </a:lnTo>
                <a:lnTo>
                  <a:pt x="8217" y="2284"/>
                </a:lnTo>
                <a:lnTo>
                  <a:pt x="8196" y="2286"/>
                </a:lnTo>
                <a:lnTo>
                  <a:pt x="8187" y="2287"/>
                </a:lnTo>
                <a:lnTo>
                  <a:pt x="8182" y="2289"/>
                </a:lnTo>
                <a:lnTo>
                  <a:pt x="8181" y="2290"/>
                </a:lnTo>
                <a:lnTo>
                  <a:pt x="8181" y="2292"/>
                </a:lnTo>
                <a:lnTo>
                  <a:pt x="8181" y="2293"/>
                </a:lnTo>
                <a:lnTo>
                  <a:pt x="8182" y="2294"/>
                </a:lnTo>
                <a:lnTo>
                  <a:pt x="8187" y="2301"/>
                </a:lnTo>
                <a:lnTo>
                  <a:pt x="8192" y="2309"/>
                </a:lnTo>
                <a:lnTo>
                  <a:pt x="8194" y="2312"/>
                </a:lnTo>
                <a:lnTo>
                  <a:pt x="8197" y="2313"/>
                </a:lnTo>
                <a:lnTo>
                  <a:pt x="8201" y="2314"/>
                </a:lnTo>
                <a:lnTo>
                  <a:pt x="8207" y="2314"/>
                </a:lnTo>
                <a:lnTo>
                  <a:pt x="8221" y="2314"/>
                </a:lnTo>
                <a:lnTo>
                  <a:pt x="8238" y="2317"/>
                </a:lnTo>
                <a:lnTo>
                  <a:pt x="8252" y="2318"/>
                </a:lnTo>
                <a:lnTo>
                  <a:pt x="8263" y="2319"/>
                </a:lnTo>
                <a:lnTo>
                  <a:pt x="8274" y="2319"/>
                </a:lnTo>
                <a:lnTo>
                  <a:pt x="8288" y="2318"/>
                </a:lnTo>
                <a:lnTo>
                  <a:pt x="8299" y="2317"/>
                </a:lnTo>
                <a:lnTo>
                  <a:pt x="8300" y="2316"/>
                </a:lnTo>
                <a:lnTo>
                  <a:pt x="8301" y="2313"/>
                </a:lnTo>
                <a:lnTo>
                  <a:pt x="8302" y="2310"/>
                </a:lnTo>
                <a:lnTo>
                  <a:pt x="8302" y="2306"/>
                </a:lnTo>
                <a:lnTo>
                  <a:pt x="8301" y="2304"/>
                </a:lnTo>
                <a:lnTo>
                  <a:pt x="8298" y="2301"/>
                </a:lnTo>
                <a:lnTo>
                  <a:pt x="8292" y="2299"/>
                </a:lnTo>
                <a:lnTo>
                  <a:pt x="8286" y="2297"/>
                </a:lnTo>
                <a:lnTo>
                  <a:pt x="8273" y="2291"/>
                </a:lnTo>
                <a:lnTo>
                  <a:pt x="8259" y="2284"/>
                </a:lnTo>
                <a:close/>
                <a:moveTo>
                  <a:pt x="7965" y="2468"/>
                </a:moveTo>
                <a:lnTo>
                  <a:pt x="7952" y="2465"/>
                </a:lnTo>
                <a:lnTo>
                  <a:pt x="7943" y="2461"/>
                </a:lnTo>
                <a:lnTo>
                  <a:pt x="7934" y="2457"/>
                </a:lnTo>
                <a:lnTo>
                  <a:pt x="7923" y="2449"/>
                </a:lnTo>
                <a:lnTo>
                  <a:pt x="7915" y="2445"/>
                </a:lnTo>
                <a:lnTo>
                  <a:pt x="7910" y="2443"/>
                </a:lnTo>
                <a:lnTo>
                  <a:pt x="7905" y="2441"/>
                </a:lnTo>
                <a:lnTo>
                  <a:pt x="7902" y="2441"/>
                </a:lnTo>
                <a:lnTo>
                  <a:pt x="7897" y="2441"/>
                </a:lnTo>
                <a:lnTo>
                  <a:pt x="7889" y="2440"/>
                </a:lnTo>
                <a:lnTo>
                  <a:pt x="7885" y="2440"/>
                </a:lnTo>
                <a:lnTo>
                  <a:pt x="7881" y="2441"/>
                </a:lnTo>
                <a:lnTo>
                  <a:pt x="7879" y="2443"/>
                </a:lnTo>
                <a:lnTo>
                  <a:pt x="7877" y="2446"/>
                </a:lnTo>
                <a:lnTo>
                  <a:pt x="7876" y="2452"/>
                </a:lnTo>
                <a:lnTo>
                  <a:pt x="7876" y="2457"/>
                </a:lnTo>
                <a:lnTo>
                  <a:pt x="7876" y="2458"/>
                </a:lnTo>
                <a:lnTo>
                  <a:pt x="7876" y="2461"/>
                </a:lnTo>
                <a:lnTo>
                  <a:pt x="7878" y="2463"/>
                </a:lnTo>
                <a:lnTo>
                  <a:pt x="7880" y="2467"/>
                </a:lnTo>
                <a:lnTo>
                  <a:pt x="7885" y="2469"/>
                </a:lnTo>
                <a:lnTo>
                  <a:pt x="7889" y="2471"/>
                </a:lnTo>
                <a:lnTo>
                  <a:pt x="7894" y="2473"/>
                </a:lnTo>
                <a:lnTo>
                  <a:pt x="7902" y="2473"/>
                </a:lnTo>
                <a:lnTo>
                  <a:pt x="7908" y="2474"/>
                </a:lnTo>
                <a:lnTo>
                  <a:pt x="7912" y="2476"/>
                </a:lnTo>
                <a:lnTo>
                  <a:pt x="7913" y="2479"/>
                </a:lnTo>
                <a:lnTo>
                  <a:pt x="7913" y="2482"/>
                </a:lnTo>
                <a:lnTo>
                  <a:pt x="7913" y="2485"/>
                </a:lnTo>
                <a:lnTo>
                  <a:pt x="7915" y="2488"/>
                </a:lnTo>
                <a:lnTo>
                  <a:pt x="7917" y="2490"/>
                </a:lnTo>
                <a:lnTo>
                  <a:pt x="7924" y="2494"/>
                </a:lnTo>
                <a:lnTo>
                  <a:pt x="7931" y="2495"/>
                </a:lnTo>
                <a:lnTo>
                  <a:pt x="7938" y="2496"/>
                </a:lnTo>
                <a:lnTo>
                  <a:pt x="7945" y="2495"/>
                </a:lnTo>
                <a:lnTo>
                  <a:pt x="7953" y="2495"/>
                </a:lnTo>
                <a:lnTo>
                  <a:pt x="7968" y="2493"/>
                </a:lnTo>
                <a:lnTo>
                  <a:pt x="7985" y="2494"/>
                </a:lnTo>
                <a:lnTo>
                  <a:pt x="7993" y="2495"/>
                </a:lnTo>
                <a:lnTo>
                  <a:pt x="7999" y="2497"/>
                </a:lnTo>
                <a:lnTo>
                  <a:pt x="8004" y="2499"/>
                </a:lnTo>
                <a:lnTo>
                  <a:pt x="8007" y="2501"/>
                </a:lnTo>
                <a:lnTo>
                  <a:pt x="8013" y="2506"/>
                </a:lnTo>
                <a:lnTo>
                  <a:pt x="8022" y="2509"/>
                </a:lnTo>
                <a:lnTo>
                  <a:pt x="8026" y="2509"/>
                </a:lnTo>
                <a:lnTo>
                  <a:pt x="8033" y="2509"/>
                </a:lnTo>
                <a:lnTo>
                  <a:pt x="8034" y="2508"/>
                </a:lnTo>
                <a:lnTo>
                  <a:pt x="8034" y="2507"/>
                </a:lnTo>
                <a:lnTo>
                  <a:pt x="8034" y="2505"/>
                </a:lnTo>
                <a:lnTo>
                  <a:pt x="8033" y="2501"/>
                </a:lnTo>
                <a:lnTo>
                  <a:pt x="8030" y="2493"/>
                </a:lnTo>
                <a:lnTo>
                  <a:pt x="8022" y="2483"/>
                </a:lnTo>
                <a:lnTo>
                  <a:pt x="8017" y="2478"/>
                </a:lnTo>
                <a:lnTo>
                  <a:pt x="8011" y="2474"/>
                </a:lnTo>
                <a:lnTo>
                  <a:pt x="8005" y="2472"/>
                </a:lnTo>
                <a:lnTo>
                  <a:pt x="7997" y="2471"/>
                </a:lnTo>
                <a:lnTo>
                  <a:pt x="7982" y="2470"/>
                </a:lnTo>
                <a:lnTo>
                  <a:pt x="7965" y="2468"/>
                </a:lnTo>
                <a:close/>
                <a:moveTo>
                  <a:pt x="7852" y="2239"/>
                </a:moveTo>
                <a:lnTo>
                  <a:pt x="7841" y="2235"/>
                </a:lnTo>
                <a:lnTo>
                  <a:pt x="7832" y="2230"/>
                </a:lnTo>
                <a:lnTo>
                  <a:pt x="7830" y="2228"/>
                </a:lnTo>
                <a:lnTo>
                  <a:pt x="7827" y="2226"/>
                </a:lnTo>
                <a:lnTo>
                  <a:pt x="7825" y="2225"/>
                </a:lnTo>
                <a:lnTo>
                  <a:pt x="7821" y="2224"/>
                </a:lnTo>
                <a:lnTo>
                  <a:pt x="7813" y="2223"/>
                </a:lnTo>
                <a:lnTo>
                  <a:pt x="7804" y="2225"/>
                </a:lnTo>
                <a:lnTo>
                  <a:pt x="7795" y="2228"/>
                </a:lnTo>
                <a:lnTo>
                  <a:pt x="7788" y="2232"/>
                </a:lnTo>
                <a:lnTo>
                  <a:pt x="7787" y="2235"/>
                </a:lnTo>
                <a:lnTo>
                  <a:pt x="7786" y="2237"/>
                </a:lnTo>
                <a:lnTo>
                  <a:pt x="7786" y="2239"/>
                </a:lnTo>
                <a:lnTo>
                  <a:pt x="7787" y="2241"/>
                </a:lnTo>
                <a:lnTo>
                  <a:pt x="7792" y="2245"/>
                </a:lnTo>
                <a:lnTo>
                  <a:pt x="7797" y="2251"/>
                </a:lnTo>
                <a:lnTo>
                  <a:pt x="7801" y="2255"/>
                </a:lnTo>
                <a:lnTo>
                  <a:pt x="7805" y="2257"/>
                </a:lnTo>
                <a:lnTo>
                  <a:pt x="7806" y="2259"/>
                </a:lnTo>
                <a:lnTo>
                  <a:pt x="7806" y="2264"/>
                </a:lnTo>
                <a:lnTo>
                  <a:pt x="7807" y="2266"/>
                </a:lnTo>
                <a:lnTo>
                  <a:pt x="7808" y="2267"/>
                </a:lnTo>
                <a:lnTo>
                  <a:pt x="7810" y="2268"/>
                </a:lnTo>
                <a:lnTo>
                  <a:pt x="7812" y="2269"/>
                </a:lnTo>
                <a:lnTo>
                  <a:pt x="7821" y="2270"/>
                </a:lnTo>
                <a:lnTo>
                  <a:pt x="7833" y="2270"/>
                </a:lnTo>
                <a:lnTo>
                  <a:pt x="7846" y="2269"/>
                </a:lnTo>
                <a:lnTo>
                  <a:pt x="7858" y="2269"/>
                </a:lnTo>
                <a:lnTo>
                  <a:pt x="7867" y="2268"/>
                </a:lnTo>
                <a:lnTo>
                  <a:pt x="7878" y="2267"/>
                </a:lnTo>
                <a:lnTo>
                  <a:pt x="7883" y="2266"/>
                </a:lnTo>
                <a:lnTo>
                  <a:pt x="7885" y="2265"/>
                </a:lnTo>
                <a:lnTo>
                  <a:pt x="7886" y="2264"/>
                </a:lnTo>
                <a:lnTo>
                  <a:pt x="7885" y="2263"/>
                </a:lnTo>
                <a:lnTo>
                  <a:pt x="7880" y="2259"/>
                </a:lnTo>
                <a:lnTo>
                  <a:pt x="7875" y="2254"/>
                </a:lnTo>
                <a:lnTo>
                  <a:pt x="7873" y="2250"/>
                </a:lnTo>
                <a:lnTo>
                  <a:pt x="7870" y="2244"/>
                </a:lnTo>
                <a:lnTo>
                  <a:pt x="7862" y="2241"/>
                </a:lnTo>
                <a:lnTo>
                  <a:pt x="7852" y="2239"/>
                </a:lnTo>
                <a:close/>
                <a:moveTo>
                  <a:pt x="7668" y="2233"/>
                </a:moveTo>
                <a:lnTo>
                  <a:pt x="7645" y="2232"/>
                </a:lnTo>
                <a:lnTo>
                  <a:pt x="7611" y="2229"/>
                </a:lnTo>
                <a:lnTo>
                  <a:pt x="7578" y="2225"/>
                </a:lnTo>
                <a:lnTo>
                  <a:pt x="7554" y="2222"/>
                </a:lnTo>
                <a:lnTo>
                  <a:pt x="7545" y="2219"/>
                </a:lnTo>
                <a:lnTo>
                  <a:pt x="7537" y="2215"/>
                </a:lnTo>
                <a:lnTo>
                  <a:pt x="7526" y="2210"/>
                </a:lnTo>
                <a:lnTo>
                  <a:pt x="7516" y="2204"/>
                </a:lnTo>
                <a:lnTo>
                  <a:pt x="7499" y="2192"/>
                </a:lnTo>
                <a:lnTo>
                  <a:pt x="7487" y="2185"/>
                </a:lnTo>
                <a:lnTo>
                  <a:pt x="7483" y="2184"/>
                </a:lnTo>
                <a:lnTo>
                  <a:pt x="7477" y="2184"/>
                </a:lnTo>
                <a:lnTo>
                  <a:pt x="7471" y="2185"/>
                </a:lnTo>
                <a:lnTo>
                  <a:pt x="7463" y="2187"/>
                </a:lnTo>
                <a:lnTo>
                  <a:pt x="7449" y="2192"/>
                </a:lnTo>
                <a:lnTo>
                  <a:pt x="7437" y="2197"/>
                </a:lnTo>
                <a:lnTo>
                  <a:pt x="7435" y="2198"/>
                </a:lnTo>
                <a:lnTo>
                  <a:pt x="7434" y="2199"/>
                </a:lnTo>
                <a:lnTo>
                  <a:pt x="7434" y="2200"/>
                </a:lnTo>
                <a:lnTo>
                  <a:pt x="7435" y="2202"/>
                </a:lnTo>
                <a:lnTo>
                  <a:pt x="7437" y="2205"/>
                </a:lnTo>
                <a:lnTo>
                  <a:pt x="7443" y="2209"/>
                </a:lnTo>
                <a:lnTo>
                  <a:pt x="7454" y="2215"/>
                </a:lnTo>
                <a:lnTo>
                  <a:pt x="7464" y="2218"/>
                </a:lnTo>
                <a:lnTo>
                  <a:pt x="7471" y="2220"/>
                </a:lnTo>
                <a:lnTo>
                  <a:pt x="7475" y="2224"/>
                </a:lnTo>
                <a:lnTo>
                  <a:pt x="7478" y="2227"/>
                </a:lnTo>
                <a:lnTo>
                  <a:pt x="7480" y="2228"/>
                </a:lnTo>
                <a:lnTo>
                  <a:pt x="7475" y="2230"/>
                </a:lnTo>
                <a:lnTo>
                  <a:pt x="7465" y="2237"/>
                </a:lnTo>
                <a:lnTo>
                  <a:pt x="7460" y="2240"/>
                </a:lnTo>
                <a:lnTo>
                  <a:pt x="7456" y="2244"/>
                </a:lnTo>
                <a:lnTo>
                  <a:pt x="7452" y="2247"/>
                </a:lnTo>
                <a:lnTo>
                  <a:pt x="7451" y="2251"/>
                </a:lnTo>
                <a:lnTo>
                  <a:pt x="7452" y="2254"/>
                </a:lnTo>
                <a:lnTo>
                  <a:pt x="7454" y="2257"/>
                </a:lnTo>
                <a:lnTo>
                  <a:pt x="7459" y="2260"/>
                </a:lnTo>
                <a:lnTo>
                  <a:pt x="7464" y="2264"/>
                </a:lnTo>
                <a:lnTo>
                  <a:pt x="7483" y="2273"/>
                </a:lnTo>
                <a:lnTo>
                  <a:pt x="7507" y="2287"/>
                </a:lnTo>
                <a:lnTo>
                  <a:pt x="7529" y="2298"/>
                </a:lnTo>
                <a:lnTo>
                  <a:pt x="7541" y="2305"/>
                </a:lnTo>
                <a:lnTo>
                  <a:pt x="7551" y="2310"/>
                </a:lnTo>
                <a:lnTo>
                  <a:pt x="7565" y="2320"/>
                </a:lnTo>
                <a:lnTo>
                  <a:pt x="7569" y="2322"/>
                </a:lnTo>
                <a:lnTo>
                  <a:pt x="7573" y="2324"/>
                </a:lnTo>
                <a:lnTo>
                  <a:pt x="7577" y="2324"/>
                </a:lnTo>
                <a:lnTo>
                  <a:pt x="7581" y="2324"/>
                </a:lnTo>
                <a:lnTo>
                  <a:pt x="7584" y="2323"/>
                </a:lnTo>
                <a:lnTo>
                  <a:pt x="7587" y="2321"/>
                </a:lnTo>
                <a:lnTo>
                  <a:pt x="7591" y="2319"/>
                </a:lnTo>
                <a:lnTo>
                  <a:pt x="7594" y="2317"/>
                </a:lnTo>
                <a:lnTo>
                  <a:pt x="7599" y="2309"/>
                </a:lnTo>
                <a:lnTo>
                  <a:pt x="7604" y="2301"/>
                </a:lnTo>
                <a:lnTo>
                  <a:pt x="7607" y="2293"/>
                </a:lnTo>
                <a:lnTo>
                  <a:pt x="7610" y="2285"/>
                </a:lnTo>
                <a:lnTo>
                  <a:pt x="7611" y="2282"/>
                </a:lnTo>
                <a:lnTo>
                  <a:pt x="7613" y="2280"/>
                </a:lnTo>
                <a:lnTo>
                  <a:pt x="7616" y="2279"/>
                </a:lnTo>
                <a:lnTo>
                  <a:pt x="7618" y="2278"/>
                </a:lnTo>
                <a:lnTo>
                  <a:pt x="7622" y="2277"/>
                </a:lnTo>
                <a:lnTo>
                  <a:pt x="7626" y="2278"/>
                </a:lnTo>
                <a:lnTo>
                  <a:pt x="7635" y="2282"/>
                </a:lnTo>
                <a:lnTo>
                  <a:pt x="7644" y="2284"/>
                </a:lnTo>
                <a:lnTo>
                  <a:pt x="7651" y="2287"/>
                </a:lnTo>
                <a:lnTo>
                  <a:pt x="7662" y="2294"/>
                </a:lnTo>
                <a:lnTo>
                  <a:pt x="7670" y="2298"/>
                </a:lnTo>
                <a:lnTo>
                  <a:pt x="7679" y="2303"/>
                </a:lnTo>
                <a:lnTo>
                  <a:pt x="7689" y="2307"/>
                </a:lnTo>
                <a:lnTo>
                  <a:pt x="7702" y="2310"/>
                </a:lnTo>
                <a:lnTo>
                  <a:pt x="7704" y="2308"/>
                </a:lnTo>
                <a:lnTo>
                  <a:pt x="7712" y="2303"/>
                </a:lnTo>
                <a:lnTo>
                  <a:pt x="7723" y="2296"/>
                </a:lnTo>
                <a:lnTo>
                  <a:pt x="7738" y="2292"/>
                </a:lnTo>
                <a:lnTo>
                  <a:pt x="7741" y="2290"/>
                </a:lnTo>
                <a:lnTo>
                  <a:pt x="7744" y="2289"/>
                </a:lnTo>
                <a:lnTo>
                  <a:pt x="7745" y="2287"/>
                </a:lnTo>
                <a:lnTo>
                  <a:pt x="7746" y="2285"/>
                </a:lnTo>
                <a:lnTo>
                  <a:pt x="7747" y="2281"/>
                </a:lnTo>
                <a:lnTo>
                  <a:pt x="7745" y="2277"/>
                </a:lnTo>
                <a:lnTo>
                  <a:pt x="7735" y="2266"/>
                </a:lnTo>
                <a:lnTo>
                  <a:pt x="7725" y="2254"/>
                </a:lnTo>
                <a:lnTo>
                  <a:pt x="7719" y="2249"/>
                </a:lnTo>
                <a:lnTo>
                  <a:pt x="7713" y="2243"/>
                </a:lnTo>
                <a:lnTo>
                  <a:pt x="7707" y="2240"/>
                </a:lnTo>
                <a:lnTo>
                  <a:pt x="7700" y="2238"/>
                </a:lnTo>
                <a:lnTo>
                  <a:pt x="7693" y="2236"/>
                </a:lnTo>
                <a:lnTo>
                  <a:pt x="7686" y="2235"/>
                </a:lnTo>
                <a:lnTo>
                  <a:pt x="7677" y="2235"/>
                </a:lnTo>
                <a:lnTo>
                  <a:pt x="7668" y="2233"/>
                </a:lnTo>
                <a:close/>
                <a:moveTo>
                  <a:pt x="4556" y="1818"/>
                </a:moveTo>
                <a:lnTo>
                  <a:pt x="4528" y="1814"/>
                </a:lnTo>
                <a:lnTo>
                  <a:pt x="4502" y="1811"/>
                </a:lnTo>
                <a:lnTo>
                  <a:pt x="4473" y="1808"/>
                </a:lnTo>
                <a:lnTo>
                  <a:pt x="4437" y="1804"/>
                </a:lnTo>
                <a:lnTo>
                  <a:pt x="4401" y="1801"/>
                </a:lnTo>
                <a:lnTo>
                  <a:pt x="4374" y="1801"/>
                </a:lnTo>
                <a:lnTo>
                  <a:pt x="4364" y="1800"/>
                </a:lnTo>
                <a:lnTo>
                  <a:pt x="4355" y="1800"/>
                </a:lnTo>
                <a:lnTo>
                  <a:pt x="4350" y="1799"/>
                </a:lnTo>
                <a:lnTo>
                  <a:pt x="4346" y="1796"/>
                </a:lnTo>
                <a:lnTo>
                  <a:pt x="4337" y="1791"/>
                </a:lnTo>
                <a:lnTo>
                  <a:pt x="4326" y="1783"/>
                </a:lnTo>
                <a:lnTo>
                  <a:pt x="4324" y="1781"/>
                </a:lnTo>
                <a:lnTo>
                  <a:pt x="4322" y="1779"/>
                </a:lnTo>
                <a:lnTo>
                  <a:pt x="4321" y="1777"/>
                </a:lnTo>
                <a:lnTo>
                  <a:pt x="4321" y="1774"/>
                </a:lnTo>
                <a:lnTo>
                  <a:pt x="4321" y="1771"/>
                </a:lnTo>
                <a:lnTo>
                  <a:pt x="4323" y="1768"/>
                </a:lnTo>
                <a:lnTo>
                  <a:pt x="4325" y="1765"/>
                </a:lnTo>
                <a:lnTo>
                  <a:pt x="4328" y="1760"/>
                </a:lnTo>
                <a:lnTo>
                  <a:pt x="4337" y="1753"/>
                </a:lnTo>
                <a:lnTo>
                  <a:pt x="4346" y="1746"/>
                </a:lnTo>
                <a:lnTo>
                  <a:pt x="4353" y="1740"/>
                </a:lnTo>
                <a:lnTo>
                  <a:pt x="4362" y="1734"/>
                </a:lnTo>
                <a:lnTo>
                  <a:pt x="4371" y="1730"/>
                </a:lnTo>
                <a:lnTo>
                  <a:pt x="4381" y="1726"/>
                </a:lnTo>
                <a:lnTo>
                  <a:pt x="4391" y="1723"/>
                </a:lnTo>
                <a:lnTo>
                  <a:pt x="4403" y="1719"/>
                </a:lnTo>
                <a:lnTo>
                  <a:pt x="4415" y="1716"/>
                </a:lnTo>
                <a:lnTo>
                  <a:pt x="4427" y="1715"/>
                </a:lnTo>
                <a:lnTo>
                  <a:pt x="4436" y="1714"/>
                </a:lnTo>
                <a:lnTo>
                  <a:pt x="4445" y="1715"/>
                </a:lnTo>
                <a:lnTo>
                  <a:pt x="4453" y="1717"/>
                </a:lnTo>
                <a:lnTo>
                  <a:pt x="4459" y="1720"/>
                </a:lnTo>
                <a:lnTo>
                  <a:pt x="4461" y="1723"/>
                </a:lnTo>
                <a:lnTo>
                  <a:pt x="4463" y="1725"/>
                </a:lnTo>
                <a:lnTo>
                  <a:pt x="4464" y="1727"/>
                </a:lnTo>
                <a:lnTo>
                  <a:pt x="4466" y="1730"/>
                </a:lnTo>
                <a:lnTo>
                  <a:pt x="4470" y="1742"/>
                </a:lnTo>
                <a:lnTo>
                  <a:pt x="4474" y="1752"/>
                </a:lnTo>
                <a:lnTo>
                  <a:pt x="4477" y="1755"/>
                </a:lnTo>
                <a:lnTo>
                  <a:pt x="4481" y="1757"/>
                </a:lnTo>
                <a:lnTo>
                  <a:pt x="4485" y="1758"/>
                </a:lnTo>
                <a:lnTo>
                  <a:pt x="4490" y="1757"/>
                </a:lnTo>
                <a:lnTo>
                  <a:pt x="4501" y="1754"/>
                </a:lnTo>
                <a:lnTo>
                  <a:pt x="4510" y="1750"/>
                </a:lnTo>
                <a:lnTo>
                  <a:pt x="4518" y="1744"/>
                </a:lnTo>
                <a:lnTo>
                  <a:pt x="4525" y="1741"/>
                </a:lnTo>
                <a:lnTo>
                  <a:pt x="4534" y="1736"/>
                </a:lnTo>
                <a:lnTo>
                  <a:pt x="4548" y="1730"/>
                </a:lnTo>
                <a:lnTo>
                  <a:pt x="4556" y="1728"/>
                </a:lnTo>
                <a:lnTo>
                  <a:pt x="4565" y="1728"/>
                </a:lnTo>
                <a:lnTo>
                  <a:pt x="4569" y="1729"/>
                </a:lnTo>
                <a:lnTo>
                  <a:pt x="4574" y="1730"/>
                </a:lnTo>
                <a:lnTo>
                  <a:pt x="4578" y="1732"/>
                </a:lnTo>
                <a:lnTo>
                  <a:pt x="4582" y="1734"/>
                </a:lnTo>
                <a:lnTo>
                  <a:pt x="4597" y="1745"/>
                </a:lnTo>
                <a:lnTo>
                  <a:pt x="4607" y="1754"/>
                </a:lnTo>
                <a:lnTo>
                  <a:pt x="4611" y="1758"/>
                </a:lnTo>
                <a:lnTo>
                  <a:pt x="4614" y="1764"/>
                </a:lnTo>
                <a:lnTo>
                  <a:pt x="4616" y="1769"/>
                </a:lnTo>
                <a:lnTo>
                  <a:pt x="4617" y="1774"/>
                </a:lnTo>
                <a:lnTo>
                  <a:pt x="4618" y="1781"/>
                </a:lnTo>
                <a:lnTo>
                  <a:pt x="4619" y="1786"/>
                </a:lnTo>
                <a:lnTo>
                  <a:pt x="4621" y="1791"/>
                </a:lnTo>
                <a:lnTo>
                  <a:pt x="4624" y="1795"/>
                </a:lnTo>
                <a:lnTo>
                  <a:pt x="4627" y="1800"/>
                </a:lnTo>
                <a:lnTo>
                  <a:pt x="4628" y="1805"/>
                </a:lnTo>
                <a:lnTo>
                  <a:pt x="4629" y="1811"/>
                </a:lnTo>
                <a:lnTo>
                  <a:pt x="4630" y="1818"/>
                </a:lnTo>
                <a:lnTo>
                  <a:pt x="4628" y="1824"/>
                </a:lnTo>
                <a:lnTo>
                  <a:pt x="4626" y="1828"/>
                </a:lnTo>
                <a:lnTo>
                  <a:pt x="4623" y="1832"/>
                </a:lnTo>
                <a:lnTo>
                  <a:pt x="4621" y="1834"/>
                </a:lnTo>
                <a:lnTo>
                  <a:pt x="4619" y="1835"/>
                </a:lnTo>
                <a:lnTo>
                  <a:pt x="4620" y="1836"/>
                </a:lnTo>
                <a:lnTo>
                  <a:pt x="4622" y="1837"/>
                </a:lnTo>
                <a:lnTo>
                  <a:pt x="4628" y="1838"/>
                </a:lnTo>
                <a:lnTo>
                  <a:pt x="4618" y="1837"/>
                </a:lnTo>
                <a:lnTo>
                  <a:pt x="4610" y="1835"/>
                </a:lnTo>
                <a:lnTo>
                  <a:pt x="4603" y="1833"/>
                </a:lnTo>
                <a:lnTo>
                  <a:pt x="4596" y="1830"/>
                </a:lnTo>
                <a:lnTo>
                  <a:pt x="4589" y="1826"/>
                </a:lnTo>
                <a:lnTo>
                  <a:pt x="4580" y="1823"/>
                </a:lnTo>
                <a:lnTo>
                  <a:pt x="4569" y="1820"/>
                </a:lnTo>
                <a:lnTo>
                  <a:pt x="4556" y="1818"/>
                </a:lnTo>
                <a:close/>
                <a:moveTo>
                  <a:pt x="4349" y="1646"/>
                </a:moveTo>
                <a:lnTo>
                  <a:pt x="4357" y="1655"/>
                </a:lnTo>
                <a:lnTo>
                  <a:pt x="4364" y="1661"/>
                </a:lnTo>
                <a:lnTo>
                  <a:pt x="4368" y="1666"/>
                </a:lnTo>
                <a:lnTo>
                  <a:pt x="4370" y="1671"/>
                </a:lnTo>
                <a:lnTo>
                  <a:pt x="4370" y="1672"/>
                </a:lnTo>
                <a:lnTo>
                  <a:pt x="4369" y="1673"/>
                </a:lnTo>
                <a:lnTo>
                  <a:pt x="4368" y="1675"/>
                </a:lnTo>
                <a:lnTo>
                  <a:pt x="4366" y="1675"/>
                </a:lnTo>
                <a:lnTo>
                  <a:pt x="4359" y="1676"/>
                </a:lnTo>
                <a:lnTo>
                  <a:pt x="4348" y="1677"/>
                </a:lnTo>
                <a:lnTo>
                  <a:pt x="4324" y="1676"/>
                </a:lnTo>
                <a:lnTo>
                  <a:pt x="4301" y="1674"/>
                </a:lnTo>
                <a:lnTo>
                  <a:pt x="4291" y="1674"/>
                </a:lnTo>
                <a:lnTo>
                  <a:pt x="4283" y="1674"/>
                </a:lnTo>
                <a:lnTo>
                  <a:pt x="4273" y="1675"/>
                </a:lnTo>
                <a:lnTo>
                  <a:pt x="4266" y="1679"/>
                </a:lnTo>
                <a:lnTo>
                  <a:pt x="4260" y="1683"/>
                </a:lnTo>
                <a:lnTo>
                  <a:pt x="4254" y="1685"/>
                </a:lnTo>
                <a:lnTo>
                  <a:pt x="4247" y="1687"/>
                </a:lnTo>
                <a:lnTo>
                  <a:pt x="4240" y="1687"/>
                </a:lnTo>
                <a:lnTo>
                  <a:pt x="4233" y="1687"/>
                </a:lnTo>
                <a:lnTo>
                  <a:pt x="4227" y="1686"/>
                </a:lnTo>
                <a:lnTo>
                  <a:pt x="4222" y="1685"/>
                </a:lnTo>
                <a:lnTo>
                  <a:pt x="4218" y="1682"/>
                </a:lnTo>
                <a:lnTo>
                  <a:pt x="4217" y="1678"/>
                </a:lnTo>
                <a:lnTo>
                  <a:pt x="4217" y="1676"/>
                </a:lnTo>
                <a:lnTo>
                  <a:pt x="4217" y="1673"/>
                </a:lnTo>
                <a:lnTo>
                  <a:pt x="4217" y="1671"/>
                </a:lnTo>
                <a:lnTo>
                  <a:pt x="4216" y="1670"/>
                </a:lnTo>
                <a:lnTo>
                  <a:pt x="4213" y="1668"/>
                </a:lnTo>
                <a:lnTo>
                  <a:pt x="4207" y="1666"/>
                </a:lnTo>
                <a:lnTo>
                  <a:pt x="4196" y="1666"/>
                </a:lnTo>
                <a:lnTo>
                  <a:pt x="4174" y="1666"/>
                </a:lnTo>
                <a:lnTo>
                  <a:pt x="4157" y="1668"/>
                </a:lnTo>
                <a:lnTo>
                  <a:pt x="4154" y="1668"/>
                </a:lnTo>
                <a:lnTo>
                  <a:pt x="4152" y="1666"/>
                </a:lnTo>
                <a:lnTo>
                  <a:pt x="4150" y="1664"/>
                </a:lnTo>
                <a:lnTo>
                  <a:pt x="4149" y="1663"/>
                </a:lnTo>
                <a:lnTo>
                  <a:pt x="4149" y="1660"/>
                </a:lnTo>
                <a:lnTo>
                  <a:pt x="4150" y="1657"/>
                </a:lnTo>
                <a:lnTo>
                  <a:pt x="4151" y="1652"/>
                </a:lnTo>
                <a:lnTo>
                  <a:pt x="4154" y="1647"/>
                </a:lnTo>
                <a:lnTo>
                  <a:pt x="4162" y="1630"/>
                </a:lnTo>
                <a:lnTo>
                  <a:pt x="4169" y="1619"/>
                </a:lnTo>
                <a:lnTo>
                  <a:pt x="4175" y="1616"/>
                </a:lnTo>
                <a:lnTo>
                  <a:pt x="4182" y="1612"/>
                </a:lnTo>
                <a:lnTo>
                  <a:pt x="4193" y="1609"/>
                </a:lnTo>
                <a:lnTo>
                  <a:pt x="4208" y="1606"/>
                </a:lnTo>
                <a:lnTo>
                  <a:pt x="4224" y="1603"/>
                </a:lnTo>
                <a:lnTo>
                  <a:pt x="4240" y="1602"/>
                </a:lnTo>
                <a:lnTo>
                  <a:pt x="4253" y="1602"/>
                </a:lnTo>
                <a:lnTo>
                  <a:pt x="4264" y="1604"/>
                </a:lnTo>
                <a:lnTo>
                  <a:pt x="4274" y="1606"/>
                </a:lnTo>
                <a:lnTo>
                  <a:pt x="4283" y="1609"/>
                </a:lnTo>
                <a:lnTo>
                  <a:pt x="4290" y="1612"/>
                </a:lnTo>
                <a:lnTo>
                  <a:pt x="4297" y="1616"/>
                </a:lnTo>
                <a:lnTo>
                  <a:pt x="4307" y="1621"/>
                </a:lnTo>
                <a:lnTo>
                  <a:pt x="4312" y="1624"/>
                </a:lnTo>
                <a:lnTo>
                  <a:pt x="4319" y="1629"/>
                </a:lnTo>
                <a:lnTo>
                  <a:pt x="4330" y="1634"/>
                </a:lnTo>
                <a:lnTo>
                  <a:pt x="4349" y="1646"/>
                </a:lnTo>
                <a:close/>
                <a:moveTo>
                  <a:pt x="5048" y="1878"/>
                </a:moveTo>
                <a:lnTo>
                  <a:pt x="5054" y="1880"/>
                </a:lnTo>
                <a:lnTo>
                  <a:pt x="5062" y="1886"/>
                </a:lnTo>
                <a:lnTo>
                  <a:pt x="5063" y="1888"/>
                </a:lnTo>
                <a:lnTo>
                  <a:pt x="5063" y="1889"/>
                </a:lnTo>
                <a:lnTo>
                  <a:pt x="5062" y="1890"/>
                </a:lnTo>
                <a:lnTo>
                  <a:pt x="5059" y="1891"/>
                </a:lnTo>
                <a:lnTo>
                  <a:pt x="5049" y="1892"/>
                </a:lnTo>
                <a:lnTo>
                  <a:pt x="5032" y="1891"/>
                </a:lnTo>
                <a:lnTo>
                  <a:pt x="5014" y="1889"/>
                </a:lnTo>
                <a:lnTo>
                  <a:pt x="5000" y="1889"/>
                </a:lnTo>
                <a:lnTo>
                  <a:pt x="4990" y="1889"/>
                </a:lnTo>
                <a:lnTo>
                  <a:pt x="4983" y="1890"/>
                </a:lnTo>
                <a:lnTo>
                  <a:pt x="4971" y="1894"/>
                </a:lnTo>
                <a:lnTo>
                  <a:pt x="4954" y="1899"/>
                </a:lnTo>
                <a:lnTo>
                  <a:pt x="4943" y="1901"/>
                </a:lnTo>
                <a:lnTo>
                  <a:pt x="4933" y="1902"/>
                </a:lnTo>
                <a:lnTo>
                  <a:pt x="4923" y="1902"/>
                </a:lnTo>
                <a:lnTo>
                  <a:pt x="4913" y="1902"/>
                </a:lnTo>
                <a:lnTo>
                  <a:pt x="4897" y="1900"/>
                </a:lnTo>
                <a:lnTo>
                  <a:pt x="4885" y="1898"/>
                </a:lnTo>
                <a:lnTo>
                  <a:pt x="4876" y="1894"/>
                </a:lnTo>
                <a:lnTo>
                  <a:pt x="4871" y="1893"/>
                </a:lnTo>
                <a:lnTo>
                  <a:pt x="4864" y="1895"/>
                </a:lnTo>
                <a:lnTo>
                  <a:pt x="4854" y="1902"/>
                </a:lnTo>
                <a:lnTo>
                  <a:pt x="4847" y="1907"/>
                </a:lnTo>
                <a:lnTo>
                  <a:pt x="4841" y="1912"/>
                </a:lnTo>
                <a:lnTo>
                  <a:pt x="4835" y="1915"/>
                </a:lnTo>
                <a:lnTo>
                  <a:pt x="4830" y="1917"/>
                </a:lnTo>
                <a:lnTo>
                  <a:pt x="4823" y="1918"/>
                </a:lnTo>
                <a:lnTo>
                  <a:pt x="4815" y="1916"/>
                </a:lnTo>
                <a:lnTo>
                  <a:pt x="4805" y="1913"/>
                </a:lnTo>
                <a:lnTo>
                  <a:pt x="4791" y="1906"/>
                </a:lnTo>
                <a:lnTo>
                  <a:pt x="4789" y="1902"/>
                </a:lnTo>
                <a:lnTo>
                  <a:pt x="4787" y="1896"/>
                </a:lnTo>
                <a:lnTo>
                  <a:pt x="4786" y="1890"/>
                </a:lnTo>
                <a:lnTo>
                  <a:pt x="4784" y="1884"/>
                </a:lnTo>
                <a:lnTo>
                  <a:pt x="4784" y="1877"/>
                </a:lnTo>
                <a:lnTo>
                  <a:pt x="4784" y="1869"/>
                </a:lnTo>
                <a:lnTo>
                  <a:pt x="4786" y="1862"/>
                </a:lnTo>
                <a:lnTo>
                  <a:pt x="4787" y="1854"/>
                </a:lnTo>
                <a:lnTo>
                  <a:pt x="4789" y="1848"/>
                </a:lnTo>
                <a:lnTo>
                  <a:pt x="4792" y="1841"/>
                </a:lnTo>
                <a:lnTo>
                  <a:pt x="4794" y="1836"/>
                </a:lnTo>
                <a:lnTo>
                  <a:pt x="4798" y="1831"/>
                </a:lnTo>
                <a:lnTo>
                  <a:pt x="4802" y="1827"/>
                </a:lnTo>
                <a:lnTo>
                  <a:pt x="4807" y="1824"/>
                </a:lnTo>
                <a:lnTo>
                  <a:pt x="4811" y="1823"/>
                </a:lnTo>
                <a:lnTo>
                  <a:pt x="4817" y="1823"/>
                </a:lnTo>
                <a:lnTo>
                  <a:pt x="4837" y="1828"/>
                </a:lnTo>
                <a:lnTo>
                  <a:pt x="4854" y="1834"/>
                </a:lnTo>
                <a:lnTo>
                  <a:pt x="4867" y="1839"/>
                </a:lnTo>
                <a:lnTo>
                  <a:pt x="4875" y="1845"/>
                </a:lnTo>
                <a:lnTo>
                  <a:pt x="4880" y="1847"/>
                </a:lnTo>
                <a:lnTo>
                  <a:pt x="4882" y="1848"/>
                </a:lnTo>
                <a:lnTo>
                  <a:pt x="4885" y="1847"/>
                </a:lnTo>
                <a:lnTo>
                  <a:pt x="4887" y="1846"/>
                </a:lnTo>
                <a:lnTo>
                  <a:pt x="4893" y="1841"/>
                </a:lnTo>
                <a:lnTo>
                  <a:pt x="4900" y="1836"/>
                </a:lnTo>
                <a:lnTo>
                  <a:pt x="4904" y="1834"/>
                </a:lnTo>
                <a:lnTo>
                  <a:pt x="4910" y="1832"/>
                </a:lnTo>
                <a:lnTo>
                  <a:pt x="4914" y="1831"/>
                </a:lnTo>
                <a:lnTo>
                  <a:pt x="4920" y="1831"/>
                </a:lnTo>
                <a:lnTo>
                  <a:pt x="4925" y="1832"/>
                </a:lnTo>
                <a:lnTo>
                  <a:pt x="4929" y="1834"/>
                </a:lnTo>
                <a:lnTo>
                  <a:pt x="4933" y="1837"/>
                </a:lnTo>
                <a:lnTo>
                  <a:pt x="4936" y="1842"/>
                </a:lnTo>
                <a:lnTo>
                  <a:pt x="4939" y="1847"/>
                </a:lnTo>
                <a:lnTo>
                  <a:pt x="4943" y="1851"/>
                </a:lnTo>
                <a:lnTo>
                  <a:pt x="4949" y="1853"/>
                </a:lnTo>
                <a:lnTo>
                  <a:pt x="4954" y="1855"/>
                </a:lnTo>
                <a:lnTo>
                  <a:pt x="4970" y="1858"/>
                </a:lnTo>
                <a:lnTo>
                  <a:pt x="4991" y="1860"/>
                </a:lnTo>
                <a:lnTo>
                  <a:pt x="5002" y="1861"/>
                </a:lnTo>
                <a:lnTo>
                  <a:pt x="5013" y="1863"/>
                </a:lnTo>
                <a:lnTo>
                  <a:pt x="5022" y="1866"/>
                </a:lnTo>
                <a:lnTo>
                  <a:pt x="5031" y="1869"/>
                </a:lnTo>
                <a:lnTo>
                  <a:pt x="5043" y="1875"/>
                </a:lnTo>
                <a:lnTo>
                  <a:pt x="5048" y="1878"/>
                </a:lnTo>
                <a:close/>
                <a:moveTo>
                  <a:pt x="11360" y="5367"/>
                </a:moveTo>
                <a:lnTo>
                  <a:pt x="11327" y="5365"/>
                </a:lnTo>
                <a:lnTo>
                  <a:pt x="11293" y="5365"/>
                </a:lnTo>
                <a:lnTo>
                  <a:pt x="11259" y="5365"/>
                </a:lnTo>
                <a:lnTo>
                  <a:pt x="11226" y="5365"/>
                </a:lnTo>
                <a:lnTo>
                  <a:pt x="11200" y="5328"/>
                </a:lnTo>
                <a:lnTo>
                  <a:pt x="11172" y="5288"/>
                </a:lnTo>
                <a:lnTo>
                  <a:pt x="11143" y="5246"/>
                </a:lnTo>
                <a:lnTo>
                  <a:pt x="11114" y="5202"/>
                </a:lnTo>
                <a:lnTo>
                  <a:pt x="11082" y="5158"/>
                </a:lnTo>
                <a:lnTo>
                  <a:pt x="11052" y="5113"/>
                </a:lnTo>
                <a:lnTo>
                  <a:pt x="11021" y="5068"/>
                </a:lnTo>
                <a:lnTo>
                  <a:pt x="10990" y="5024"/>
                </a:lnTo>
                <a:lnTo>
                  <a:pt x="11419" y="5024"/>
                </a:lnTo>
                <a:lnTo>
                  <a:pt x="11423" y="5030"/>
                </a:lnTo>
                <a:lnTo>
                  <a:pt x="11426" y="5034"/>
                </a:lnTo>
                <a:lnTo>
                  <a:pt x="11429" y="5039"/>
                </a:lnTo>
                <a:lnTo>
                  <a:pt x="11431" y="5043"/>
                </a:lnTo>
                <a:lnTo>
                  <a:pt x="11431" y="5046"/>
                </a:lnTo>
                <a:lnTo>
                  <a:pt x="11431" y="5048"/>
                </a:lnTo>
                <a:lnTo>
                  <a:pt x="11430" y="5049"/>
                </a:lnTo>
                <a:lnTo>
                  <a:pt x="11428" y="5049"/>
                </a:lnTo>
                <a:lnTo>
                  <a:pt x="11425" y="5048"/>
                </a:lnTo>
                <a:lnTo>
                  <a:pt x="11422" y="5047"/>
                </a:lnTo>
                <a:lnTo>
                  <a:pt x="11413" y="5045"/>
                </a:lnTo>
                <a:lnTo>
                  <a:pt x="11402" y="5041"/>
                </a:lnTo>
                <a:lnTo>
                  <a:pt x="11391" y="5039"/>
                </a:lnTo>
                <a:lnTo>
                  <a:pt x="11381" y="5038"/>
                </a:lnTo>
                <a:lnTo>
                  <a:pt x="11375" y="5039"/>
                </a:lnTo>
                <a:lnTo>
                  <a:pt x="11371" y="5040"/>
                </a:lnTo>
                <a:lnTo>
                  <a:pt x="11367" y="5043"/>
                </a:lnTo>
                <a:lnTo>
                  <a:pt x="11363" y="5045"/>
                </a:lnTo>
                <a:lnTo>
                  <a:pt x="11358" y="5051"/>
                </a:lnTo>
                <a:lnTo>
                  <a:pt x="11355" y="5059"/>
                </a:lnTo>
                <a:lnTo>
                  <a:pt x="11351" y="5067"/>
                </a:lnTo>
                <a:lnTo>
                  <a:pt x="11350" y="5076"/>
                </a:lnTo>
                <a:lnTo>
                  <a:pt x="11349" y="5085"/>
                </a:lnTo>
                <a:lnTo>
                  <a:pt x="11349" y="5092"/>
                </a:lnTo>
                <a:lnTo>
                  <a:pt x="11347" y="5106"/>
                </a:lnTo>
                <a:lnTo>
                  <a:pt x="11345" y="5118"/>
                </a:lnTo>
                <a:lnTo>
                  <a:pt x="11344" y="5125"/>
                </a:lnTo>
                <a:lnTo>
                  <a:pt x="11344" y="5131"/>
                </a:lnTo>
                <a:lnTo>
                  <a:pt x="11345" y="5140"/>
                </a:lnTo>
                <a:lnTo>
                  <a:pt x="11347" y="5148"/>
                </a:lnTo>
                <a:lnTo>
                  <a:pt x="11354" y="5168"/>
                </a:lnTo>
                <a:lnTo>
                  <a:pt x="11360" y="5188"/>
                </a:lnTo>
                <a:lnTo>
                  <a:pt x="11368" y="5211"/>
                </a:lnTo>
                <a:lnTo>
                  <a:pt x="11376" y="5239"/>
                </a:lnTo>
                <a:lnTo>
                  <a:pt x="11379" y="5251"/>
                </a:lnTo>
                <a:lnTo>
                  <a:pt x="11381" y="5259"/>
                </a:lnTo>
                <a:lnTo>
                  <a:pt x="11381" y="5261"/>
                </a:lnTo>
                <a:lnTo>
                  <a:pt x="11379" y="5263"/>
                </a:lnTo>
                <a:lnTo>
                  <a:pt x="11378" y="5264"/>
                </a:lnTo>
                <a:lnTo>
                  <a:pt x="11376" y="5264"/>
                </a:lnTo>
                <a:lnTo>
                  <a:pt x="11365" y="5263"/>
                </a:lnTo>
                <a:lnTo>
                  <a:pt x="11350" y="5263"/>
                </a:lnTo>
                <a:lnTo>
                  <a:pt x="11343" y="5265"/>
                </a:lnTo>
                <a:lnTo>
                  <a:pt x="11335" y="5267"/>
                </a:lnTo>
                <a:lnTo>
                  <a:pt x="11330" y="5269"/>
                </a:lnTo>
                <a:lnTo>
                  <a:pt x="11324" y="5273"/>
                </a:lnTo>
                <a:lnTo>
                  <a:pt x="11321" y="5277"/>
                </a:lnTo>
                <a:lnTo>
                  <a:pt x="11318" y="5282"/>
                </a:lnTo>
                <a:lnTo>
                  <a:pt x="11317" y="5289"/>
                </a:lnTo>
                <a:lnTo>
                  <a:pt x="11317" y="5297"/>
                </a:lnTo>
                <a:lnTo>
                  <a:pt x="11319" y="5305"/>
                </a:lnTo>
                <a:lnTo>
                  <a:pt x="11321" y="5313"/>
                </a:lnTo>
                <a:lnTo>
                  <a:pt x="11324" y="5319"/>
                </a:lnTo>
                <a:lnTo>
                  <a:pt x="11329" y="5325"/>
                </a:lnTo>
                <a:lnTo>
                  <a:pt x="11341" y="5342"/>
                </a:lnTo>
                <a:lnTo>
                  <a:pt x="11360" y="5367"/>
                </a:lnTo>
                <a:close/>
                <a:moveTo>
                  <a:pt x="10849" y="2751"/>
                </a:moveTo>
                <a:lnTo>
                  <a:pt x="10844" y="2748"/>
                </a:lnTo>
                <a:lnTo>
                  <a:pt x="10839" y="2746"/>
                </a:lnTo>
                <a:lnTo>
                  <a:pt x="10834" y="2745"/>
                </a:lnTo>
                <a:lnTo>
                  <a:pt x="10828" y="2745"/>
                </a:lnTo>
                <a:lnTo>
                  <a:pt x="10818" y="2746"/>
                </a:lnTo>
                <a:lnTo>
                  <a:pt x="10815" y="2748"/>
                </a:lnTo>
                <a:lnTo>
                  <a:pt x="10808" y="2751"/>
                </a:lnTo>
                <a:lnTo>
                  <a:pt x="10800" y="2753"/>
                </a:lnTo>
                <a:lnTo>
                  <a:pt x="10790" y="2755"/>
                </a:lnTo>
                <a:lnTo>
                  <a:pt x="10776" y="2758"/>
                </a:lnTo>
                <a:lnTo>
                  <a:pt x="10768" y="2760"/>
                </a:lnTo>
                <a:lnTo>
                  <a:pt x="10761" y="2764"/>
                </a:lnTo>
                <a:lnTo>
                  <a:pt x="10756" y="2768"/>
                </a:lnTo>
                <a:lnTo>
                  <a:pt x="10753" y="2772"/>
                </a:lnTo>
                <a:lnTo>
                  <a:pt x="10751" y="2776"/>
                </a:lnTo>
                <a:lnTo>
                  <a:pt x="10750" y="2778"/>
                </a:lnTo>
                <a:lnTo>
                  <a:pt x="10751" y="2781"/>
                </a:lnTo>
                <a:lnTo>
                  <a:pt x="10751" y="2783"/>
                </a:lnTo>
                <a:lnTo>
                  <a:pt x="10754" y="2785"/>
                </a:lnTo>
                <a:lnTo>
                  <a:pt x="10756" y="2787"/>
                </a:lnTo>
                <a:lnTo>
                  <a:pt x="10758" y="2790"/>
                </a:lnTo>
                <a:lnTo>
                  <a:pt x="10762" y="2792"/>
                </a:lnTo>
                <a:lnTo>
                  <a:pt x="10776" y="2798"/>
                </a:lnTo>
                <a:lnTo>
                  <a:pt x="10788" y="2802"/>
                </a:lnTo>
                <a:lnTo>
                  <a:pt x="10800" y="2804"/>
                </a:lnTo>
                <a:lnTo>
                  <a:pt x="10812" y="2804"/>
                </a:lnTo>
                <a:lnTo>
                  <a:pt x="10817" y="2803"/>
                </a:lnTo>
                <a:lnTo>
                  <a:pt x="10821" y="2800"/>
                </a:lnTo>
                <a:lnTo>
                  <a:pt x="10823" y="2797"/>
                </a:lnTo>
                <a:lnTo>
                  <a:pt x="10825" y="2793"/>
                </a:lnTo>
                <a:lnTo>
                  <a:pt x="10828" y="2791"/>
                </a:lnTo>
                <a:lnTo>
                  <a:pt x="10834" y="2789"/>
                </a:lnTo>
                <a:lnTo>
                  <a:pt x="10842" y="2789"/>
                </a:lnTo>
                <a:lnTo>
                  <a:pt x="10853" y="2791"/>
                </a:lnTo>
                <a:lnTo>
                  <a:pt x="10865" y="2795"/>
                </a:lnTo>
                <a:lnTo>
                  <a:pt x="10874" y="2799"/>
                </a:lnTo>
                <a:lnTo>
                  <a:pt x="10879" y="2804"/>
                </a:lnTo>
                <a:lnTo>
                  <a:pt x="10883" y="2808"/>
                </a:lnTo>
                <a:lnTo>
                  <a:pt x="10888" y="2811"/>
                </a:lnTo>
                <a:lnTo>
                  <a:pt x="10892" y="2812"/>
                </a:lnTo>
                <a:lnTo>
                  <a:pt x="10898" y="2811"/>
                </a:lnTo>
                <a:lnTo>
                  <a:pt x="10906" y="2808"/>
                </a:lnTo>
                <a:lnTo>
                  <a:pt x="10917" y="2804"/>
                </a:lnTo>
                <a:lnTo>
                  <a:pt x="10929" y="2802"/>
                </a:lnTo>
                <a:lnTo>
                  <a:pt x="10940" y="2799"/>
                </a:lnTo>
                <a:lnTo>
                  <a:pt x="10948" y="2798"/>
                </a:lnTo>
                <a:lnTo>
                  <a:pt x="10956" y="2797"/>
                </a:lnTo>
                <a:lnTo>
                  <a:pt x="10960" y="2796"/>
                </a:lnTo>
                <a:lnTo>
                  <a:pt x="10960" y="2795"/>
                </a:lnTo>
                <a:lnTo>
                  <a:pt x="10959" y="2794"/>
                </a:lnTo>
                <a:lnTo>
                  <a:pt x="10958" y="2792"/>
                </a:lnTo>
                <a:lnTo>
                  <a:pt x="10955" y="2791"/>
                </a:lnTo>
                <a:lnTo>
                  <a:pt x="10940" y="2782"/>
                </a:lnTo>
                <a:lnTo>
                  <a:pt x="10925" y="2775"/>
                </a:lnTo>
                <a:lnTo>
                  <a:pt x="10918" y="2770"/>
                </a:lnTo>
                <a:lnTo>
                  <a:pt x="10910" y="2766"/>
                </a:lnTo>
                <a:lnTo>
                  <a:pt x="10902" y="2764"/>
                </a:lnTo>
                <a:lnTo>
                  <a:pt x="10891" y="2760"/>
                </a:lnTo>
                <a:lnTo>
                  <a:pt x="10874" y="2758"/>
                </a:lnTo>
                <a:lnTo>
                  <a:pt x="10863" y="2757"/>
                </a:lnTo>
                <a:lnTo>
                  <a:pt x="10860" y="2757"/>
                </a:lnTo>
                <a:lnTo>
                  <a:pt x="10856" y="2756"/>
                </a:lnTo>
                <a:lnTo>
                  <a:pt x="10853" y="2754"/>
                </a:lnTo>
                <a:lnTo>
                  <a:pt x="10849" y="2751"/>
                </a:lnTo>
                <a:close/>
                <a:moveTo>
                  <a:pt x="11822" y="3526"/>
                </a:moveTo>
                <a:lnTo>
                  <a:pt x="11836" y="3539"/>
                </a:lnTo>
                <a:lnTo>
                  <a:pt x="11852" y="3553"/>
                </a:lnTo>
                <a:lnTo>
                  <a:pt x="11870" y="3567"/>
                </a:lnTo>
                <a:lnTo>
                  <a:pt x="11888" y="3579"/>
                </a:lnTo>
                <a:lnTo>
                  <a:pt x="11854" y="3579"/>
                </a:lnTo>
                <a:lnTo>
                  <a:pt x="11821" y="3580"/>
                </a:lnTo>
                <a:lnTo>
                  <a:pt x="11787" y="3580"/>
                </a:lnTo>
                <a:lnTo>
                  <a:pt x="11754" y="3580"/>
                </a:lnTo>
                <a:lnTo>
                  <a:pt x="11719" y="3580"/>
                </a:lnTo>
                <a:lnTo>
                  <a:pt x="11685" y="3580"/>
                </a:lnTo>
                <a:lnTo>
                  <a:pt x="11652" y="3580"/>
                </a:lnTo>
                <a:lnTo>
                  <a:pt x="11618" y="3580"/>
                </a:lnTo>
                <a:lnTo>
                  <a:pt x="11614" y="3576"/>
                </a:lnTo>
                <a:lnTo>
                  <a:pt x="11606" y="3570"/>
                </a:lnTo>
                <a:lnTo>
                  <a:pt x="11597" y="3564"/>
                </a:lnTo>
                <a:lnTo>
                  <a:pt x="11583" y="3556"/>
                </a:lnTo>
                <a:lnTo>
                  <a:pt x="11572" y="3550"/>
                </a:lnTo>
                <a:lnTo>
                  <a:pt x="11560" y="3543"/>
                </a:lnTo>
                <a:lnTo>
                  <a:pt x="11548" y="3535"/>
                </a:lnTo>
                <a:lnTo>
                  <a:pt x="11536" y="3526"/>
                </a:lnTo>
                <a:lnTo>
                  <a:pt x="11822" y="3526"/>
                </a:lnTo>
                <a:close/>
                <a:moveTo>
                  <a:pt x="11888" y="3579"/>
                </a:moveTo>
                <a:lnTo>
                  <a:pt x="11912" y="3579"/>
                </a:lnTo>
                <a:lnTo>
                  <a:pt x="11937" y="3579"/>
                </a:lnTo>
                <a:lnTo>
                  <a:pt x="11961" y="3579"/>
                </a:lnTo>
                <a:lnTo>
                  <a:pt x="11986" y="3579"/>
                </a:lnTo>
                <a:lnTo>
                  <a:pt x="12010" y="3579"/>
                </a:lnTo>
                <a:lnTo>
                  <a:pt x="12035" y="3579"/>
                </a:lnTo>
                <a:lnTo>
                  <a:pt x="12059" y="3579"/>
                </a:lnTo>
                <a:lnTo>
                  <a:pt x="12083" y="3579"/>
                </a:lnTo>
                <a:lnTo>
                  <a:pt x="12094" y="3588"/>
                </a:lnTo>
                <a:lnTo>
                  <a:pt x="12103" y="3596"/>
                </a:lnTo>
                <a:lnTo>
                  <a:pt x="12110" y="3603"/>
                </a:lnTo>
                <a:lnTo>
                  <a:pt x="12116" y="3608"/>
                </a:lnTo>
                <a:lnTo>
                  <a:pt x="12119" y="3612"/>
                </a:lnTo>
                <a:lnTo>
                  <a:pt x="12121" y="3614"/>
                </a:lnTo>
                <a:lnTo>
                  <a:pt x="12122" y="3617"/>
                </a:lnTo>
                <a:lnTo>
                  <a:pt x="12122" y="3619"/>
                </a:lnTo>
                <a:lnTo>
                  <a:pt x="12122" y="3621"/>
                </a:lnTo>
                <a:lnTo>
                  <a:pt x="12121" y="3622"/>
                </a:lnTo>
                <a:lnTo>
                  <a:pt x="12119" y="3624"/>
                </a:lnTo>
                <a:lnTo>
                  <a:pt x="12117" y="3626"/>
                </a:lnTo>
                <a:lnTo>
                  <a:pt x="12105" y="3632"/>
                </a:lnTo>
                <a:lnTo>
                  <a:pt x="12090" y="3640"/>
                </a:lnTo>
                <a:lnTo>
                  <a:pt x="12083" y="3643"/>
                </a:lnTo>
                <a:lnTo>
                  <a:pt x="12077" y="3643"/>
                </a:lnTo>
                <a:lnTo>
                  <a:pt x="12070" y="3642"/>
                </a:lnTo>
                <a:lnTo>
                  <a:pt x="12063" y="3639"/>
                </a:lnTo>
                <a:lnTo>
                  <a:pt x="12043" y="3629"/>
                </a:lnTo>
                <a:lnTo>
                  <a:pt x="12013" y="3617"/>
                </a:lnTo>
                <a:lnTo>
                  <a:pt x="11997" y="3612"/>
                </a:lnTo>
                <a:lnTo>
                  <a:pt x="11983" y="3608"/>
                </a:lnTo>
                <a:lnTo>
                  <a:pt x="11972" y="3606"/>
                </a:lnTo>
                <a:lnTo>
                  <a:pt x="11961" y="3605"/>
                </a:lnTo>
                <a:lnTo>
                  <a:pt x="11951" y="3603"/>
                </a:lnTo>
                <a:lnTo>
                  <a:pt x="11939" y="3601"/>
                </a:lnTo>
                <a:lnTo>
                  <a:pt x="11926" y="3597"/>
                </a:lnTo>
                <a:lnTo>
                  <a:pt x="11910" y="3591"/>
                </a:lnTo>
                <a:lnTo>
                  <a:pt x="11899" y="3586"/>
                </a:lnTo>
                <a:lnTo>
                  <a:pt x="11888" y="3579"/>
                </a:lnTo>
                <a:close/>
                <a:moveTo>
                  <a:pt x="11618" y="3580"/>
                </a:moveTo>
                <a:lnTo>
                  <a:pt x="11619" y="3582"/>
                </a:lnTo>
                <a:lnTo>
                  <a:pt x="11621" y="3585"/>
                </a:lnTo>
                <a:lnTo>
                  <a:pt x="11619" y="3588"/>
                </a:lnTo>
                <a:lnTo>
                  <a:pt x="11617" y="3590"/>
                </a:lnTo>
                <a:lnTo>
                  <a:pt x="11612" y="3594"/>
                </a:lnTo>
                <a:lnTo>
                  <a:pt x="11605" y="3602"/>
                </a:lnTo>
                <a:lnTo>
                  <a:pt x="11602" y="3605"/>
                </a:lnTo>
                <a:lnTo>
                  <a:pt x="11598" y="3608"/>
                </a:lnTo>
                <a:lnTo>
                  <a:pt x="11594" y="3610"/>
                </a:lnTo>
                <a:lnTo>
                  <a:pt x="11587" y="3613"/>
                </a:lnTo>
                <a:lnTo>
                  <a:pt x="11575" y="3617"/>
                </a:lnTo>
                <a:lnTo>
                  <a:pt x="11562" y="3620"/>
                </a:lnTo>
                <a:lnTo>
                  <a:pt x="11549" y="3622"/>
                </a:lnTo>
                <a:lnTo>
                  <a:pt x="11537" y="3623"/>
                </a:lnTo>
                <a:lnTo>
                  <a:pt x="11528" y="3622"/>
                </a:lnTo>
                <a:lnTo>
                  <a:pt x="11521" y="3621"/>
                </a:lnTo>
                <a:lnTo>
                  <a:pt x="11510" y="3615"/>
                </a:lnTo>
                <a:lnTo>
                  <a:pt x="11496" y="3605"/>
                </a:lnTo>
                <a:lnTo>
                  <a:pt x="11481" y="3593"/>
                </a:lnTo>
                <a:lnTo>
                  <a:pt x="11464" y="3580"/>
                </a:lnTo>
                <a:lnTo>
                  <a:pt x="11502" y="3580"/>
                </a:lnTo>
                <a:lnTo>
                  <a:pt x="11541" y="3580"/>
                </a:lnTo>
                <a:lnTo>
                  <a:pt x="11579" y="3580"/>
                </a:lnTo>
                <a:lnTo>
                  <a:pt x="11618" y="3580"/>
                </a:lnTo>
                <a:close/>
                <a:moveTo>
                  <a:pt x="11464" y="3580"/>
                </a:moveTo>
                <a:lnTo>
                  <a:pt x="11434" y="3580"/>
                </a:lnTo>
                <a:lnTo>
                  <a:pt x="11403" y="3580"/>
                </a:lnTo>
                <a:lnTo>
                  <a:pt x="11374" y="3580"/>
                </a:lnTo>
                <a:lnTo>
                  <a:pt x="11344" y="3580"/>
                </a:lnTo>
                <a:lnTo>
                  <a:pt x="11351" y="3577"/>
                </a:lnTo>
                <a:lnTo>
                  <a:pt x="11362" y="3575"/>
                </a:lnTo>
                <a:lnTo>
                  <a:pt x="11392" y="3570"/>
                </a:lnTo>
                <a:lnTo>
                  <a:pt x="11418" y="3568"/>
                </a:lnTo>
                <a:lnTo>
                  <a:pt x="11430" y="3568"/>
                </a:lnTo>
                <a:lnTo>
                  <a:pt x="11441" y="3569"/>
                </a:lnTo>
                <a:lnTo>
                  <a:pt x="11451" y="3573"/>
                </a:lnTo>
                <a:lnTo>
                  <a:pt x="11461" y="3578"/>
                </a:lnTo>
                <a:lnTo>
                  <a:pt x="11462" y="3579"/>
                </a:lnTo>
                <a:lnTo>
                  <a:pt x="11464" y="3580"/>
                </a:lnTo>
                <a:close/>
                <a:moveTo>
                  <a:pt x="1644" y="3093"/>
                </a:moveTo>
                <a:lnTo>
                  <a:pt x="1660" y="3093"/>
                </a:lnTo>
                <a:lnTo>
                  <a:pt x="1676" y="3094"/>
                </a:lnTo>
                <a:lnTo>
                  <a:pt x="1697" y="3097"/>
                </a:lnTo>
                <a:lnTo>
                  <a:pt x="1735" y="3103"/>
                </a:lnTo>
                <a:lnTo>
                  <a:pt x="1738" y="3104"/>
                </a:lnTo>
                <a:lnTo>
                  <a:pt x="1739" y="3106"/>
                </a:lnTo>
                <a:lnTo>
                  <a:pt x="1740" y="3108"/>
                </a:lnTo>
                <a:lnTo>
                  <a:pt x="1739" y="3109"/>
                </a:lnTo>
                <a:lnTo>
                  <a:pt x="1735" y="3109"/>
                </a:lnTo>
                <a:lnTo>
                  <a:pt x="1728" y="3110"/>
                </a:lnTo>
                <a:lnTo>
                  <a:pt x="1714" y="3114"/>
                </a:lnTo>
                <a:lnTo>
                  <a:pt x="1695" y="3117"/>
                </a:lnTo>
                <a:lnTo>
                  <a:pt x="1677" y="3120"/>
                </a:lnTo>
                <a:lnTo>
                  <a:pt x="1664" y="3121"/>
                </a:lnTo>
                <a:lnTo>
                  <a:pt x="1646" y="3122"/>
                </a:lnTo>
                <a:lnTo>
                  <a:pt x="1640" y="3121"/>
                </a:lnTo>
                <a:lnTo>
                  <a:pt x="1644" y="3093"/>
                </a:lnTo>
                <a:close/>
                <a:moveTo>
                  <a:pt x="1914" y="2996"/>
                </a:moveTo>
                <a:lnTo>
                  <a:pt x="1914" y="2993"/>
                </a:lnTo>
                <a:lnTo>
                  <a:pt x="1914" y="2989"/>
                </a:lnTo>
                <a:lnTo>
                  <a:pt x="1914" y="2987"/>
                </a:lnTo>
                <a:lnTo>
                  <a:pt x="1917" y="2985"/>
                </a:lnTo>
                <a:lnTo>
                  <a:pt x="1921" y="2981"/>
                </a:lnTo>
                <a:lnTo>
                  <a:pt x="1927" y="2978"/>
                </a:lnTo>
                <a:lnTo>
                  <a:pt x="1935" y="2975"/>
                </a:lnTo>
                <a:lnTo>
                  <a:pt x="1944" y="2974"/>
                </a:lnTo>
                <a:lnTo>
                  <a:pt x="1951" y="2973"/>
                </a:lnTo>
                <a:lnTo>
                  <a:pt x="1960" y="2973"/>
                </a:lnTo>
                <a:lnTo>
                  <a:pt x="1991" y="2991"/>
                </a:lnTo>
                <a:lnTo>
                  <a:pt x="1992" y="2993"/>
                </a:lnTo>
                <a:lnTo>
                  <a:pt x="1995" y="2997"/>
                </a:lnTo>
                <a:lnTo>
                  <a:pt x="1999" y="3005"/>
                </a:lnTo>
                <a:lnTo>
                  <a:pt x="2001" y="3014"/>
                </a:lnTo>
                <a:lnTo>
                  <a:pt x="2001" y="3020"/>
                </a:lnTo>
                <a:lnTo>
                  <a:pt x="1999" y="3023"/>
                </a:lnTo>
                <a:lnTo>
                  <a:pt x="1995" y="3025"/>
                </a:lnTo>
                <a:lnTo>
                  <a:pt x="1992" y="3027"/>
                </a:lnTo>
                <a:lnTo>
                  <a:pt x="1987" y="3028"/>
                </a:lnTo>
                <a:lnTo>
                  <a:pt x="1984" y="3029"/>
                </a:lnTo>
                <a:lnTo>
                  <a:pt x="1978" y="3030"/>
                </a:lnTo>
                <a:lnTo>
                  <a:pt x="1967" y="3033"/>
                </a:lnTo>
                <a:lnTo>
                  <a:pt x="1961" y="3034"/>
                </a:lnTo>
                <a:lnTo>
                  <a:pt x="1954" y="3035"/>
                </a:lnTo>
                <a:lnTo>
                  <a:pt x="1948" y="3035"/>
                </a:lnTo>
                <a:lnTo>
                  <a:pt x="1944" y="3035"/>
                </a:lnTo>
                <a:lnTo>
                  <a:pt x="1939" y="3033"/>
                </a:lnTo>
                <a:lnTo>
                  <a:pt x="1936" y="3030"/>
                </a:lnTo>
                <a:lnTo>
                  <a:pt x="1932" y="3027"/>
                </a:lnTo>
                <a:lnTo>
                  <a:pt x="1928" y="3023"/>
                </a:lnTo>
                <a:lnTo>
                  <a:pt x="1924" y="3018"/>
                </a:lnTo>
                <a:lnTo>
                  <a:pt x="1921" y="3011"/>
                </a:lnTo>
                <a:lnTo>
                  <a:pt x="1918" y="3003"/>
                </a:lnTo>
                <a:lnTo>
                  <a:pt x="1914" y="2996"/>
                </a:lnTo>
                <a:close/>
                <a:moveTo>
                  <a:pt x="2066" y="2648"/>
                </a:moveTo>
                <a:lnTo>
                  <a:pt x="2072" y="2649"/>
                </a:lnTo>
                <a:lnTo>
                  <a:pt x="2079" y="2649"/>
                </a:lnTo>
                <a:lnTo>
                  <a:pt x="2084" y="2648"/>
                </a:lnTo>
                <a:lnTo>
                  <a:pt x="2088" y="2646"/>
                </a:lnTo>
                <a:lnTo>
                  <a:pt x="2096" y="2638"/>
                </a:lnTo>
                <a:lnTo>
                  <a:pt x="2107" y="2625"/>
                </a:lnTo>
                <a:lnTo>
                  <a:pt x="2112" y="2617"/>
                </a:lnTo>
                <a:lnTo>
                  <a:pt x="2117" y="2609"/>
                </a:lnTo>
                <a:lnTo>
                  <a:pt x="2120" y="2603"/>
                </a:lnTo>
                <a:lnTo>
                  <a:pt x="2122" y="2596"/>
                </a:lnTo>
                <a:lnTo>
                  <a:pt x="2123" y="2592"/>
                </a:lnTo>
                <a:lnTo>
                  <a:pt x="2125" y="2588"/>
                </a:lnTo>
                <a:lnTo>
                  <a:pt x="2126" y="2584"/>
                </a:lnTo>
                <a:lnTo>
                  <a:pt x="2128" y="2581"/>
                </a:lnTo>
                <a:lnTo>
                  <a:pt x="2132" y="2579"/>
                </a:lnTo>
                <a:lnTo>
                  <a:pt x="2134" y="2578"/>
                </a:lnTo>
                <a:lnTo>
                  <a:pt x="2137" y="2577"/>
                </a:lnTo>
                <a:lnTo>
                  <a:pt x="2140" y="2577"/>
                </a:lnTo>
                <a:lnTo>
                  <a:pt x="2145" y="2575"/>
                </a:lnTo>
                <a:lnTo>
                  <a:pt x="2148" y="2573"/>
                </a:lnTo>
                <a:lnTo>
                  <a:pt x="2150" y="2569"/>
                </a:lnTo>
                <a:lnTo>
                  <a:pt x="2152" y="2566"/>
                </a:lnTo>
                <a:lnTo>
                  <a:pt x="2155" y="2561"/>
                </a:lnTo>
                <a:lnTo>
                  <a:pt x="2157" y="2557"/>
                </a:lnTo>
                <a:lnTo>
                  <a:pt x="2158" y="2556"/>
                </a:lnTo>
                <a:lnTo>
                  <a:pt x="2160" y="2555"/>
                </a:lnTo>
                <a:lnTo>
                  <a:pt x="2165" y="2553"/>
                </a:lnTo>
                <a:lnTo>
                  <a:pt x="2174" y="2552"/>
                </a:lnTo>
                <a:lnTo>
                  <a:pt x="2185" y="2551"/>
                </a:lnTo>
                <a:lnTo>
                  <a:pt x="2194" y="2548"/>
                </a:lnTo>
                <a:lnTo>
                  <a:pt x="2202" y="2544"/>
                </a:lnTo>
                <a:lnTo>
                  <a:pt x="2205" y="2543"/>
                </a:lnTo>
                <a:lnTo>
                  <a:pt x="2202" y="2541"/>
                </a:lnTo>
                <a:lnTo>
                  <a:pt x="2194" y="2538"/>
                </a:lnTo>
                <a:lnTo>
                  <a:pt x="2190" y="2536"/>
                </a:lnTo>
                <a:lnTo>
                  <a:pt x="2185" y="2534"/>
                </a:lnTo>
                <a:lnTo>
                  <a:pt x="2179" y="2533"/>
                </a:lnTo>
                <a:lnTo>
                  <a:pt x="2174" y="2532"/>
                </a:lnTo>
                <a:lnTo>
                  <a:pt x="2168" y="2532"/>
                </a:lnTo>
                <a:lnTo>
                  <a:pt x="2162" y="2530"/>
                </a:lnTo>
                <a:lnTo>
                  <a:pt x="2155" y="2528"/>
                </a:lnTo>
                <a:lnTo>
                  <a:pt x="2150" y="2525"/>
                </a:lnTo>
                <a:lnTo>
                  <a:pt x="2140" y="2521"/>
                </a:lnTo>
                <a:lnTo>
                  <a:pt x="2136" y="2520"/>
                </a:lnTo>
                <a:lnTo>
                  <a:pt x="2132" y="2515"/>
                </a:lnTo>
                <a:lnTo>
                  <a:pt x="2125" y="2509"/>
                </a:lnTo>
                <a:lnTo>
                  <a:pt x="2122" y="2505"/>
                </a:lnTo>
                <a:lnTo>
                  <a:pt x="2122" y="2501"/>
                </a:lnTo>
                <a:lnTo>
                  <a:pt x="2123" y="2499"/>
                </a:lnTo>
                <a:lnTo>
                  <a:pt x="2125" y="2498"/>
                </a:lnTo>
                <a:lnTo>
                  <a:pt x="2128" y="2498"/>
                </a:lnTo>
                <a:lnTo>
                  <a:pt x="2132" y="2498"/>
                </a:lnTo>
                <a:lnTo>
                  <a:pt x="2143" y="2497"/>
                </a:lnTo>
                <a:lnTo>
                  <a:pt x="2154" y="2496"/>
                </a:lnTo>
                <a:lnTo>
                  <a:pt x="2166" y="2493"/>
                </a:lnTo>
                <a:lnTo>
                  <a:pt x="2178" y="2490"/>
                </a:lnTo>
                <a:lnTo>
                  <a:pt x="2197" y="2485"/>
                </a:lnTo>
                <a:lnTo>
                  <a:pt x="2204" y="2483"/>
                </a:lnTo>
                <a:lnTo>
                  <a:pt x="2206" y="2483"/>
                </a:lnTo>
                <a:lnTo>
                  <a:pt x="2213" y="2482"/>
                </a:lnTo>
                <a:lnTo>
                  <a:pt x="2220" y="2479"/>
                </a:lnTo>
                <a:lnTo>
                  <a:pt x="2225" y="2475"/>
                </a:lnTo>
                <a:lnTo>
                  <a:pt x="2227" y="2471"/>
                </a:lnTo>
                <a:lnTo>
                  <a:pt x="2228" y="2466"/>
                </a:lnTo>
                <a:lnTo>
                  <a:pt x="2228" y="2461"/>
                </a:lnTo>
                <a:lnTo>
                  <a:pt x="2228" y="2458"/>
                </a:lnTo>
                <a:lnTo>
                  <a:pt x="2228" y="2454"/>
                </a:lnTo>
                <a:lnTo>
                  <a:pt x="2227" y="2451"/>
                </a:lnTo>
                <a:lnTo>
                  <a:pt x="2227" y="2448"/>
                </a:lnTo>
                <a:lnTo>
                  <a:pt x="2228" y="2447"/>
                </a:lnTo>
                <a:lnTo>
                  <a:pt x="2230" y="2447"/>
                </a:lnTo>
                <a:lnTo>
                  <a:pt x="2233" y="2448"/>
                </a:lnTo>
                <a:lnTo>
                  <a:pt x="2241" y="2451"/>
                </a:lnTo>
                <a:lnTo>
                  <a:pt x="2246" y="2454"/>
                </a:lnTo>
                <a:lnTo>
                  <a:pt x="2250" y="2458"/>
                </a:lnTo>
                <a:lnTo>
                  <a:pt x="2252" y="2465"/>
                </a:lnTo>
                <a:lnTo>
                  <a:pt x="2253" y="2472"/>
                </a:lnTo>
                <a:lnTo>
                  <a:pt x="2255" y="2478"/>
                </a:lnTo>
                <a:lnTo>
                  <a:pt x="2258" y="2485"/>
                </a:lnTo>
                <a:lnTo>
                  <a:pt x="2262" y="2493"/>
                </a:lnTo>
                <a:lnTo>
                  <a:pt x="2267" y="2501"/>
                </a:lnTo>
                <a:lnTo>
                  <a:pt x="2271" y="2508"/>
                </a:lnTo>
                <a:lnTo>
                  <a:pt x="2272" y="2510"/>
                </a:lnTo>
                <a:lnTo>
                  <a:pt x="2273" y="2513"/>
                </a:lnTo>
                <a:lnTo>
                  <a:pt x="2273" y="2515"/>
                </a:lnTo>
                <a:lnTo>
                  <a:pt x="2271" y="2517"/>
                </a:lnTo>
                <a:lnTo>
                  <a:pt x="2269" y="2519"/>
                </a:lnTo>
                <a:lnTo>
                  <a:pt x="2267" y="2519"/>
                </a:lnTo>
                <a:lnTo>
                  <a:pt x="2264" y="2519"/>
                </a:lnTo>
                <a:lnTo>
                  <a:pt x="2261" y="2519"/>
                </a:lnTo>
                <a:lnTo>
                  <a:pt x="2258" y="2519"/>
                </a:lnTo>
                <a:lnTo>
                  <a:pt x="2255" y="2520"/>
                </a:lnTo>
                <a:lnTo>
                  <a:pt x="2253" y="2521"/>
                </a:lnTo>
                <a:lnTo>
                  <a:pt x="2252" y="2524"/>
                </a:lnTo>
                <a:lnTo>
                  <a:pt x="2248" y="2532"/>
                </a:lnTo>
                <a:lnTo>
                  <a:pt x="2246" y="2538"/>
                </a:lnTo>
                <a:lnTo>
                  <a:pt x="2246" y="2541"/>
                </a:lnTo>
                <a:lnTo>
                  <a:pt x="2246" y="2544"/>
                </a:lnTo>
                <a:lnTo>
                  <a:pt x="2246" y="2549"/>
                </a:lnTo>
                <a:lnTo>
                  <a:pt x="2248" y="2552"/>
                </a:lnTo>
                <a:lnTo>
                  <a:pt x="2253" y="2559"/>
                </a:lnTo>
                <a:lnTo>
                  <a:pt x="2256" y="2565"/>
                </a:lnTo>
                <a:lnTo>
                  <a:pt x="2257" y="2568"/>
                </a:lnTo>
                <a:lnTo>
                  <a:pt x="2258" y="2571"/>
                </a:lnTo>
                <a:lnTo>
                  <a:pt x="2259" y="2575"/>
                </a:lnTo>
                <a:lnTo>
                  <a:pt x="2259" y="2579"/>
                </a:lnTo>
                <a:lnTo>
                  <a:pt x="2258" y="2586"/>
                </a:lnTo>
                <a:lnTo>
                  <a:pt x="2258" y="2591"/>
                </a:lnTo>
                <a:lnTo>
                  <a:pt x="2258" y="2595"/>
                </a:lnTo>
                <a:lnTo>
                  <a:pt x="2259" y="2600"/>
                </a:lnTo>
                <a:lnTo>
                  <a:pt x="2261" y="2603"/>
                </a:lnTo>
                <a:lnTo>
                  <a:pt x="2262" y="2605"/>
                </a:lnTo>
                <a:lnTo>
                  <a:pt x="2265" y="2608"/>
                </a:lnTo>
                <a:lnTo>
                  <a:pt x="2266" y="2615"/>
                </a:lnTo>
                <a:lnTo>
                  <a:pt x="2268" y="2623"/>
                </a:lnTo>
                <a:lnTo>
                  <a:pt x="2268" y="2629"/>
                </a:lnTo>
                <a:lnTo>
                  <a:pt x="2268" y="2631"/>
                </a:lnTo>
                <a:lnTo>
                  <a:pt x="2267" y="2633"/>
                </a:lnTo>
                <a:lnTo>
                  <a:pt x="2265" y="2634"/>
                </a:lnTo>
                <a:lnTo>
                  <a:pt x="2261" y="2636"/>
                </a:lnTo>
                <a:lnTo>
                  <a:pt x="2254" y="2636"/>
                </a:lnTo>
                <a:lnTo>
                  <a:pt x="2248" y="2635"/>
                </a:lnTo>
                <a:lnTo>
                  <a:pt x="2246" y="2635"/>
                </a:lnTo>
                <a:lnTo>
                  <a:pt x="2244" y="2635"/>
                </a:lnTo>
                <a:lnTo>
                  <a:pt x="2242" y="2636"/>
                </a:lnTo>
                <a:lnTo>
                  <a:pt x="2240" y="2638"/>
                </a:lnTo>
                <a:lnTo>
                  <a:pt x="2235" y="2643"/>
                </a:lnTo>
                <a:lnTo>
                  <a:pt x="2233" y="2646"/>
                </a:lnTo>
                <a:lnTo>
                  <a:pt x="2232" y="2648"/>
                </a:lnTo>
                <a:lnTo>
                  <a:pt x="2232" y="2649"/>
                </a:lnTo>
                <a:lnTo>
                  <a:pt x="2233" y="2651"/>
                </a:lnTo>
                <a:lnTo>
                  <a:pt x="2235" y="2654"/>
                </a:lnTo>
                <a:lnTo>
                  <a:pt x="2240" y="2657"/>
                </a:lnTo>
                <a:lnTo>
                  <a:pt x="2245" y="2659"/>
                </a:lnTo>
                <a:lnTo>
                  <a:pt x="2251" y="2660"/>
                </a:lnTo>
                <a:lnTo>
                  <a:pt x="2257" y="2660"/>
                </a:lnTo>
                <a:lnTo>
                  <a:pt x="2265" y="2660"/>
                </a:lnTo>
                <a:lnTo>
                  <a:pt x="2270" y="2660"/>
                </a:lnTo>
                <a:lnTo>
                  <a:pt x="2275" y="2661"/>
                </a:lnTo>
                <a:lnTo>
                  <a:pt x="2279" y="2664"/>
                </a:lnTo>
                <a:lnTo>
                  <a:pt x="2287" y="2673"/>
                </a:lnTo>
                <a:lnTo>
                  <a:pt x="2304" y="2690"/>
                </a:lnTo>
                <a:lnTo>
                  <a:pt x="2323" y="2710"/>
                </a:lnTo>
                <a:lnTo>
                  <a:pt x="2339" y="2728"/>
                </a:lnTo>
                <a:lnTo>
                  <a:pt x="2352" y="2740"/>
                </a:lnTo>
                <a:lnTo>
                  <a:pt x="2362" y="2749"/>
                </a:lnTo>
                <a:lnTo>
                  <a:pt x="2371" y="2755"/>
                </a:lnTo>
                <a:lnTo>
                  <a:pt x="2378" y="2762"/>
                </a:lnTo>
                <a:lnTo>
                  <a:pt x="2390" y="2777"/>
                </a:lnTo>
                <a:lnTo>
                  <a:pt x="2397" y="2783"/>
                </a:lnTo>
                <a:lnTo>
                  <a:pt x="2398" y="2793"/>
                </a:lnTo>
                <a:lnTo>
                  <a:pt x="2372" y="2792"/>
                </a:lnTo>
                <a:lnTo>
                  <a:pt x="2352" y="2790"/>
                </a:lnTo>
                <a:lnTo>
                  <a:pt x="2339" y="2786"/>
                </a:lnTo>
                <a:lnTo>
                  <a:pt x="2331" y="2783"/>
                </a:lnTo>
                <a:lnTo>
                  <a:pt x="2323" y="2779"/>
                </a:lnTo>
                <a:lnTo>
                  <a:pt x="2315" y="2776"/>
                </a:lnTo>
                <a:lnTo>
                  <a:pt x="2305" y="2770"/>
                </a:lnTo>
                <a:lnTo>
                  <a:pt x="2291" y="2764"/>
                </a:lnTo>
                <a:lnTo>
                  <a:pt x="2275" y="2757"/>
                </a:lnTo>
                <a:lnTo>
                  <a:pt x="2264" y="2751"/>
                </a:lnTo>
                <a:lnTo>
                  <a:pt x="2258" y="2748"/>
                </a:lnTo>
                <a:lnTo>
                  <a:pt x="2254" y="2743"/>
                </a:lnTo>
                <a:lnTo>
                  <a:pt x="2250" y="2739"/>
                </a:lnTo>
                <a:lnTo>
                  <a:pt x="2246" y="2735"/>
                </a:lnTo>
                <a:lnTo>
                  <a:pt x="2240" y="2724"/>
                </a:lnTo>
                <a:lnTo>
                  <a:pt x="2234" y="2714"/>
                </a:lnTo>
                <a:lnTo>
                  <a:pt x="2231" y="2710"/>
                </a:lnTo>
                <a:lnTo>
                  <a:pt x="2228" y="2706"/>
                </a:lnTo>
                <a:lnTo>
                  <a:pt x="2224" y="2703"/>
                </a:lnTo>
                <a:lnTo>
                  <a:pt x="2218" y="2701"/>
                </a:lnTo>
                <a:lnTo>
                  <a:pt x="2205" y="2699"/>
                </a:lnTo>
                <a:lnTo>
                  <a:pt x="2189" y="2697"/>
                </a:lnTo>
                <a:lnTo>
                  <a:pt x="2174" y="2695"/>
                </a:lnTo>
                <a:lnTo>
                  <a:pt x="2160" y="2691"/>
                </a:lnTo>
                <a:lnTo>
                  <a:pt x="2147" y="2685"/>
                </a:lnTo>
                <a:lnTo>
                  <a:pt x="2135" y="2677"/>
                </a:lnTo>
                <a:lnTo>
                  <a:pt x="2126" y="2670"/>
                </a:lnTo>
                <a:lnTo>
                  <a:pt x="2123" y="2667"/>
                </a:lnTo>
                <a:lnTo>
                  <a:pt x="2104" y="2659"/>
                </a:lnTo>
                <a:lnTo>
                  <a:pt x="2104" y="2661"/>
                </a:lnTo>
                <a:lnTo>
                  <a:pt x="2103" y="2664"/>
                </a:lnTo>
                <a:lnTo>
                  <a:pt x="2099" y="2670"/>
                </a:lnTo>
                <a:lnTo>
                  <a:pt x="2093" y="2677"/>
                </a:lnTo>
                <a:lnTo>
                  <a:pt x="2088" y="2679"/>
                </a:lnTo>
                <a:lnTo>
                  <a:pt x="2085" y="2683"/>
                </a:lnTo>
                <a:lnTo>
                  <a:pt x="2081" y="2684"/>
                </a:lnTo>
                <a:lnTo>
                  <a:pt x="2077" y="2685"/>
                </a:lnTo>
                <a:lnTo>
                  <a:pt x="2069" y="2685"/>
                </a:lnTo>
                <a:lnTo>
                  <a:pt x="2061" y="2684"/>
                </a:lnTo>
                <a:lnTo>
                  <a:pt x="2048" y="2679"/>
                </a:lnTo>
                <a:lnTo>
                  <a:pt x="2044" y="2677"/>
                </a:lnTo>
                <a:lnTo>
                  <a:pt x="2040" y="2650"/>
                </a:lnTo>
                <a:lnTo>
                  <a:pt x="2048" y="2649"/>
                </a:lnTo>
                <a:lnTo>
                  <a:pt x="2066" y="2648"/>
                </a:lnTo>
                <a:close/>
                <a:moveTo>
                  <a:pt x="2298" y="2295"/>
                </a:moveTo>
                <a:lnTo>
                  <a:pt x="2292" y="2293"/>
                </a:lnTo>
                <a:lnTo>
                  <a:pt x="2286" y="2290"/>
                </a:lnTo>
                <a:lnTo>
                  <a:pt x="2286" y="2287"/>
                </a:lnTo>
                <a:lnTo>
                  <a:pt x="2286" y="2285"/>
                </a:lnTo>
                <a:lnTo>
                  <a:pt x="2290" y="2282"/>
                </a:lnTo>
                <a:lnTo>
                  <a:pt x="2296" y="2280"/>
                </a:lnTo>
                <a:lnTo>
                  <a:pt x="2311" y="2274"/>
                </a:lnTo>
                <a:lnTo>
                  <a:pt x="2325" y="2269"/>
                </a:lnTo>
                <a:lnTo>
                  <a:pt x="2335" y="2266"/>
                </a:lnTo>
                <a:lnTo>
                  <a:pt x="2338" y="2264"/>
                </a:lnTo>
                <a:lnTo>
                  <a:pt x="2339" y="2264"/>
                </a:lnTo>
                <a:lnTo>
                  <a:pt x="2341" y="2262"/>
                </a:lnTo>
                <a:lnTo>
                  <a:pt x="2342" y="2260"/>
                </a:lnTo>
                <a:lnTo>
                  <a:pt x="2342" y="2258"/>
                </a:lnTo>
                <a:lnTo>
                  <a:pt x="2342" y="2256"/>
                </a:lnTo>
                <a:lnTo>
                  <a:pt x="2341" y="2253"/>
                </a:lnTo>
                <a:lnTo>
                  <a:pt x="2338" y="2244"/>
                </a:lnTo>
                <a:lnTo>
                  <a:pt x="2336" y="2237"/>
                </a:lnTo>
                <a:lnTo>
                  <a:pt x="2335" y="2232"/>
                </a:lnTo>
                <a:lnTo>
                  <a:pt x="2335" y="2229"/>
                </a:lnTo>
                <a:lnTo>
                  <a:pt x="2336" y="2226"/>
                </a:lnTo>
                <a:lnTo>
                  <a:pt x="2337" y="2223"/>
                </a:lnTo>
                <a:lnTo>
                  <a:pt x="2339" y="2220"/>
                </a:lnTo>
                <a:lnTo>
                  <a:pt x="2345" y="2219"/>
                </a:lnTo>
                <a:lnTo>
                  <a:pt x="2351" y="2218"/>
                </a:lnTo>
                <a:lnTo>
                  <a:pt x="2358" y="2217"/>
                </a:lnTo>
                <a:lnTo>
                  <a:pt x="2365" y="2216"/>
                </a:lnTo>
                <a:lnTo>
                  <a:pt x="2371" y="2215"/>
                </a:lnTo>
                <a:lnTo>
                  <a:pt x="2373" y="2214"/>
                </a:lnTo>
                <a:lnTo>
                  <a:pt x="2375" y="2213"/>
                </a:lnTo>
                <a:lnTo>
                  <a:pt x="2376" y="2211"/>
                </a:lnTo>
                <a:lnTo>
                  <a:pt x="2377" y="2209"/>
                </a:lnTo>
                <a:lnTo>
                  <a:pt x="2376" y="2198"/>
                </a:lnTo>
                <a:lnTo>
                  <a:pt x="2375" y="2187"/>
                </a:lnTo>
                <a:lnTo>
                  <a:pt x="2376" y="2183"/>
                </a:lnTo>
                <a:lnTo>
                  <a:pt x="2378" y="2179"/>
                </a:lnTo>
                <a:lnTo>
                  <a:pt x="2382" y="2177"/>
                </a:lnTo>
                <a:lnTo>
                  <a:pt x="2390" y="2176"/>
                </a:lnTo>
                <a:lnTo>
                  <a:pt x="2412" y="2175"/>
                </a:lnTo>
                <a:lnTo>
                  <a:pt x="2437" y="2175"/>
                </a:lnTo>
                <a:lnTo>
                  <a:pt x="2461" y="2174"/>
                </a:lnTo>
                <a:lnTo>
                  <a:pt x="2481" y="2172"/>
                </a:lnTo>
                <a:lnTo>
                  <a:pt x="2488" y="2171"/>
                </a:lnTo>
                <a:lnTo>
                  <a:pt x="2494" y="2169"/>
                </a:lnTo>
                <a:lnTo>
                  <a:pt x="2499" y="2166"/>
                </a:lnTo>
                <a:lnTo>
                  <a:pt x="2502" y="2164"/>
                </a:lnTo>
                <a:lnTo>
                  <a:pt x="2509" y="2159"/>
                </a:lnTo>
                <a:lnTo>
                  <a:pt x="2511" y="2154"/>
                </a:lnTo>
                <a:lnTo>
                  <a:pt x="2514" y="2148"/>
                </a:lnTo>
                <a:lnTo>
                  <a:pt x="2519" y="2144"/>
                </a:lnTo>
                <a:lnTo>
                  <a:pt x="2522" y="2143"/>
                </a:lnTo>
                <a:lnTo>
                  <a:pt x="2526" y="2142"/>
                </a:lnTo>
                <a:lnTo>
                  <a:pt x="2532" y="2142"/>
                </a:lnTo>
                <a:lnTo>
                  <a:pt x="2539" y="2141"/>
                </a:lnTo>
                <a:lnTo>
                  <a:pt x="2557" y="2142"/>
                </a:lnTo>
                <a:lnTo>
                  <a:pt x="2576" y="2145"/>
                </a:lnTo>
                <a:lnTo>
                  <a:pt x="2593" y="2147"/>
                </a:lnTo>
                <a:lnTo>
                  <a:pt x="2606" y="2147"/>
                </a:lnTo>
                <a:lnTo>
                  <a:pt x="2616" y="2145"/>
                </a:lnTo>
                <a:lnTo>
                  <a:pt x="2627" y="2144"/>
                </a:lnTo>
                <a:lnTo>
                  <a:pt x="2641" y="2142"/>
                </a:lnTo>
                <a:lnTo>
                  <a:pt x="2657" y="2138"/>
                </a:lnTo>
                <a:lnTo>
                  <a:pt x="2674" y="2135"/>
                </a:lnTo>
                <a:lnTo>
                  <a:pt x="2689" y="2130"/>
                </a:lnTo>
                <a:lnTo>
                  <a:pt x="2700" y="2123"/>
                </a:lnTo>
                <a:lnTo>
                  <a:pt x="2709" y="2119"/>
                </a:lnTo>
                <a:lnTo>
                  <a:pt x="2713" y="2115"/>
                </a:lnTo>
                <a:lnTo>
                  <a:pt x="2718" y="2112"/>
                </a:lnTo>
                <a:lnTo>
                  <a:pt x="2722" y="2110"/>
                </a:lnTo>
                <a:lnTo>
                  <a:pt x="2732" y="2110"/>
                </a:lnTo>
                <a:lnTo>
                  <a:pt x="2741" y="2110"/>
                </a:lnTo>
                <a:lnTo>
                  <a:pt x="2748" y="2110"/>
                </a:lnTo>
                <a:lnTo>
                  <a:pt x="2757" y="2110"/>
                </a:lnTo>
                <a:lnTo>
                  <a:pt x="2771" y="2110"/>
                </a:lnTo>
                <a:lnTo>
                  <a:pt x="2787" y="2109"/>
                </a:lnTo>
                <a:lnTo>
                  <a:pt x="2799" y="2108"/>
                </a:lnTo>
                <a:lnTo>
                  <a:pt x="2803" y="2107"/>
                </a:lnTo>
                <a:lnTo>
                  <a:pt x="2806" y="2106"/>
                </a:lnTo>
                <a:lnTo>
                  <a:pt x="2808" y="2105"/>
                </a:lnTo>
                <a:lnTo>
                  <a:pt x="2808" y="2103"/>
                </a:lnTo>
                <a:lnTo>
                  <a:pt x="2809" y="2100"/>
                </a:lnTo>
                <a:lnTo>
                  <a:pt x="2811" y="2097"/>
                </a:lnTo>
                <a:lnTo>
                  <a:pt x="2808" y="2096"/>
                </a:lnTo>
                <a:lnTo>
                  <a:pt x="2803" y="2096"/>
                </a:lnTo>
                <a:lnTo>
                  <a:pt x="2794" y="2096"/>
                </a:lnTo>
                <a:lnTo>
                  <a:pt x="2787" y="2095"/>
                </a:lnTo>
                <a:lnTo>
                  <a:pt x="2784" y="2094"/>
                </a:lnTo>
                <a:lnTo>
                  <a:pt x="2781" y="2093"/>
                </a:lnTo>
                <a:lnTo>
                  <a:pt x="2779" y="2091"/>
                </a:lnTo>
                <a:lnTo>
                  <a:pt x="2777" y="2089"/>
                </a:lnTo>
                <a:lnTo>
                  <a:pt x="2777" y="2085"/>
                </a:lnTo>
                <a:lnTo>
                  <a:pt x="2777" y="2083"/>
                </a:lnTo>
                <a:lnTo>
                  <a:pt x="2778" y="2080"/>
                </a:lnTo>
                <a:lnTo>
                  <a:pt x="2780" y="2078"/>
                </a:lnTo>
                <a:lnTo>
                  <a:pt x="2785" y="2074"/>
                </a:lnTo>
                <a:lnTo>
                  <a:pt x="2790" y="2070"/>
                </a:lnTo>
                <a:lnTo>
                  <a:pt x="2808" y="2068"/>
                </a:lnTo>
                <a:lnTo>
                  <a:pt x="2844" y="2067"/>
                </a:lnTo>
                <a:lnTo>
                  <a:pt x="2865" y="2066"/>
                </a:lnTo>
                <a:lnTo>
                  <a:pt x="2883" y="2066"/>
                </a:lnTo>
                <a:lnTo>
                  <a:pt x="2898" y="2067"/>
                </a:lnTo>
                <a:lnTo>
                  <a:pt x="2909" y="2068"/>
                </a:lnTo>
                <a:lnTo>
                  <a:pt x="2923" y="2071"/>
                </a:lnTo>
                <a:lnTo>
                  <a:pt x="2938" y="2076"/>
                </a:lnTo>
                <a:lnTo>
                  <a:pt x="2944" y="2078"/>
                </a:lnTo>
                <a:lnTo>
                  <a:pt x="2948" y="2081"/>
                </a:lnTo>
                <a:lnTo>
                  <a:pt x="2949" y="2083"/>
                </a:lnTo>
                <a:lnTo>
                  <a:pt x="2949" y="2085"/>
                </a:lnTo>
                <a:lnTo>
                  <a:pt x="2949" y="2087"/>
                </a:lnTo>
                <a:lnTo>
                  <a:pt x="2949" y="2090"/>
                </a:lnTo>
                <a:lnTo>
                  <a:pt x="2947" y="2092"/>
                </a:lnTo>
                <a:lnTo>
                  <a:pt x="2944" y="2094"/>
                </a:lnTo>
                <a:lnTo>
                  <a:pt x="2940" y="2096"/>
                </a:lnTo>
                <a:lnTo>
                  <a:pt x="2935" y="2100"/>
                </a:lnTo>
                <a:lnTo>
                  <a:pt x="2923" y="2104"/>
                </a:lnTo>
                <a:lnTo>
                  <a:pt x="2909" y="2109"/>
                </a:lnTo>
                <a:lnTo>
                  <a:pt x="2895" y="2114"/>
                </a:lnTo>
                <a:lnTo>
                  <a:pt x="2880" y="2119"/>
                </a:lnTo>
                <a:lnTo>
                  <a:pt x="2867" y="2124"/>
                </a:lnTo>
                <a:lnTo>
                  <a:pt x="2857" y="2130"/>
                </a:lnTo>
                <a:lnTo>
                  <a:pt x="2848" y="2134"/>
                </a:lnTo>
                <a:lnTo>
                  <a:pt x="2840" y="2139"/>
                </a:lnTo>
                <a:lnTo>
                  <a:pt x="2830" y="2143"/>
                </a:lnTo>
                <a:lnTo>
                  <a:pt x="2820" y="2146"/>
                </a:lnTo>
                <a:lnTo>
                  <a:pt x="2798" y="2152"/>
                </a:lnTo>
                <a:lnTo>
                  <a:pt x="2769" y="2158"/>
                </a:lnTo>
                <a:lnTo>
                  <a:pt x="2742" y="2163"/>
                </a:lnTo>
                <a:lnTo>
                  <a:pt x="2722" y="2168"/>
                </a:lnTo>
                <a:lnTo>
                  <a:pt x="2706" y="2172"/>
                </a:lnTo>
                <a:lnTo>
                  <a:pt x="2689" y="2178"/>
                </a:lnTo>
                <a:lnTo>
                  <a:pt x="2681" y="2182"/>
                </a:lnTo>
                <a:lnTo>
                  <a:pt x="2673" y="2183"/>
                </a:lnTo>
                <a:lnTo>
                  <a:pt x="2666" y="2184"/>
                </a:lnTo>
                <a:lnTo>
                  <a:pt x="2659" y="2184"/>
                </a:lnTo>
                <a:lnTo>
                  <a:pt x="2649" y="2182"/>
                </a:lnTo>
                <a:lnTo>
                  <a:pt x="2646" y="2181"/>
                </a:lnTo>
                <a:lnTo>
                  <a:pt x="2643" y="2183"/>
                </a:lnTo>
                <a:lnTo>
                  <a:pt x="2633" y="2186"/>
                </a:lnTo>
                <a:lnTo>
                  <a:pt x="2619" y="2191"/>
                </a:lnTo>
                <a:lnTo>
                  <a:pt x="2602" y="2197"/>
                </a:lnTo>
                <a:lnTo>
                  <a:pt x="2582" y="2201"/>
                </a:lnTo>
                <a:lnTo>
                  <a:pt x="2563" y="2204"/>
                </a:lnTo>
                <a:lnTo>
                  <a:pt x="2554" y="2206"/>
                </a:lnTo>
                <a:lnTo>
                  <a:pt x="2546" y="2208"/>
                </a:lnTo>
                <a:lnTo>
                  <a:pt x="2539" y="2210"/>
                </a:lnTo>
                <a:lnTo>
                  <a:pt x="2533" y="2213"/>
                </a:lnTo>
                <a:lnTo>
                  <a:pt x="2525" y="2217"/>
                </a:lnTo>
                <a:lnTo>
                  <a:pt x="2517" y="2223"/>
                </a:lnTo>
                <a:lnTo>
                  <a:pt x="2506" y="2230"/>
                </a:lnTo>
                <a:lnTo>
                  <a:pt x="2487" y="2244"/>
                </a:lnTo>
                <a:lnTo>
                  <a:pt x="2478" y="2253"/>
                </a:lnTo>
                <a:lnTo>
                  <a:pt x="2469" y="2260"/>
                </a:lnTo>
                <a:lnTo>
                  <a:pt x="2462" y="2267"/>
                </a:lnTo>
                <a:lnTo>
                  <a:pt x="2457" y="2273"/>
                </a:lnTo>
                <a:lnTo>
                  <a:pt x="2453" y="2280"/>
                </a:lnTo>
                <a:lnTo>
                  <a:pt x="2448" y="2284"/>
                </a:lnTo>
                <a:lnTo>
                  <a:pt x="2445" y="2287"/>
                </a:lnTo>
                <a:lnTo>
                  <a:pt x="2442" y="2290"/>
                </a:lnTo>
                <a:lnTo>
                  <a:pt x="2438" y="2291"/>
                </a:lnTo>
                <a:lnTo>
                  <a:pt x="2434" y="2290"/>
                </a:lnTo>
                <a:lnTo>
                  <a:pt x="2430" y="2287"/>
                </a:lnTo>
                <a:lnTo>
                  <a:pt x="2426" y="2284"/>
                </a:lnTo>
                <a:lnTo>
                  <a:pt x="2421" y="2281"/>
                </a:lnTo>
                <a:lnTo>
                  <a:pt x="2417" y="2279"/>
                </a:lnTo>
                <a:lnTo>
                  <a:pt x="2413" y="2276"/>
                </a:lnTo>
                <a:lnTo>
                  <a:pt x="2407" y="2274"/>
                </a:lnTo>
                <a:lnTo>
                  <a:pt x="2393" y="2272"/>
                </a:lnTo>
                <a:lnTo>
                  <a:pt x="2377" y="2273"/>
                </a:lnTo>
                <a:lnTo>
                  <a:pt x="2364" y="2273"/>
                </a:lnTo>
                <a:lnTo>
                  <a:pt x="2359" y="2274"/>
                </a:lnTo>
                <a:lnTo>
                  <a:pt x="2362" y="2282"/>
                </a:lnTo>
                <a:lnTo>
                  <a:pt x="2364" y="2291"/>
                </a:lnTo>
                <a:lnTo>
                  <a:pt x="2362" y="2294"/>
                </a:lnTo>
                <a:lnTo>
                  <a:pt x="2361" y="2296"/>
                </a:lnTo>
                <a:lnTo>
                  <a:pt x="2357" y="2297"/>
                </a:lnTo>
                <a:lnTo>
                  <a:pt x="2348" y="2297"/>
                </a:lnTo>
                <a:lnTo>
                  <a:pt x="2334" y="2297"/>
                </a:lnTo>
                <a:lnTo>
                  <a:pt x="2319" y="2297"/>
                </a:lnTo>
                <a:lnTo>
                  <a:pt x="2307" y="2297"/>
                </a:lnTo>
                <a:lnTo>
                  <a:pt x="2298" y="2295"/>
                </a:lnTo>
                <a:close/>
                <a:moveTo>
                  <a:pt x="2242" y="2380"/>
                </a:moveTo>
                <a:lnTo>
                  <a:pt x="2246" y="2362"/>
                </a:lnTo>
                <a:lnTo>
                  <a:pt x="2251" y="2348"/>
                </a:lnTo>
                <a:lnTo>
                  <a:pt x="2255" y="2348"/>
                </a:lnTo>
                <a:lnTo>
                  <a:pt x="2265" y="2348"/>
                </a:lnTo>
                <a:lnTo>
                  <a:pt x="2277" y="2348"/>
                </a:lnTo>
                <a:lnTo>
                  <a:pt x="2286" y="2348"/>
                </a:lnTo>
                <a:lnTo>
                  <a:pt x="2294" y="2348"/>
                </a:lnTo>
                <a:lnTo>
                  <a:pt x="2301" y="2347"/>
                </a:lnTo>
                <a:lnTo>
                  <a:pt x="2306" y="2346"/>
                </a:lnTo>
                <a:lnTo>
                  <a:pt x="2309" y="2345"/>
                </a:lnTo>
                <a:lnTo>
                  <a:pt x="2312" y="2343"/>
                </a:lnTo>
                <a:lnTo>
                  <a:pt x="2317" y="2340"/>
                </a:lnTo>
                <a:lnTo>
                  <a:pt x="2322" y="2335"/>
                </a:lnTo>
                <a:lnTo>
                  <a:pt x="2328" y="2331"/>
                </a:lnTo>
                <a:lnTo>
                  <a:pt x="2331" y="2330"/>
                </a:lnTo>
                <a:lnTo>
                  <a:pt x="2334" y="2328"/>
                </a:lnTo>
                <a:lnTo>
                  <a:pt x="2338" y="2328"/>
                </a:lnTo>
                <a:lnTo>
                  <a:pt x="2341" y="2328"/>
                </a:lnTo>
                <a:lnTo>
                  <a:pt x="2350" y="2330"/>
                </a:lnTo>
                <a:lnTo>
                  <a:pt x="2357" y="2331"/>
                </a:lnTo>
                <a:lnTo>
                  <a:pt x="2359" y="2331"/>
                </a:lnTo>
                <a:lnTo>
                  <a:pt x="2362" y="2333"/>
                </a:lnTo>
                <a:lnTo>
                  <a:pt x="2364" y="2334"/>
                </a:lnTo>
                <a:lnTo>
                  <a:pt x="2365" y="2337"/>
                </a:lnTo>
                <a:lnTo>
                  <a:pt x="2366" y="2340"/>
                </a:lnTo>
                <a:lnTo>
                  <a:pt x="2367" y="2343"/>
                </a:lnTo>
                <a:lnTo>
                  <a:pt x="2366" y="2345"/>
                </a:lnTo>
                <a:lnTo>
                  <a:pt x="2366" y="2347"/>
                </a:lnTo>
                <a:lnTo>
                  <a:pt x="2364" y="2350"/>
                </a:lnTo>
                <a:lnTo>
                  <a:pt x="2363" y="2350"/>
                </a:lnTo>
                <a:lnTo>
                  <a:pt x="2346" y="2353"/>
                </a:lnTo>
                <a:lnTo>
                  <a:pt x="2333" y="2355"/>
                </a:lnTo>
                <a:lnTo>
                  <a:pt x="2328" y="2357"/>
                </a:lnTo>
                <a:lnTo>
                  <a:pt x="2324" y="2359"/>
                </a:lnTo>
                <a:lnTo>
                  <a:pt x="2321" y="2362"/>
                </a:lnTo>
                <a:lnTo>
                  <a:pt x="2319" y="2366"/>
                </a:lnTo>
                <a:lnTo>
                  <a:pt x="2314" y="2379"/>
                </a:lnTo>
                <a:lnTo>
                  <a:pt x="2309" y="2393"/>
                </a:lnTo>
                <a:lnTo>
                  <a:pt x="2304" y="2399"/>
                </a:lnTo>
                <a:lnTo>
                  <a:pt x="2298" y="2404"/>
                </a:lnTo>
                <a:lnTo>
                  <a:pt x="2296" y="2405"/>
                </a:lnTo>
                <a:lnTo>
                  <a:pt x="2293" y="2407"/>
                </a:lnTo>
                <a:lnTo>
                  <a:pt x="2288" y="2407"/>
                </a:lnTo>
                <a:lnTo>
                  <a:pt x="2284" y="2407"/>
                </a:lnTo>
                <a:lnTo>
                  <a:pt x="2278" y="2406"/>
                </a:lnTo>
                <a:lnTo>
                  <a:pt x="2273" y="2404"/>
                </a:lnTo>
                <a:lnTo>
                  <a:pt x="2269" y="2401"/>
                </a:lnTo>
                <a:lnTo>
                  <a:pt x="2267" y="2398"/>
                </a:lnTo>
                <a:lnTo>
                  <a:pt x="2265" y="2394"/>
                </a:lnTo>
                <a:lnTo>
                  <a:pt x="2261" y="2392"/>
                </a:lnTo>
                <a:lnTo>
                  <a:pt x="2258" y="2392"/>
                </a:lnTo>
                <a:lnTo>
                  <a:pt x="2252" y="2393"/>
                </a:lnTo>
                <a:lnTo>
                  <a:pt x="2245" y="2397"/>
                </a:lnTo>
                <a:lnTo>
                  <a:pt x="2241" y="2400"/>
                </a:lnTo>
                <a:lnTo>
                  <a:pt x="2238" y="2403"/>
                </a:lnTo>
                <a:lnTo>
                  <a:pt x="2235" y="2406"/>
                </a:lnTo>
                <a:lnTo>
                  <a:pt x="2233" y="2409"/>
                </a:lnTo>
                <a:lnTo>
                  <a:pt x="2231" y="2412"/>
                </a:lnTo>
                <a:lnTo>
                  <a:pt x="2228" y="2413"/>
                </a:lnTo>
                <a:lnTo>
                  <a:pt x="2225" y="2414"/>
                </a:lnTo>
                <a:lnTo>
                  <a:pt x="2215" y="2413"/>
                </a:lnTo>
                <a:lnTo>
                  <a:pt x="2206" y="2409"/>
                </a:lnTo>
                <a:lnTo>
                  <a:pt x="2204" y="2408"/>
                </a:lnTo>
                <a:lnTo>
                  <a:pt x="2203" y="2406"/>
                </a:lnTo>
                <a:lnTo>
                  <a:pt x="2204" y="2403"/>
                </a:lnTo>
                <a:lnTo>
                  <a:pt x="2208" y="2401"/>
                </a:lnTo>
                <a:lnTo>
                  <a:pt x="2219" y="2395"/>
                </a:lnTo>
                <a:lnTo>
                  <a:pt x="2230" y="2390"/>
                </a:lnTo>
                <a:lnTo>
                  <a:pt x="2234" y="2388"/>
                </a:lnTo>
                <a:lnTo>
                  <a:pt x="2239" y="2385"/>
                </a:lnTo>
                <a:lnTo>
                  <a:pt x="2241" y="2382"/>
                </a:lnTo>
                <a:lnTo>
                  <a:pt x="2242" y="2380"/>
                </a:lnTo>
                <a:close/>
                <a:moveTo>
                  <a:pt x="10905" y="4063"/>
                </a:moveTo>
                <a:lnTo>
                  <a:pt x="10934" y="4063"/>
                </a:lnTo>
                <a:lnTo>
                  <a:pt x="10963" y="4063"/>
                </a:lnTo>
                <a:lnTo>
                  <a:pt x="10991" y="4063"/>
                </a:lnTo>
                <a:lnTo>
                  <a:pt x="11021" y="4063"/>
                </a:lnTo>
                <a:lnTo>
                  <a:pt x="11049" y="4063"/>
                </a:lnTo>
                <a:lnTo>
                  <a:pt x="11078" y="4063"/>
                </a:lnTo>
                <a:lnTo>
                  <a:pt x="11107" y="4063"/>
                </a:lnTo>
                <a:lnTo>
                  <a:pt x="11135" y="4063"/>
                </a:lnTo>
                <a:lnTo>
                  <a:pt x="10905" y="4063"/>
                </a:lnTo>
                <a:close/>
                <a:moveTo>
                  <a:pt x="10700" y="4062"/>
                </a:moveTo>
                <a:lnTo>
                  <a:pt x="10702" y="4069"/>
                </a:lnTo>
                <a:lnTo>
                  <a:pt x="10703" y="4078"/>
                </a:lnTo>
                <a:lnTo>
                  <a:pt x="10703" y="4087"/>
                </a:lnTo>
                <a:lnTo>
                  <a:pt x="10702" y="4096"/>
                </a:lnTo>
                <a:lnTo>
                  <a:pt x="10700" y="4115"/>
                </a:lnTo>
                <a:lnTo>
                  <a:pt x="10697" y="4131"/>
                </a:lnTo>
                <a:lnTo>
                  <a:pt x="10696" y="4134"/>
                </a:lnTo>
                <a:lnTo>
                  <a:pt x="10695" y="4136"/>
                </a:lnTo>
                <a:lnTo>
                  <a:pt x="10693" y="4137"/>
                </a:lnTo>
                <a:lnTo>
                  <a:pt x="10691" y="4139"/>
                </a:lnTo>
                <a:lnTo>
                  <a:pt x="10687" y="4141"/>
                </a:lnTo>
                <a:lnTo>
                  <a:pt x="10681" y="4140"/>
                </a:lnTo>
                <a:lnTo>
                  <a:pt x="10673" y="4139"/>
                </a:lnTo>
                <a:lnTo>
                  <a:pt x="10668" y="4136"/>
                </a:lnTo>
                <a:lnTo>
                  <a:pt x="10662" y="4132"/>
                </a:lnTo>
                <a:lnTo>
                  <a:pt x="10645" y="4120"/>
                </a:lnTo>
                <a:lnTo>
                  <a:pt x="10635" y="4112"/>
                </a:lnTo>
                <a:lnTo>
                  <a:pt x="10624" y="4102"/>
                </a:lnTo>
                <a:lnTo>
                  <a:pt x="10613" y="4090"/>
                </a:lnTo>
                <a:lnTo>
                  <a:pt x="10602" y="4076"/>
                </a:lnTo>
                <a:lnTo>
                  <a:pt x="10597" y="4068"/>
                </a:lnTo>
                <a:lnTo>
                  <a:pt x="10593" y="4062"/>
                </a:lnTo>
                <a:lnTo>
                  <a:pt x="10620" y="4062"/>
                </a:lnTo>
                <a:lnTo>
                  <a:pt x="10647" y="4062"/>
                </a:lnTo>
                <a:lnTo>
                  <a:pt x="10674" y="4062"/>
                </a:lnTo>
                <a:lnTo>
                  <a:pt x="10700" y="4062"/>
                </a:lnTo>
                <a:close/>
                <a:moveTo>
                  <a:pt x="10593" y="4062"/>
                </a:moveTo>
                <a:lnTo>
                  <a:pt x="10558" y="4062"/>
                </a:lnTo>
                <a:lnTo>
                  <a:pt x="10523" y="4062"/>
                </a:lnTo>
                <a:lnTo>
                  <a:pt x="10488" y="4062"/>
                </a:lnTo>
                <a:lnTo>
                  <a:pt x="10453" y="4062"/>
                </a:lnTo>
                <a:lnTo>
                  <a:pt x="10417" y="4062"/>
                </a:lnTo>
                <a:lnTo>
                  <a:pt x="10383" y="4061"/>
                </a:lnTo>
                <a:lnTo>
                  <a:pt x="10347" y="4061"/>
                </a:lnTo>
                <a:lnTo>
                  <a:pt x="10311" y="4061"/>
                </a:lnTo>
                <a:lnTo>
                  <a:pt x="10316" y="4056"/>
                </a:lnTo>
                <a:lnTo>
                  <a:pt x="10321" y="4051"/>
                </a:lnTo>
                <a:lnTo>
                  <a:pt x="10331" y="4040"/>
                </a:lnTo>
                <a:lnTo>
                  <a:pt x="10340" y="4029"/>
                </a:lnTo>
                <a:lnTo>
                  <a:pt x="10347" y="4019"/>
                </a:lnTo>
                <a:lnTo>
                  <a:pt x="10355" y="4009"/>
                </a:lnTo>
                <a:lnTo>
                  <a:pt x="10549" y="4009"/>
                </a:lnTo>
                <a:lnTo>
                  <a:pt x="10558" y="4017"/>
                </a:lnTo>
                <a:lnTo>
                  <a:pt x="10566" y="4023"/>
                </a:lnTo>
                <a:lnTo>
                  <a:pt x="10571" y="4029"/>
                </a:lnTo>
                <a:lnTo>
                  <a:pt x="10576" y="4036"/>
                </a:lnTo>
                <a:lnTo>
                  <a:pt x="10584" y="4048"/>
                </a:lnTo>
                <a:lnTo>
                  <a:pt x="10593" y="4062"/>
                </a:lnTo>
                <a:close/>
                <a:moveTo>
                  <a:pt x="7224" y="4866"/>
                </a:moveTo>
                <a:lnTo>
                  <a:pt x="7210" y="4859"/>
                </a:lnTo>
                <a:lnTo>
                  <a:pt x="7193" y="4849"/>
                </a:lnTo>
                <a:lnTo>
                  <a:pt x="7183" y="4845"/>
                </a:lnTo>
                <a:lnTo>
                  <a:pt x="7173" y="4839"/>
                </a:lnTo>
                <a:lnTo>
                  <a:pt x="7163" y="4836"/>
                </a:lnTo>
                <a:lnTo>
                  <a:pt x="7153" y="4833"/>
                </a:lnTo>
                <a:lnTo>
                  <a:pt x="7143" y="4832"/>
                </a:lnTo>
                <a:lnTo>
                  <a:pt x="7133" y="4831"/>
                </a:lnTo>
                <a:lnTo>
                  <a:pt x="7126" y="4832"/>
                </a:lnTo>
                <a:lnTo>
                  <a:pt x="7119" y="4833"/>
                </a:lnTo>
                <a:lnTo>
                  <a:pt x="7107" y="4836"/>
                </a:lnTo>
                <a:lnTo>
                  <a:pt x="7100" y="4838"/>
                </a:lnTo>
                <a:lnTo>
                  <a:pt x="7098" y="4839"/>
                </a:lnTo>
                <a:lnTo>
                  <a:pt x="7098" y="4841"/>
                </a:lnTo>
                <a:lnTo>
                  <a:pt x="7098" y="4842"/>
                </a:lnTo>
                <a:lnTo>
                  <a:pt x="7099" y="4843"/>
                </a:lnTo>
                <a:lnTo>
                  <a:pt x="7102" y="4846"/>
                </a:lnTo>
                <a:lnTo>
                  <a:pt x="7107" y="4850"/>
                </a:lnTo>
                <a:lnTo>
                  <a:pt x="7118" y="4858"/>
                </a:lnTo>
                <a:lnTo>
                  <a:pt x="7129" y="4864"/>
                </a:lnTo>
                <a:lnTo>
                  <a:pt x="7132" y="4864"/>
                </a:lnTo>
                <a:lnTo>
                  <a:pt x="7134" y="4864"/>
                </a:lnTo>
                <a:lnTo>
                  <a:pt x="7134" y="4865"/>
                </a:lnTo>
                <a:lnTo>
                  <a:pt x="7133" y="4866"/>
                </a:lnTo>
                <a:lnTo>
                  <a:pt x="7130" y="4873"/>
                </a:lnTo>
                <a:lnTo>
                  <a:pt x="7127" y="4884"/>
                </a:lnTo>
                <a:lnTo>
                  <a:pt x="7126" y="4890"/>
                </a:lnTo>
                <a:lnTo>
                  <a:pt x="7127" y="4895"/>
                </a:lnTo>
                <a:lnTo>
                  <a:pt x="7128" y="4898"/>
                </a:lnTo>
                <a:lnTo>
                  <a:pt x="7130" y="4901"/>
                </a:lnTo>
                <a:lnTo>
                  <a:pt x="7136" y="4908"/>
                </a:lnTo>
                <a:lnTo>
                  <a:pt x="7141" y="4915"/>
                </a:lnTo>
                <a:lnTo>
                  <a:pt x="7143" y="4923"/>
                </a:lnTo>
                <a:lnTo>
                  <a:pt x="7144" y="4935"/>
                </a:lnTo>
                <a:lnTo>
                  <a:pt x="7146" y="4950"/>
                </a:lnTo>
                <a:lnTo>
                  <a:pt x="7147" y="4967"/>
                </a:lnTo>
                <a:lnTo>
                  <a:pt x="7109" y="4967"/>
                </a:lnTo>
                <a:lnTo>
                  <a:pt x="7071" y="4967"/>
                </a:lnTo>
                <a:lnTo>
                  <a:pt x="7032" y="4967"/>
                </a:lnTo>
                <a:lnTo>
                  <a:pt x="6994" y="4967"/>
                </a:lnTo>
                <a:lnTo>
                  <a:pt x="6900" y="4967"/>
                </a:lnTo>
                <a:lnTo>
                  <a:pt x="6823" y="4967"/>
                </a:lnTo>
                <a:lnTo>
                  <a:pt x="6790" y="4969"/>
                </a:lnTo>
                <a:lnTo>
                  <a:pt x="6759" y="4970"/>
                </a:lnTo>
                <a:lnTo>
                  <a:pt x="6732" y="4973"/>
                </a:lnTo>
                <a:lnTo>
                  <a:pt x="6707" y="4978"/>
                </a:lnTo>
                <a:lnTo>
                  <a:pt x="6684" y="4982"/>
                </a:lnTo>
                <a:lnTo>
                  <a:pt x="6663" y="4990"/>
                </a:lnTo>
                <a:lnTo>
                  <a:pt x="6643" y="4997"/>
                </a:lnTo>
                <a:lnTo>
                  <a:pt x="6624" y="5007"/>
                </a:lnTo>
                <a:lnTo>
                  <a:pt x="6606" y="5019"/>
                </a:lnTo>
                <a:lnTo>
                  <a:pt x="6589" y="5033"/>
                </a:lnTo>
                <a:lnTo>
                  <a:pt x="6571" y="5049"/>
                </a:lnTo>
                <a:lnTo>
                  <a:pt x="6553" y="5067"/>
                </a:lnTo>
                <a:lnTo>
                  <a:pt x="6086" y="5568"/>
                </a:lnTo>
                <a:lnTo>
                  <a:pt x="6074" y="5565"/>
                </a:lnTo>
                <a:lnTo>
                  <a:pt x="6064" y="5564"/>
                </a:lnTo>
                <a:lnTo>
                  <a:pt x="6055" y="5563"/>
                </a:lnTo>
                <a:lnTo>
                  <a:pt x="6047" y="5564"/>
                </a:lnTo>
                <a:lnTo>
                  <a:pt x="6039" y="5566"/>
                </a:lnTo>
                <a:lnTo>
                  <a:pt x="6034" y="5570"/>
                </a:lnTo>
                <a:lnTo>
                  <a:pt x="6030" y="5573"/>
                </a:lnTo>
                <a:lnTo>
                  <a:pt x="6026" y="5577"/>
                </a:lnTo>
                <a:lnTo>
                  <a:pt x="6022" y="5583"/>
                </a:lnTo>
                <a:lnTo>
                  <a:pt x="6016" y="5589"/>
                </a:lnTo>
                <a:lnTo>
                  <a:pt x="6005" y="5598"/>
                </a:lnTo>
                <a:lnTo>
                  <a:pt x="5993" y="5608"/>
                </a:lnTo>
                <a:lnTo>
                  <a:pt x="5962" y="5633"/>
                </a:lnTo>
                <a:lnTo>
                  <a:pt x="5926" y="5660"/>
                </a:lnTo>
                <a:lnTo>
                  <a:pt x="5887" y="5686"/>
                </a:lnTo>
                <a:lnTo>
                  <a:pt x="5848" y="5710"/>
                </a:lnTo>
                <a:lnTo>
                  <a:pt x="5830" y="5721"/>
                </a:lnTo>
                <a:lnTo>
                  <a:pt x="5812" y="5729"/>
                </a:lnTo>
                <a:lnTo>
                  <a:pt x="5796" y="5736"/>
                </a:lnTo>
                <a:lnTo>
                  <a:pt x="5782" y="5740"/>
                </a:lnTo>
                <a:lnTo>
                  <a:pt x="5769" y="5745"/>
                </a:lnTo>
                <a:lnTo>
                  <a:pt x="5755" y="5750"/>
                </a:lnTo>
                <a:lnTo>
                  <a:pt x="5742" y="5756"/>
                </a:lnTo>
                <a:lnTo>
                  <a:pt x="5729" y="5763"/>
                </a:lnTo>
                <a:lnTo>
                  <a:pt x="5717" y="5772"/>
                </a:lnTo>
                <a:lnTo>
                  <a:pt x="5706" y="5780"/>
                </a:lnTo>
                <a:lnTo>
                  <a:pt x="5697" y="5789"/>
                </a:lnTo>
                <a:lnTo>
                  <a:pt x="5687" y="5799"/>
                </a:lnTo>
                <a:lnTo>
                  <a:pt x="5671" y="5787"/>
                </a:lnTo>
                <a:lnTo>
                  <a:pt x="5657" y="5775"/>
                </a:lnTo>
                <a:lnTo>
                  <a:pt x="5652" y="5769"/>
                </a:lnTo>
                <a:lnTo>
                  <a:pt x="5649" y="5764"/>
                </a:lnTo>
                <a:lnTo>
                  <a:pt x="5648" y="5759"/>
                </a:lnTo>
                <a:lnTo>
                  <a:pt x="5647" y="5755"/>
                </a:lnTo>
                <a:lnTo>
                  <a:pt x="5646" y="5748"/>
                </a:lnTo>
                <a:lnTo>
                  <a:pt x="5644" y="5741"/>
                </a:lnTo>
                <a:lnTo>
                  <a:pt x="5643" y="5739"/>
                </a:lnTo>
                <a:lnTo>
                  <a:pt x="5642" y="5736"/>
                </a:lnTo>
                <a:lnTo>
                  <a:pt x="5639" y="5735"/>
                </a:lnTo>
                <a:lnTo>
                  <a:pt x="5637" y="5733"/>
                </a:lnTo>
                <a:lnTo>
                  <a:pt x="5630" y="5730"/>
                </a:lnTo>
                <a:lnTo>
                  <a:pt x="5620" y="5730"/>
                </a:lnTo>
                <a:lnTo>
                  <a:pt x="5606" y="5732"/>
                </a:lnTo>
                <a:lnTo>
                  <a:pt x="5588" y="5734"/>
                </a:lnTo>
                <a:lnTo>
                  <a:pt x="5570" y="5738"/>
                </a:lnTo>
                <a:lnTo>
                  <a:pt x="5555" y="5742"/>
                </a:lnTo>
                <a:lnTo>
                  <a:pt x="5544" y="5748"/>
                </a:lnTo>
                <a:lnTo>
                  <a:pt x="5536" y="5753"/>
                </a:lnTo>
                <a:lnTo>
                  <a:pt x="5531" y="5755"/>
                </a:lnTo>
                <a:lnTo>
                  <a:pt x="5528" y="5756"/>
                </a:lnTo>
                <a:lnTo>
                  <a:pt x="5525" y="5756"/>
                </a:lnTo>
                <a:lnTo>
                  <a:pt x="5522" y="5756"/>
                </a:lnTo>
                <a:lnTo>
                  <a:pt x="5517" y="5754"/>
                </a:lnTo>
                <a:lnTo>
                  <a:pt x="5513" y="5751"/>
                </a:lnTo>
                <a:lnTo>
                  <a:pt x="5507" y="5746"/>
                </a:lnTo>
                <a:lnTo>
                  <a:pt x="5500" y="5738"/>
                </a:lnTo>
                <a:lnTo>
                  <a:pt x="5487" y="5723"/>
                </a:lnTo>
                <a:lnTo>
                  <a:pt x="5477" y="5711"/>
                </a:lnTo>
                <a:lnTo>
                  <a:pt x="5471" y="5700"/>
                </a:lnTo>
                <a:lnTo>
                  <a:pt x="5467" y="5691"/>
                </a:lnTo>
                <a:lnTo>
                  <a:pt x="5460" y="5678"/>
                </a:lnTo>
                <a:lnTo>
                  <a:pt x="5451" y="5666"/>
                </a:lnTo>
                <a:lnTo>
                  <a:pt x="5447" y="5659"/>
                </a:lnTo>
                <a:lnTo>
                  <a:pt x="5441" y="5653"/>
                </a:lnTo>
                <a:lnTo>
                  <a:pt x="5433" y="5646"/>
                </a:lnTo>
                <a:lnTo>
                  <a:pt x="5423" y="5639"/>
                </a:lnTo>
                <a:lnTo>
                  <a:pt x="5411" y="5629"/>
                </a:lnTo>
                <a:lnTo>
                  <a:pt x="5401" y="5619"/>
                </a:lnTo>
                <a:lnTo>
                  <a:pt x="5391" y="5611"/>
                </a:lnTo>
                <a:lnTo>
                  <a:pt x="5382" y="5601"/>
                </a:lnTo>
                <a:lnTo>
                  <a:pt x="5368" y="5587"/>
                </a:lnTo>
                <a:lnTo>
                  <a:pt x="5354" y="5575"/>
                </a:lnTo>
                <a:lnTo>
                  <a:pt x="5347" y="5570"/>
                </a:lnTo>
                <a:lnTo>
                  <a:pt x="5339" y="5565"/>
                </a:lnTo>
                <a:lnTo>
                  <a:pt x="5330" y="5562"/>
                </a:lnTo>
                <a:lnTo>
                  <a:pt x="5321" y="5559"/>
                </a:lnTo>
                <a:lnTo>
                  <a:pt x="5307" y="5557"/>
                </a:lnTo>
                <a:lnTo>
                  <a:pt x="5297" y="5557"/>
                </a:lnTo>
                <a:lnTo>
                  <a:pt x="5290" y="5558"/>
                </a:lnTo>
                <a:lnTo>
                  <a:pt x="5284" y="5560"/>
                </a:lnTo>
                <a:lnTo>
                  <a:pt x="5278" y="5562"/>
                </a:lnTo>
                <a:lnTo>
                  <a:pt x="5271" y="5564"/>
                </a:lnTo>
                <a:lnTo>
                  <a:pt x="5260" y="5566"/>
                </a:lnTo>
                <a:lnTo>
                  <a:pt x="5243" y="5567"/>
                </a:lnTo>
                <a:lnTo>
                  <a:pt x="5231" y="5568"/>
                </a:lnTo>
                <a:lnTo>
                  <a:pt x="5221" y="5568"/>
                </a:lnTo>
                <a:lnTo>
                  <a:pt x="5211" y="5570"/>
                </a:lnTo>
                <a:lnTo>
                  <a:pt x="5203" y="5571"/>
                </a:lnTo>
                <a:lnTo>
                  <a:pt x="5184" y="5572"/>
                </a:lnTo>
                <a:lnTo>
                  <a:pt x="5170" y="5572"/>
                </a:lnTo>
                <a:lnTo>
                  <a:pt x="5165" y="5571"/>
                </a:lnTo>
                <a:lnTo>
                  <a:pt x="5158" y="5570"/>
                </a:lnTo>
                <a:lnTo>
                  <a:pt x="5153" y="5567"/>
                </a:lnTo>
                <a:lnTo>
                  <a:pt x="5148" y="5564"/>
                </a:lnTo>
                <a:lnTo>
                  <a:pt x="5140" y="5559"/>
                </a:lnTo>
                <a:lnTo>
                  <a:pt x="5136" y="5553"/>
                </a:lnTo>
                <a:lnTo>
                  <a:pt x="5131" y="5548"/>
                </a:lnTo>
                <a:lnTo>
                  <a:pt x="5128" y="5543"/>
                </a:lnTo>
                <a:lnTo>
                  <a:pt x="5125" y="5537"/>
                </a:lnTo>
                <a:lnTo>
                  <a:pt x="5122" y="5531"/>
                </a:lnTo>
                <a:lnTo>
                  <a:pt x="5116" y="5525"/>
                </a:lnTo>
                <a:lnTo>
                  <a:pt x="5109" y="5520"/>
                </a:lnTo>
                <a:lnTo>
                  <a:pt x="5102" y="5514"/>
                </a:lnTo>
                <a:lnTo>
                  <a:pt x="5096" y="5511"/>
                </a:lnTo>
                <a:lnTo>
                  <a:pt x="5089" y="5508"/>
                </a:lnTo>
                <a:lnTo>
                  <a:pt x="5084" y="5507"/>
                </a:lnTo>
                <a:lnTo>
                  <a:pt x="5082" y="5507"/>
                </a:lnTo>
                <a:lnTo>
                  <a:pt x="5081" y="5507"/>
                </a:lnTo>
                <a:lnTo>
                  <a:pt x="6607" y="4627"/>
                </a:lnTo>
                <a:lnTo>
                  <a:pt x="6632" y="4613"/>
                </a:lnTo>
                <a:lnTo>
                  <a:pt x="6656" y="4601"/>
                </a:lnTo>
                <a:lnTo>
                  <a:pt x="6678" y="4591"/>
                </a:lnTo>
                <a:lnTo>
                  <a:pt x="6701" y="4581"/>
                </a:lnTo>
                <a:lnTo>
                  <a:pt x="6723" y="4574"/>
                </a:lnTo>
                <a:lnTo>
                  <a:pt x="6745" y="4567"/>
                </a:lnTo>
                <a:lnTo>
                  <a:pt x="6768" y="4562"/>
                </a:lnTo>
                <a:lnTo>
                  <a:pt x="6791" y="4558"/>
                </a:lnTo>
                <a:lnTo>
                  <a:pt x="6815" y="4554"/>
                </a:lnTo>
                <a:lnTo>
                  <a:pt x="6839" y="4551"/>
                </a:lnTo>
                <a:lnTo>
                  <a:pt x="6865" y="4549"/>
                </a:lnTo>
                <a:lnTo>
                  <a:pt x="6892" y="4547"/>
                </a:lnTo>
                <a:lnTo>
                  <a:pt x="6954" y="4545"/>
                </a:lnTo>
                <a:lnTo>
                  <a:pt x="7024" y="4542"/>
                </a:lnTo>
                <a:lnTo>
                  <a:pt x="7112" y="4540"/>
                </a:lnTo>
                <a:lnTo>
                  <a:pt x="7201" y="4540"/>
                </a:lnTo>
                <a:lnTo>
                  <a:pt x="7291" y="4541"/>
                </a:lnTo>
                <a:lnTo>
                  <a:pt x="7382" y="4542"/>
                </a:lnTo>
                <a:lnTo>
                  <a:pt x="7471" y="4544"/>
                </a:lnTo>
                <a:lnTo>
                  <a:pt x="7557" y="4545"/>
                </a:lnTo>
                <a:lnTo>
                  <a:pt x="7599" y="4544"/>
                </a:lnTo>
                <a:lnTo>
                  <a:pt x="7639" y="4542"/>
                </a:lnTo>
                <a:lnTo>
                  <a:pt x="7679" y="4541"/>
                </a:lnTo>
                <a:lnTo>
                  <a:pt x="7718" y="4539"/>
                </a:lnTo>
                <a:lnTo>
                  <a:pt x="9407" y="4539"/>
                </a:lnTo>
                <a:lnTo>
                  <a:pt x="9412" y="4551"/>
                </a:lnTo>
                <a:lnTo>
                  <a:pt x="9419" y="4564"/>
                </a:lnTo>
                <a:lnTo>
                  <a:pt x="9420" y="4567"/>
                </a:lnTo>
                <a:lnTo>
                  <a:pt x="9419" y="4572"/>
                </a:lnTo>
                <a:lnTo>
                  <a:pt x="9418" y="4577"/>
                </a:lnTo>
                <a:lnTo>
                  <a:pt x="9416" y="4582"/>
                </a:lnTo>
                <a:lnTo>
                  <a:pt x="9410" y="4594"/>
                </a:lnTo>
                <a:lnTo>
                  <a:pt x="9402" y="4606"/>
                </a:lnTo>
                <a:lnTo>
                  <a:pt x="9393" y="4619"/>
                </a:lnTo>
                <a:lnTo>
                  <a:pt x="9383" y="4631"/>
                </a:lnTo>
                <a:lnTo>
                  <a:pt x="9374" y="4641"/>
                </a:lnTo>
                <a:lnTo>
                  <a:pt x="9366" y="4648"/>
                </a:lnTo>
                <a:lnTo>
                  <a:pt x="9362" y="4652"/>
                </a:lnTo>
                <a:lnTo>
                  <a:pt x="9359" y="4656"/>
                </a:lnTo>
                <a:lnTo>
                  <a:pt x="9357" y="4660"/>
                </a:lnTo>
                <a:lnTo>
                  <a:pt x="9355" y="4666"/>
                </a:lnTo>
                <a:lnTo>
                  <a:pt x="9352" y="4677"/>
                </a:lnTo>
                <a:lnTo>
                  <a:pt x="9350" y="4692"/>
                </a:lnTo>
                <a:lnTo>
                  <a:pt x="9350" y="4707"/>
                </a:lnTo>
                <a:lnTo>
                  <a:pt x="9353" y="4722"/>
                </a:lnTo>
                <a:lnTo>
                  <a:pt x="9355" y="4737"/>
                </a:lnTo>
                <a:lnTo>
                  <a:pt x="9358" y="4753"/>
                </a:lnTo>
                <a:lnTo>
                  <a:pt x="9360" y="4761"/>
                </a:lnTo>
                <a:lnTo>
                  <a:pt x="9360" y="4767"/>
                </a:lnTo>
                <a:lnTo>
                  <a:pt x="9360" y="4775"/>
                </a:lnTo>
                <a:lnTo>
                  <a:pt x="9360" y="4782"/>
                </a:lnTo>
                <a:lnTo>
                  <a:pt x="9357" y="4796"/>
                </a:lnTo>
                <a:lnTo>
                  <a:pt x="9353" y="4810"/>
                </a:lnTo>
                <a:lnTo>
                  <a:pt x="9341" y="4839"/>
                </a:lnTo>
                <a:lnTo>
                  <a:pt x="9327" y="4870"/>
                </a:lnTo>
                <a:lnTo>
                  <a:pt x="9321" y="4883"/>
                </a:lnTo>
                <a:lnTo>
                  <a:pt x="9314" y="4895"/>
                </a:lnTo>
                <a:lnTo>
                  <a:pt x="9304" y="4908"/>
                </a:lnTo>
                <a:lnTo>
                  <a:pt x="9294" y="4920"/>
                </a:lnTo>
                <a:lnTo>
                  <a:pt x="9275" y="4944"/>
                </a:lnTo>
                <a:lnTo>
                  <a:pt x="9256" y="4967"/>
                </a:lnTo>
                <a:lnTo>
                  <a:pt x="9122" y="4967"/>
                </a:lnTo>
                <a:lnTo>
                  <a:pt x="8989" y="4967"/>
                </a:lnTo>
                <a:lnTo>
                  <a:pt x="8858" y="4967"/>
                </a:lnTo>
                <a:lnTo>
                  <a:pt x="8726" y="4967"/>
                </a:lnTo>
                <a:lnTo>
                  <a:pt x="8595" y="4967"/>
                </a:lnTo>
                <a:lnTo>
                  <a:pt x="8465" y="4967"/>
                </a:lnTo>
                <a:lnTo>
                  <a:pt x="8337" y="4967"/>
                </a:lnTo>
                <a:lnTo>
                  <a:pt x="8209" y="4967"/>
                </a:lnTo>
                <a:lnTo>
                  <a:pt x="8082" y="4967"/>
                </a:lnTo>
                <a:lnTo>
                  <a:pt x="7958" y="4967"/>
                </a:lnTo>
                <a:lnTo>
                  <a:pt x="7835" y="4967"/>
                </a:lnTo>
                <a:lnTo>
                  <a:pt x="7714" y="4967"/>
                </a:lnTo>
                <a:lnTo>
                  <a:pt x="7594" y="4967"/>
                </a:lnTo>
                <a:lnTo>
                  <a:pt x="7476" y="4967"/>
                </a:lnTo>
                <a:lnTo>
                  <a:pt x="7360" y="4967"/>
                </a:lnTo>
                <a:lnTo>
                  <a:pt x="7247" y="4967"/>
                </a:lnTo>
                <a:lnTo>
                  <a:pt x="7243" y="4951"/>
                </a:lnTo>
                <a:lnTo>
                  <a:pt x="7237" y="4935"/>
                </a:lnTo>
                <a:lnTo>
                  <a:pt x="7234" y="4919"/>
                </a:lnTo>
                <a:lnTo>
                  <a:pt x="7230" y="4904"/>
                </a:lnTo>
                <a:lnTo>
                  <a:pt x="7234" y="4904"/>
                </a:lnTo>
                <a:lnTo>
                  <a:pt x="7260" y="4899"/>
                </a:lnTo>
                <a:lnTo>
                  <a:pt x="7269" y="4897"/>
                </a:lnTo>
                <a:lnTo>
                  <a:pt x="7272" y="4893"/>
                </a:lnTo>
                <a:lnTo>
                  <a:pt x="7272" y="4892"/>
                </a:lnTo>
                <a:lnTo>
                  <a:pt x="7272" y="4891"/>
                </a:lnTo>
                <a:lnTo>
                  <a:pt x="7271" y="4890"/>
                </a:lnTo>
                <a:lnTo>
                  <a:pt x="7269" y="4889"/>
                </a:lnTo>
                <a:lnTo>
                  <a:pt x="7261" y="4885"/>
                </a:lnTo>
                <a:lnTo>
                  <a:pt x="7256" y="4884"/>
                </a:lnTo>
                <a:lnTo>
                  <a:pt x="7246" y="4877"/>
                </a:lnTo>
                <a:lnTo>
                  <a:pt x="7224" y="4866"/>
                </a:lnTo>
                <a:close/>
                <a:moveTo>
                  <a:pt x="7147" y="4967"/>
                </a:moveTo>
                <a:lnTo>
                  <a:pt x="7172" y="4967"/>
                </a:lnTo>
                <a:lnTo>
                  <a:pt x="7197" y="4967"/>
                </a:lnTo>
                <a:lnTo>
                  <a:pt x="7222" y="4967"/>
                </a:lnTo>
                <a:lnTo>
                  <a:pt x="7247" y="4967"/>
                </a:lnTo>
                <a:lnTo>
                  <a:pt x="7251" y="4981"/>
                </a:lnTo>
                <a:lnTo>
                  <a:pt x="7256" y="4995"/>
                </a:lnTo>
                <a:lnTo>
                  <a:pt x="7261" y="5009"/>
                </a:lnTo>
                <a:lnTo>
                  <a:pt x="7265" y="5023"/>
                </a:lnTo>
                <a:lnTo>
                  <a:pt x="7152" y="5023"/>
                </a:lnTo>
                <a:lnTo>
                  <a:pt x="7151" y="5009"/>
                </a:lnTo>
                <a:lnTo>
                  <a:pt x="7150" y="4994"/>
                </a:lnTo>
                <a:lnTo>
                  <a:pt x="7149" y="4980"/>
                </a:lnTo>
                <a:lnTo>
                  <a:pt x="7147" y="4967"/>
                </a:lnTo>
                <a:close/>
                <a:moveTo>
                  <a:pt x="7152" y="5428"/>
                </a:moveTo>
                <a:lnTo>
                  <a:pt x="6996" y="5428"/>
                </a:lnTo>
                <a:lnTo>
                  <a:pt x="7018" y="5417"/>
                </a:lnTo>
                <a:lnTo>
                  <a:pt x="7037" y="5405"/>
                </a:lnTo>
                <a:lnTo>
                  <a:pt x="7047" y="5399"/>
                </a:lnTo>
                <a:lnTo>
                  <a:pt x="7053" y="5392"/>
                </a:lnTo>
                <a:lnTo>
                  <a:pt x="7060" y="5387"/>
                </a:lnTo>
                <a:lnTo>
                  <a:pt x="7063" y="5381"/>
                </a:lnTo>
                <a:lnTo>
                  <a:pt x="7064" y="5379"/>
                </a:lnTo>
                <a:lnTo>
                  <a:pt x="7065" y="5378"/>
                </a:lnTo>
                <a:lnTo>
                  <a:pt x="7091" y="5378"/>
                </a:lnTo>
                <a:lnTo>
                  <a:pt x="7116" y="5378"/>
                </a:lnTo>
                <a:lnTo>
                  <a:pt x="7142" y="5378"/>
                </a:lnTo>
                <a:lnTo>
                  <a:pt x="7168" y="5379"/>
                </a:lnTo>
                <a:lnTo>
                  <a:pt x="7164" y="5389"/>
                </a:lnTo>
                <a:lnTo>
                  <a:pt x="7158" y="5405"/>
                </a:lnTo>
                <a:lnTo>
                  <a:pt x="7154" y="5418"/>
                </a:lnTo>
                <a:lnTo>
                  <a:pt x="7152" y="5428"/>
                </a:lnTo>
                <a:close/>
                <a:moveTo>
                  <a:pt x="6996" y="5428"/>
                </a:moveTo>
                <a:lnTo>
                  <a:pt x="6984" y="5432"/>
                </a:lnTo>
                <a:lnTo>
                  <a:pt x="6974" y="5437"/>
                </a:lnTo>
                <a:lnTo>
                  <a:pt x="6965" y="5439"/>
                </a:lnTo>
                <a:lnTo>
                  <a:pt x="6956" y="5441"/>
                </a:lnTo>
                <a:lnTo>
                  <a:pt x="6946" y="5442"/>
                </a:lnTo>
                <a:lnTo>
                  <a:pt x="6941" y="5444"/>
                </a:lnTo>
                <a:lnTo>
                  <a:pt x="6937" y="5446"/>
                </a:lnTo>
                <a:lnTo>
                  <a:pt x="6936" y="5450"/>
                </a:lnTo>
                <a:lnTo>
                  <a:pt x="6937" y="5457"/>
                </a:lnTo>
                <a:lnTo>
                  <a:pt x="6938" y="5464"/>
                </a:lnTo>
                <a:lnTo>
                  <a:pt x="6938" y="5468"/>
                </a:lnTo>
                <a:lnTo>
                  <a:pt x="6940" y="5472"/>
                </a:lnTo>
                <a:lnTo>
                  <a:pt x="6943" y="5478"/>
                </a:lnTo>
                <a:lnTo>
                  <a:pt x="6949" y="5484"/>
                </a:lnTo>
                <a:lnTo>
                  <a:pt x="6954" y="5491"/>
                </a:lnTo>
                <a:lnTo>
                  <a:pt x="6960" y="5496"/>
                </a:lnTo>
                <a:lnTo>
                  <a:pt x="6967" y="5502"/>
                </a:lnTo>
                <a:lnTo>
                  <a:pt x="6974" y="5506"/>
                </a:lnTo>
                <a:lnTo>
                  <a:pt x="6983" y="5509"/>
                </a:lnTo>
                <a:lnTo>
                  <a:pt x="6991" y="5510"/>
                </a:lnTo>
                <a:lnTo>
                  <a:pt x="6999" y="5510"/>
                </a:lnTo>
                <a:lnTo>
                  <a:pt x="7007" y="5510"/>
                </a:lnTo>
                <a:lnTo>
                  <a:pt x="7021" y="5508"/>
                </a:lnTo>
                <a:lnTo>
                  <a:pt x="7034" y="5506"/>
                </a:lnTo>
                <a:lnTo>
                  <a:pt x="7048" y="5503"/>
                </a:lnTo>
                <a:lnTo>
                  <a:pt x="7066" y="5496"/>
                </a:lnTo>
                <a:lnTo>
                  <a:pt x="7090" y="5487"/>
                </a:lnTo>
                <a:lnTo>
                  <a:pt x="7115" y="5478"/>
                </a:lnTo>
                <a:lnTo>
                  <a:pt x="7125" y="5475"/>
                </a:lnTo>
                <a:lnTo>
                  <a:pt x="7131" y="5470"/>
                </a:lnTo>
                <a:lnTo>
                  <a:pt x="7137" y="5466"/>
                </a:lnTo>
                <a:lnTo>
                  <a:pt x="7141" y="5460"/>
                </a:lnTo>
                <a:lnTo>
                  <a:pt x="7144" y="5455"/>
                </a:lnTo>
                <a:lnTo>
                  <a:pt x="7146" y="5448"/>
                </a:lnTo>
                <a:lnTo>
                  <a:pt x="7149" y="5439"/>
                </a:lnTo>
                <a:lnTo>
                  <a:pt x="7152" y="5428"/>
                </a:lnTo>
                <a:lnTo>
                  <a:pt x="8282" y="5430"/>
                </a:lnTo>
                <a:lnTo>
                  <a:pt x="8282" y="5442"/>
                </a:lnTo>
                <a:lnTo>
                  <a:pt x="8281" y="5452"/>
                </a:lnTo>
                <a:lnTo>
                  <a:pt x="8279" y="5462"/>
                </a:lnTo>
                <a:lnTo>
                  <a:pt x="8277" y="5472"/>
                </a:lnTo>
                <a:lnTo>
                  <a:pt x="8276" y="5485"/>
                </a:lnTo>
                <a:lnTo>
                  <a:pt x="8275" y="5502"/>
                </a:lnTo>
                <a:lnTo>
                  <a:pt x="8274" y="5523"/>
                </a:lnTo>
                <a:lnTo>
                  <a:pt x="8275" y="5551"/>
                </a:lnTo>
                <a:lnTo>
                  <a:pt x="8278" y="5583"/>
                </a:lnTo>
                <a:lnTo>
                  <a:pt x="8282" y="5610"/>
                </a:lnTo>
                <a:lnTo>
                  <a:pt x="8287" y="5631"/>
                </a:lnTo>
                <a:lnTo>
                  <a:pt x="8291" y="5652"/>
                </a:lnTo>
                <a:lnTo>
                  <a:pt x="8295" y="5671"/>
                </a:lnTo>
                <a:lnTo>
                  <a:pt x="8298" y="5689"/>
                </a:lnTo>
                <a:lnTo>
                  <a:pt x="8299" y="5700"/>
                </a:lnTo>
                <a:lnTo>
                  <a:pt x="8299" y="5711"/>
                </a:lnTo>
                <a:lnTo>
                  <a:pt x="8299" y="5722"/>
                </a:lnTo>
                <a:lnTo>
                  <a:pt x="8299" y="5735"/>
                </a:lnTo>
                <a:lnTo>
                  <a:pt x="8297" y="5747"/>
                </a:lnTo>
                <a:lnTo>
                  <a:pt x="8294" y="5755"/>
                </a:lnTo>
                <a:lnTo>
                  <a:pt x="8290" y="5763"/>
                </a:lnTo>
                <a:lnTo>
                  <a:pt x="8286" y="5768"/>
                </a:lnTo>
                <a:lnTo>
                  <a:pt x="8282" y="5769"/>
                </a:lnTo>
                <a:lnTo>
                  <a:pt x="8280" y="5770"/>
                </a:lnTo>
                <a:lnTo>
                  <a:pt x="8276" y="5772"/>
                </a:lnTo>
                <a:lnTo>
                  <a:pt x="8273" y="5772"/>
                </a:lnTo>
                <a:lnTo>
                  <a:pt x="8264" y="5772"/>
                </a:lnTo>
                <a:lnTo>
                  <a:pt x="8254" y="5769"/>
                </a:lnTo>
                <a:lnTo>
                  <a:pt x="8244" y="5765"/>
                </a:lnTo>
                <a:lnTo>
                  <a:pt x="8231" y="5760"/>
                </a:lnTo>
                <a:lnTo>
                  <a:pt x="8217" y="5752"/>
                </a:lnTo>
                <a:lnTo>
                  <a:pt x="8200" y="5745"/>
                </a:lnTo>
                <a:lnTo>
                  <a:pt x="8165" y="5724"/>
                </a:lnTo>
                <a:lnTo>
                  <a:pt x="8120" y="5700"/>
                </a:lnTo>
                <a:lnTo>
                  <a:pt x="8099" y="5689"/>
                </a:lnTo>
                <a:lnTo>
                  <a:pt x="8082" y="5681"/>
                </a:lnTo>
                <a:lnTo>
                  <a:pt x="8068" y="5675"/>
                </a:lnTo>
                <a:lnTo>
                  <a:pt x="8059" y="5671"/>
                </a:lnTo>
                <a:lnTo>
                  <a:pt x="8052" y="5670"/>
                </a:lnTo>
                <a:lnTo>
                  <a:pt x="8047" y="5671"/>
                </a:lnTo>
                <a:lnTo>
                  <a:pt x="8045" y="5673"/>
                </a:lnTo>
                <a:lnTo>
                  <a:pt x="8044" y="5678"/>
                </a:lnTo>
                <a:lnTo>
                  <a:pt x="8044" y="5687"/>
                </a:lnTo>
                <a:lnTo>
                  <a:pt x="8045" y="5700"/>
                </a:lnTo>
                <a:lnTo>
                  <a:pt x="8045" y="5707"/>
                </a:lnTo>
                <a:lnTo>
                  <a:pt x="8042" y="5713"/>
                </a:lnTo>
                <a:lnTo>
                  <a:pt x="8040" y="5719"/>
                </a:lnTo>
                <a:lnTo>
                  <a:pt x="8035" y="5723"/>
                </a:lnTo>
                <a:lnTo>
                  <a:pt x="8027" y="5726"/>
                </a:lnTo>
                <a:lnTo>
                  <a:pt x="8020" y="5728"/>
                </a:lnTo>
                <a:lnTo>
                  <a:pt x="8012" y="5728"/>
                </a:lnTo>
                <a:lnTo>
                  <a:pt x="8004" y="5726"/>
                </a:lnTo>
                <a:lnTo>
                  <a:pt x="7994" y="5724"/>
                </a:lnTo>
                <a:lnTo>
                  <a:pt x="7985" y="5721"/>
                </a:lnTo>
                <a:lnTo>
                  <a:pt x="7975" y="5716"/>
                </a:lnTo>
                <a:lnTo>
                  <a:pt x="7965" y="5712"/>
                </a:lnTo>
                <a:lnTo>
                  <a:pt x="7945" y="5701"/>
                </a:lnTo>
                <a:lnTo>
                  <a:pt x="7926" y="5693"/>
                </a:lnTo>
                <a:lnTo>
                  <a:pt x="7916" y="5688"/>
                </a:lnTo>
                <a:lnTo>
                  <a:pt x="7907" y="5686"/>
                </a:lnTo>
                <a:lnTo>
                  <a:pt x="7899" y="5684"/>
                </a:lnTo>
                <a:lnTo>
                  <a:pt x="7891" y="5683"/>
                </a:lnTo>
                <a:lnTo>
                  <a:pt x="7885" y="5684"/>
                </a:lnTo>
                <a:lnTo>
                  <a:pt x="7876" y="5686"/>
                </a:lnTo>
                <a:lnTo>
                  <a:pt x="7868" y="5689"/>
                </a:lnTo>
                <a:lnTo>
                  <a:pt x="7859" y="5694"/>
                </a:lnTo>
                <a:lnTo>
                  <a:pt x="7838" y="5706"/>
                </a:lnTo>
                <a:lnTo>
                  <a:pt x="7815" y="5721"/>
                </a:lnTo>
                <a:lnTo>
                  <a:pt x="7788" y="5738"/>
                </a:lnTo>
                <a:lnTo>
                  <a:pt x="7757" y="5756"/>
                </a:lnTo>
                <a:lnTo>
                  <a:pt x="7741" y="5766"/>
                </a:lnTo>
                <a:lnTo>
                  <a:pt x="7723" y="5776"/>
                </a:lnTo>
                <a:lnTo>
                  <a:pt x="7704" y="5786"/>
                </a:lnTo>
                <a:lnTo>
                  <a:pt x="7684" y="5795"/>
                </a:lnTo>
                <a:lnTo>
                  <a:pt x="7490" y="5795"/>
                </a:lnTo>
                <a:lnTo>
                  <a:pt x="7478" y="5786"/>
                </a:lnTo>
                <a:lnTo>
                  <a:pt x="7466" y="5776"/>
                </a:lnTo>
                <a:lnTo>
                  <a:pt x="7456" y="5765"/>
                </a:lnTo>
                <a:lnTo>
                  <a:pt x="7445" y="5754"/>
                </a:lnTo>
                <a:lnTo>
                  <a:pt x="7424" y="5733"/>
                </a:lnTo>
                <a:lnTo>
                  <a:pt x="7405" y="5712"/>
                </a:lnTo>
                <a:lnTo>
                  <a:pt x="7393" y="5701"/>
                </a:lnTo>
                <a:lnTo>
                  <a:pt x="7382" y="5693"/>
                </a:lnTo>
                <a:lnTo>
                  <a:pt x="7369" y="5685"/>
                </a:lnTo>
                <a:lnTo>
                  <a:pt x="7357" y="5678"/>
                </a:lnTo>
                <a:lnTo>
                  <a:pt x="7343" y="5672"/>
                </a:lnTo>
                <a:lnTo>
                  <a:pt x="7330" y="5667"/>
                </a:lnTo>
                <a:lnTo>
                  <a:pt x="7316" y="5661"/>
                </a:lnTo>
                <a:lnTo>
                  <a:pt x="7303" y="5657"/>
                </a:lnTo>
                <a:lnTo>
                  <a:pt x="7274" y="5649"/>
                </a:lnTo>
                <a:lnTo>
                  <a:pt x="7246" y="5641"/>
                </a:lnTo>
                <a:lnTo>
                  <a:pt x="7233" y="5637"/>
                </a:lnTo>
                <a:lnTo>
                  <a:pt x="7219" y="5631"/>
                </a:lnTo>
                <a:lnTo>
                  <a:pt x="7206" y="5626"/>
                </a:lnTo>
                <a:lnTo>
                  <a:pt x="7192" y="5620"/>
                </a:lnTo>
                <a:lnTo>
                  <a:pt x="7185" y="5617"/>
                </a:lnTo>
                <a:lnTo>
                  <a:pt x="7179" y="5615"/>
                </a:lnTo>
                <a:lnTo>
                  <a:pt x="7171" y="5613"/>
                </a:lnTo>
                <a:lnTo>
                  <a:pt x="7165" y="5612"/>
                </a:lnTo>
                <a:lnTo>
                  <a:pt x="7150" y="5612"/>
                </a:lnTo>
                <a:lnTo>
                  <a:pt x="7133" y="5613"/>
                </a:lnTo>
                <a:lnTo>
                  <a:pt x="7118" y="5615"/>
                </a:lnTo>
                <a:lnTo>
                  <a:pt x="7102" y="5618"/>
                </a:lnTo>
                <a:lnTo>
                  <a:pt x="7086" y="5624"/>
                </a:lnTo>
                <a:lnTo>
                  <a:pt x="7071" y="5629"/>
                </a:lnTo>
                <a:lnTo>
                  <a:pt x="7042" y="5641"/>
                </a:lnTo>
                <a:lnTo>
                  <a:pt x="7016" y="5652"/>
                </a:lnTo>
                <a:lnTo>
                  <a:pt x="7005" y="5656"/>
                </a:lnTo>
                <a:lnTo>
                  <a:pt x="6996" y="5660"/>
                </a:lnTo>
                <a:lnTo>
                  <a:pt x="6989" y="5662"/>
                </a:lnTo>
                <a:lnTo>
                  <a:pt x="6983" y="5664"/>
                </a:lnTo>
                <a:lnTo>
                  <a:pt x="6973" y="5661"/>
                </a:lnTo>
                <a:lnTo>
                  <a:pt x="6962" y="5658"/>
                </a:lnTo>
                <a:lnTo>
                  <a:pt x="6949" y="5653"/>
                </a:lnTo>
                <a:lnTo>
                  <a:pt x="6934" y="5645"/>
                </a:lnTo>
                <a:lnTo>
                  <a:pt x="6919" y="5635"/>
                </a:lnTo>
                <a:lnTo>
                  <a:pt x="6906" y="5626"/>
                </a:lnTo>
                <a:lnTo>
                  <a:pt x="6893" y="5615"/>
                </a:lnTo>
                <a:lnTo>
                  <a:pt x="6883" y="5603"/>
                </a:lnTo>
                <a:lnTo>
                  <a:pt x="6874" y="5591"/>
                </a:lnTo>
                <a:lnTo>
                  <a:pt x="6867" y="5578"/>
                </a:lnTo>
                <a:lnTo>
                  <a:pt x="6861" y="5566"/>
                </a:lnTo>
                <a:lnTo>
                  <a:pt x="6856" y="5552"/>
                </a:lnTo>
                <a:lnTo>
                  <a:pt x="6850" y="5539"/>
                </a:lnTo>
                <a:lnTo>
                  <a:pt x="6844" y="5525"/>
                </a:lnTo>
                <a:lnTo>
                  <a:pt x="6837" y="5510"/>
                </a:lnTo>
                <a:lnTo>
                  <a:pt x="6829" y="5494"/>
                </a:lnTo>
                <a:lnTo>
                  <a:pt x="6825" y="5489"/>
                </a:lnTo>
                <a:lnTo>
                  <a:pt x="6821" y="5484"/>
                </a:lnTo>
                <a:lnTo>
                  <a:pt x="6817" y="5480"/>
                </a:lnTo>
                <a:lnTo>
                  <a:pt x="6812" y="5477"/>
                </a:lnTo>
                <a:lnTo>
                  <a:pt x="6803" y="5471"/>
                </a:lnTo>
                <a:lnTo>
                  <a:pt x="6793" y="5468"/>
                </a:lnTo>
                <a:lnTo>
                  <a:pt x="6770" y="5464"/>
                </a:lnTo>
                <a:lnTo>
                  <a:pt x="6749" y="5463"/>
                </a:lnTo>
                <a:lnTo>
                  <a:pt x="6757" y="5457"/>
                </a:lnTo>
                <a:lnTo>
                  <a:pt x="6767" y="5452"/>
                </a:lnTo>
                <a:lnTo>
                  <a:pt x="6778" y="5448"/>
                </a:lnTo>
                <a:lnTo>
                  <a:pt x="6789" y="5444"/>
                </a:lnTo>
                <a:lnTo>
                  <a:pt x="6810" y="5439"/>
                </a:lnTo>
                <a:lnTo>
                  <a:pt x="6832" y="5435"/>
                </a:lnTo>
                <a:lnTo>
                  <a:pt x="6854" y="5431"/>
                </a:lnTo>
                <a:lnTo>
                  <a:pt x="6877" y="5429"/>
                </a:lnTo>
                <a:lnTo>
                  <a:pt x="6900" y="5428"/>
                </a:lnTo>
                <a:lnTo>
                  <a:pt x="6923" y="5428"/>
                </a:lnTo>
                <a:lnTo>
                  <a:pt x="6996" y="5428"/>
                </a:lnTo>
                <a:close/>
                <a:moveTo>
                  <a:pt x="7152" y="5023"/>
                </a:moveTo>
                <a:lnTo>
                  <a:pt x="7153" y="5035"/>
                </a:lnTo>
                <a:lnTo>
                  <a:pt x="7153" y="5047"/>
                </a:lnTo>
                <a:lnTo>
                  <a:pt x="7154" y="5057"/>
                </a:lnTo>
                <a:lnTo>
                  <a:pt x="7154" y="5066"/>
                </a:lnTo>
                <a:lnTo>
                  <a:pt x="7154" y="5082"/>
                </a:lnTo>
                <a:lnTo>
                  <a:pt x="7154" y="5100"/>
                </a:lnTo>
                <a:lnTo>
                  <a:pt x="7153" y="5116"/>
                </a:lnTo>
                <a:lnTo>
                  <a:pt x="7151" y="5131"/>
                </a:lnTo>
                <a:lnTo>
                  <a:pt x="7149" y="5146"/>
                </a:lnTo>
                <a:lnTo>
                  <a:pt x="7145" y="5160"/>
                </a:lnTo>
                <a:lnTo>
                  <a:pt x="7142" y="5173"/>
                </a:lnTo>
                <a:lnTo>
                  <a:pt x="7138" y="5184"/>
                </a:lnTo>
                <a:lnTo>
                  <a:pt x="7129" y="5203"/>
                </a:lnTo>
                <a:lnTo>
                  <a:pt x="7120" y="5220"/>
                </a:lnTo>
                <a:lnTo>
                  <a:pt x="7115" y="5232"/>
                </a:lnTo>
                <a:lnTo>
                  <a:pt x="7113" y="5236"/>
                </a:lnTo>
                <a:lnTo>
                  <a:pt x="7110" y="5241"/>
                </a:lnTo>
                <a:lnTo>
                  <a:pt x="7102" y="5255"/>
                </a:lnTo>
                <a:lnTo>
                  <a:pt x="7094" y="5271"/>
                </a:lnTo>
                <a:lnTo>
                  <a:pt x="7088" y="5287"/>
                </a:lnTo>
                <a:lnTo>
                  <a:pt x="7084" y="5305"/>
                </a:lnTo>
                <a:lnTo>
                  <a:pt x="7078" y="5330"/>
                </a:lnTo>
                <a:lnTo>
                  <a:pt x="7075" y="5343"/>
                </a:lnTo>
                <a:lnTo>
                  <a:pt x="7073" y="5356"/>
                </a:lnTo>
                <a:lnTo>
                  <a:pt x="7069" y="5368"/>
                </a:lnTo>
                <a:lnTo>
                  <a:pt x="7065" y="5378"/>
                </a:lnTo>
                <a:lnTo>
                  <a:pt x="7038" y="5377"/>
                </a:lnTo>
                <a:lnTo>
                  <a:pt x="7012" y="5377"/>
                </a:lnTo>
                <a:lnTo>
                  <a:pt x="6985" y="5377"/>
                </a:lnTo>
                <a:lnTo>
                  <a:pt x="6958" y="5376"/>
                </a:lnTo>
                <a:lnTo>
                  <a:pt x="6900" y="5376"/>
                </a:lnTo>
                <a:lnTo>
                  <a:pt x="6850" y="5375"/>
                </a:lnTo>
                <a:lnTo>
                  <a:pt x="6830" y="5376"/>
                </a:lnTo>
                <a:lnTo>
                  <a:pt x="6810" y="5377"/>
                </a:lnTo>
                <a:lnTo>
                  <a:pt x="6793" y="5378"/>
                </a:lnTo>
                <a:lnTo>
                  <a:pt x="6777" y="5381"/>
                </a:lnTo>
                <a:lnTo>
                  <a:pt x="6762" y="5384"/>
                </a:lnTo>
                <a:lnTo>
                  <a:pt x="6749" y="5388"/>
                </a:lnTo>
                <a:lnTo>
                  <a:pt x="6736" y="5394"/>
                </a:lnTo>
                <a:lnTo>
                  <a:pt x="6724" y="5400"/>
                </a:lnTo>
                <a:lnTo>
                  <a:pt x="6713" y="5409"/>
                </a:lnTo>
                <a:lnTo>
                  <a:pt x="6701" y="5417"/>
                </a:lnTo>
                <a:lnTo>
                  <a:pt x="6691" y="5429"/>
                </a:lnTo>
                <a:lnTo>
                  <a:pt x="6680" y="5441"/>
                </a:lnTo>
                <a:lnTo>
                  <a:pt x="6657" y="5435"/>
                </a:lnTo>
                <a:lnTo>
                  <a:pt x="6630" y="5427"/>
                </a:lnTo>
                <a:lnTo>
                  <a:pt x="6603" y="5419"/>
                </a:lnTo>
                <a:lnTo>
                  <a:pt x="6575" y="5413"/>
                </a:lnTo>
                <a:lnTo>
                  <a:pt x="6550" y="5406"/>
                </a:lnTo>
                <a:lnTo>
                  <a:pt x="6528" y="5402"/>
                </a:lnTo>
                <a:lnTo>
                  <a:pt x="6512" y="5400"/>
                </a:lnTo>
                <a:lnTo>
                  <a:pt x="6502" y="5400"/>
                </a:lnTo>
                <a:lnTo>
                  <a:pt x="6498" y="5401"/>
                </a:lnTo>
                <a:lnTo>
                  <a:pt x="6495" y="5403"/>
                </a:lnTo>
                <a:lnTo>
                  <a:pt x="6492" y="5405"/>
                </a:lnTo>
                <a:lnTo>
                  <a:pt x="6489" y="5410"/>
                </a:lnTo>
                <a:lnTo>
                  <a:pt x="6485" y="5419"/>
                </a:lnTo>
                <a:lnTo>
                  <a:pt x="6482" y="5431"/>
                </a:lnTo>
                <a:lnTo>
                  <a:pt x="6477" y="5459"/>
                </a:lnTo>
                <a:lnTo>
                  <a:pt x="6473" y="5489"/>
                </a:lnTo>
                <a:lnTo>
                  <a:pt x="6472" y="5495"/>
                </a:lnTo>
                <a:lnTo>
                  <a:pt x="6472" y="5503"/>
                </a:lnTo>
                <a:lnTo>
                  <a:pt x="6472" y="5511"/>
                </a:lnTo>
                <a:lnTo>
                  <a:pt x="6473" y="5519"/>
                </a:lnTo>
                <a:lnTo>
                  <a:pt x="6476" y="5535"/>
                </a:lnTo>
                <a:lnTo>
                  <a:pt x="6482" y="5553"/>
                </a:lnTo>
                <a:lnTo>
                  <a:pt x="6490" y="5571"/>
                </a:lnTo>
                <a:lnTo>
                  <a:pt x="6500" y="5589"/>
                </a:lnTo>
                <a:lnTo>
                  <a:pt x="6513" y="5607"/>
                </a:lnTo>
                <a:lnTo>
                  <a:pt x="6527" y="5626"/>
                </a:lnTo>
                <a:lnTo>
                  <a:pt x="6536" y="5635"/>
                </a:lnTo>
                <a:lnTo>
                  <a:pt x="6542" y="5644"/>
                </a:lnTo>
                <a:lnTo>
                  <a:pt x="6501" y="5706"/>
                </a:lnTo>
                <a:lnTo>
                  <a:pt x="6475" y="5699"/>
                </a:lnTo>
                <a:lnTo>
                  <a:pt x="6446" y="5692"/>
                </a:lnTo>
                <a:lnTo>
                  <a:pt x="6431" y="5688"/>
                </a:lnTo>
                <a:lnTo>
                  <a:pt x="6415" y="5686"/>
                </a:lnTo>
                <a:lnTo>
                  <a:pt x="6398" y="5686"/>
                </a:lnTo>
                <a:lnTo>
                  <a:pt x="6381" y="5688"/>
                </a:lnTo>
                <a:lnTo>
                  <a:pt x="6369" y="5692"/>
                </a:lnTo>
                <a:lnTo>
                  <a:pt x="6357" y="5693"/>
                </a:lnTo>
                <a:lnTo>
                  <a:pt x="6345" y="5694"/>
                </a:lnTo>
                <a:lnTo>
                  <a:pt x="6335" y="5694"/>
                </a:lnTo>
                <a:lnTo>
                  <a:pt x="6325" y="5694"/>
                </a:lnTo>
                <a:lnTo>
                  <a:pt x="6315" y="5693"/>
                </a:lnTo>
                <a:lnTo>
                  <a:pt x="6305" y="5691"/>
                </a:lnTo>
                <a:lnTo>
                  <a:pt x="6297" y="5687"/>
                </a:lnTo>
                <a:lnTo>
                  <a:pt x="6289" y="5684"/>
                </a:lnTo>
                <a:lnTo>
                  <a:pt x="6282" y="5680"/>
                </a:lnTo>
                <a:lnTo>
                  <a:pt x="6275" y="5675"/>
                </a:lnTo>
                <a:lnTo>
                  <a:pt x="6269" y="5669"/>
                </a:lnTo>
                <a:lnTo>
                  <a:pt x="6263" y="5662"/>
                </a:lnTo>
                <a:lnTo>
                  <a:pt x="6258" y="5655"/>
                </a:lnTo>
                <a:lnTo>
                  <a:pt x="6253" y="5646"/>
                </a:lnTo>
                <a:lnTo>
                  <a:pt x="6249" y="5638"/>
                </a:lnTo>
                <a:lnTo>
                  <a:pt x="6246" y="5630"/>
                </a:lnTo>
                <a:lnTo>
                  <a:pt x="6244" y="5625"/>
                </a:lnTo>
                <a:lnTo>
                  <a:pt x="6241" y="5620"/>
                </a:lnTo>
                <a:lnTo>
                  <a:pt x="6237" y="5618"/>
                </a:lnTo>
                <a:lnTo>
                  <a:pt x="6235" y="5617"/>
                </a:lnTo>
                <a:lnTo>
                  <a:pt x="6232" y="5616"/>
                </a:lnTo>
                <a:lnTo>
                  <a:pt x="6229" y="5617"/>
                </a:lnTo>
                <a:lnTo>
                  <a:pt x="6224" y="5618"/>
                </a:lnTo>
                <a:lnTo>
                  <a:pt x="6216" y="5620"/>
                </a:lnTo>
                <a:lnTo>
                  <a:pt x="6206" y="5622"/>
                </a:lnTo>
                <a:lnTo>
                  <a:pt x="6199" y="5622"/>
                </a:lnTo>
                <a:lnTo>
                  <a:pt x="6192" y="5621"/>
                </a:lnTo>
                <a:lnTo>
                  <a:pt x="6184" y="5619"/>
                </a:lnTo>
                <a:lnTo>
                  <a:pt x="6176" y="5616"/>
                </a:lnTo>
                <a:lnTo>
                  <a:pt x="6554" y="5183"/>
                </a:lnTo>
                <a:lnTo>
                  <a:pt x="6582" y="5149"/>
                </a:lnTo>
                <a:lnTo>
                  <a:pt x="6607" y="5120"/>
                </a:lnTo>
                <a:lnTo>
                  <a:pt x="6630" y="5097"/>
                </a:lnTo>
                <a:lnTo>
                  <a:pt x="6650" y="5076"/>
                </a:lnTo>
                <a:lnTo>
                  <a:pt x="6661" y="5068"/>
                </a:lnTo>
                <a:lnTo>
                  <a:pt x="6671" y="5060"/>
                </a:lnTo>
                <a:lnTo>
                  <a:pt x="6682" y="5053"/>
                </a:lnTo>
                <a:lnTo>
                  <a:pt x="6691" y="5048"/>
                </a:lnTo>
                <a:lnTo>
                  <a:pt x="6702" y="5043"/>
                </a:lnTo>
                <a:lnTo>
                  <a:pt x="6712" y="5038"/>
                </a:lnTo>
                <a:lnTo>
                  <a:pt x="6723" y="5034"/>
                </a:lnTo>
                <a:lnTo>
                  <a:pt x="6733" y="5031"/>
                </a:lnTo>
                <a:lnTo>
                  <a:pt x="6745" y="5027"/>
                </a:lnTo>
                <a:lnTo>
                  <a:pt x="6757" y="5025"/>
                </a:lnTo>
                <a:lnTo>
                  <a:pt x="6769" y="5024"/>
                </a:lnTo>
                <a:lnTo>
                  <a:pt x="6783" y="5022"/>
                </a:lnTo>
                <a:lnTo>
                  <a:pt x="6811" y="5021"/>
                </a:lnTo>
                <a:lnTo>
                  <a:pt x="6843" y="5021"/>
                </a:lnTo>
                <a:lnTo>
                  <a:pt x="6919" y="5022"/>
                </a:lnTo>
                <a:lnTo>
                  <a:pt x="7018" y="5023"/>
                </a:lnTo>
                <a:lnTo>
                  <a:pt x="7152" y="5023"/>
                </a:lnTo>
                <a:close/>
                <a:moveTo>
                  <a:pt x="7168" y="5379"/>
                </a:moveTo>
                <a:lnTo>
                  <a:pt x="7171" y="5375"/>
                </a:lnTo>
                <a:lnTo>
                  <a:pt x="7173" y="5372"/>
                </a:lnTo>
                <a:lnTo>
                  <a:pt x="7177" y="5370"/>
                </a:lnTo>
                <a:lnTo>
                  <a:pt x="7180" y="5368"/>
                </a:lnTo>
                <a:lnTo>
                  <a:pt x="7189" y="5363"/>
                </a:lnTo>
                <a:lnTo>
                  <a:pt x="7203" y="5354"/>
                </a:lnTo>
                <a:lnTo>
                  <a:pt x="7208" y="5348"/>
                </a:lnTo>
                <a:lnTo>
                  <a:pt x="7214" y="5341"/>
                </a:lnTo>
                <a:lnTo>
                  <a:pt x="7220" y="5333"/>
                </a:lnTo>
                <a:lnTo>
                  <a:pt x="7226" y="5323"/>
                </a:lnTo>
                <a:lnTo>
                  <a:pt x="7238" y="5301"/>
                </a:lnTo>
                <a:lnTo>
                  <a:pt x="7250" y="5276"/>
                </a:lnTo>
                <a:lnTo>
                  <a:pt x="7261" y="5251"/>
                </a:lnTo>
                <a:lnTo>
                  <a:pt x="7269" y="5226"/>
                </a:lnTo>
                <a:lnTo>
                  <a:pt x="7275" y="5203"/>
                </a:lnTo>
                <a:lnTo>
                  <a:pt x="7278" y="5184"/>
                </a:lnTo>
                <a:lnTo>
                  <a:pt x="7281" y="5157"/>
                </a:lnTo>
                <a:lnTo>
                  <a:pt x="7284" y="5139"/>
                </a:lnTo>
                <a:lnTo>
                  <a:pt x="7285" y="5121"/>
                </a:lnTo>
                <a:lnTo>
                  <a:pt x="7285" y="5099"/>
                </a:lnTo>
                <a:lnTo>
                  <a:pt x="7283" y="5084"/>
                </a:lnTo>
                <a:lnTo>
                  <a:pt x="7278" y="5066"/>
                </a:lnTo>
                <a:lnTo>
                  <a:pt x="7272" y="5046"/>
                </a:lnTo>
                <a:lnTo>
                  <a:pt x="7265" y="5023"/>
                </a:lnTo>
                <a:lnTo>
                  <a:pt x="9250" y="5024"/>
                </a:lnTo>
                <a:lnTo>
                  <a:pt x="9255" y="5028"/>
                </a:lnTo>
                <a:lnTo>
                  <a:pt x="9262" y="5033"/>
                </a:lnTo>
                <a:lnTo>
                  <a:pt x="9269" y="5038"/>
                </a:lnTo>
                <a:lnTo>
                  <a:pt x="9279" y="5043"/>
                </a:lnTo>
                <a:lnTo>
                  <a:pt x="9301" y="5053"/>
                </a:lnTo>
                <a:lnTo>
                  <a:pt x="9327" y="5065"/>
                </a:lnTo>
                <a:lnTo>
                  <a:pt x="9349" y="5074"/>
                </a:lnTo>
                <a:lnTo>
                  <a:pt x="9369" y="5080"/>
                </a:lnTo>
                <a:lnTo>
                  <a:pt x="9384" y="5085"/>
                </a:lnTo>
                <a:lnTo>
                  <a:pt x="9396" y="5087"/>
                </a:lnTo>
                <a:lnTo>
                  <a:pt x="9411" y="5088"/>
                </a:lnTo>
                <a:lnTo>
                  <a:pt x="9415" y="5088"/>
                </a:lnTo>
                <a:lnTo>
                  <a:pt x="9421" y="5093"/>
                </a:lnTo>
                <a:lnTo>
                  <a:pt x="9433" y="5108"/>
                </a:lnTo>
                <a:lnTo>
                  <a:pt x="9440" y="5117"/>
                </a:lnTo>
                <a:lnTo>
                  <a:pt x="9448" y="5125"/>
                </a:lnTo>
                <a:lnTo>
                  <a:pt x="9456" y="5133"/>
                </a:lnTo>
                <a:lnTo>
                  <a:pt x="9464" y="5140"/>
                </a:lnTo>
                <a:lnTo>
                  <a:pt x="9480" y="5155"/>
                </a:lnTo>
                <a:lnTo>
                  <a:pt x="9499" y="5176"/>
                </a:lnTo>
                <a:lnTo>
                  <a:pt x="9508" y="5187"/>
                </a:lnTo>
                <a:lnTo>
                  <a:pt x="9520" y="5197"/>
                </a:lnTo>
                <a:lnTo>
                  <a:pt x="9527" y="5201"/>
                </a:lnTo>
                <a:lnTo>
                  <a:pt x="9533" y="5205"/>
                </a:lnTo>
                <a:lnTo>
                  <a:pt x="9540" y="5208"/>
                </a:lnTo>
                <a:lnTo>
                  <a:pt x="9547" y="5211"/>
                </a:lnTo>
                <a:lnTo>
                  <a:pt x="9561" y="5214"/>
                </a:lnTo>
                <a:lnTo>
                  <a:pt x="9574" y="5215"/>
                </a:lnTo>
                <a:lnTo>
                  <a:pt x="9587" y="5216"/>
                </a:lnTo>
                <a:lnTo>
                  <a:pt x="9599" y="5216"/>
                </a:lnTo>
                <a:lnTo>
                  <a:pt x="9612" y="5216"/>
                </a:lnTo>
                <a:lnTo>
                  <a:pt x="9627" y="5217"/>
                </a:lnTo>
                <a:lnTo>
                  <a:pt x="9643" y="5219"/>
                </a:lnTo>
                <a:lnTo>
                  <a:pt x="9662" y="5222"/>
                </a:lnTo>
                <a:lnTo>
                  <a:pt x="9670" y="5224"/>
                </a:lnTo>
                <a:lnTo>
                  <a:pt x="9678" y="5224"/>
                </a:lnTo>
                <a:lnTo>
                  <a:pt x="9682" y="5222"/>
                </a:lnTo>
                <a:lnTo>
                  <a:pt x="9686" y="5220"/>
                </a:lnTo>
                <a:lnTo>
                  <a:pt x="9687" y="5215"/>
                </a:lnTo>
                <a:lnTo>
                  <a:pt x="9687" y="5211"/>
                </a:lnTo>
                <a:lnTo>
                  <a:pt x="9686" y="5206"/>
                </a:lnTo>
                <a:lnTo>
                  <a:pt x="9683" y="5199"/>
                </a:lnTo>
                <a:lnTo>
                  <a:pt x="9678" y="5185"/>
                </a:lnTo>
                <a:lnTo>
                  <a:pt x="9673" y="5171"/>
                </a:lnTo>
                <a:lnTo>
                  <a:pt x="9669" y="5163"/>
                </a:lnTo>
                <a:lnTo>
                  <a:pt x="9668" y="5156"/>
                </a:lnTo>
                <a:lnTo>
                  <a:pt x="9667" y="5148"/>
                </a:lnTo>
                <a:lnTo>
                  <a:pt x="9667" y="5142"/>
                </a:lnTo>
                <a:lnTo>
                  <a:pt x="9669" y="5136"/>
                </a:lnTo>
                <a:lnTo>
                  <a:pt x="9670" y="5131"/>
                </a:lnTo>
                <a:lnTo>
                  <a:pt x="9673" y="5128"/>
                </a:lnTo>
                <a:lnTo>
                  <a:pt x="9674" y="5125"/>
                </a:lnTo>
                <a:lnTo>
                  <a:pt x="9676" y="5122"/>
                </a:lnTo>
                <a:lnTo>
                  <a:pt x="9679" y="5121"/>
                </a:lnTo>
                <a:lnTo>
                  <a:pt x="9681" y="5120"/>
                </a:lnTo>
                <a:lnTo>
                  <a:pt x="9683" y="5120"/>
                </a:lnTo>
                <a:lnTo>
                  <a:pt x="9696" y="5124"/>
                </a:lnTo>
                <a:lnTo>
                  <a:pt x="9710" y="5131"/>
                </a:lnTo>
                <a:lnTo>
                  <a:pt x="9721" y="5136"/>
                </a:lnTo>
                <a:lnTo>
                  <a:pt x="9737" y="5147"/>
                </a:lnTo>
                <a:lnTo>
                  <a:pt x="9757" y="5162"/>
                </a:lnTo>
                <a:lnTo>
                  <a:pt x="9780" y="5182"/>
                </a:lnTo>
                <a:lnTo>
                  <a:pt x="9804" y="5202"/>
                </a:lnTo>
                <a:lnTo>
                  <a:pt x="9829" y="5225"/>
                </a:lnTo>
                <a:lnTo>
                  <a:pt x="9854" y="5248"/>
                </a:lnTo>
                <a:lnTo>
                  <a:pt x="9877" y="5270"/>
                </a:lnTo>
                <a:lnTo>
                  <a:pt x="9903" y="5297"/>
                </a:lnTo>
                <a:lnTo>
                  <a:pt x="9926" y="5322"/>
                </a:lnTo>
                <a:lnTo>
                  <a:pt x="9946" y="5346"/>
                </a:lnTo>
                <a:lnTo>
                  <a:pt x="9966" y="5368"/>
                </a:lnTo>
                <a:lnTo>
                  <a:pt x="9891" y="5368"/>
                </a:lnTo>
                <a:lnTo>
                  <a:pt x="9817" y="5369"/>
                </a:lnTo>
                <a:lnTo>
                  <a:pt x="9743" y="5370"/>
                </a:lnTo>
                <a:lnTo>
                  <a:pt x="9668" y="5370"/>
                </a:lnTo>
                <a:lnTo>
                  <a:pt x="9595" y="5371"/>
                </a:lnTo>
                <a:lnTo>
                  <a:pt x="9520" y="5371"/>
                </a:lnTo>
                <a:lnTo>
                  <a:pt x="9447" y="5372"/>
                </a:lnTo>
                <a:lnTo>
                  <a:pt x="9372" y="5373"/>
                </a:lnTo>
                <a:lnTo>
                  <a:pt x="9298" y="5373"/>
                </a:lnTo>
                <a:lnTo>
                  <a:pt x="9224" y="5374"/>
                </a:lnTo>
                <a:lnTo>
                  <a:pt x="9149" y="5375"/>
                </a:lnTo>
                <a:lnTo>
                  <a:pt x="9075" y="5375"/>
                </a:lnTo>
                <a:lnTo>
                  <a:pt x="9001" y="5376"/>
                </a:lnTo>
                <a:lnTo>
                  <a:pt x="8927" y="5376"/>
                </a:lnTo>
                <a:lnTo>
                  <a:pt x="8852" y="5377"/>
                </a:lnTo>
                <a:lnTo>
                  <a:pt x="8779" y="5378"/>
                </a:lnTo>
                <a:lnTo>
                  <a:pt x="8764" y="5359"/>
                </a:lnTo>
                <a:lnTo>
                  <a:pt x="8749" y="5344"/>
                </a:lnTo>
                <a:lnTo>
                  <a:pt x="8736" y="5330"/>
                </a:lnTo>
                <a:lnTo>
                  <a:pt x="8724" y="5317"/>
                </a:lnTo>
                <a:lnTo>
                  <a:pt x="8696" y="5292"/>
                </a:lnTo>
                <a:lnTo>
                  <a:pt x="8665" y="5260"/>
                </a:lnTo>
                <a:lnTo>
                  <a:pt x="8659" y="5253"/>
                </a:lnTo>
                <a:lnTo>
                  <a:pt x="8652" y="5248"/>
                </a:lnTo>
                <a:lnTo>
                  <a:pt x="8645" y="5242"/>
                </a:lnTo>
                <a:lnTo>
                  <a:pt x="8637" y="5237"/>
                </a:lnTo>
                <a:lnTo>
                  <a:pt x="8620" y="5227"/>
                </a:lnTo>
                <a:lnTo>
                  <a:pt x="8600" y="5220"/>
                </a:lnTo>
                <a:lnTo>
                  <a:pt x="8581" y="5213"/>
                </a:lnTo>
                <a:lnTo>
                  <a:pt x="8560" y="5208"/>
                </a:lnTo>
                <a:lnTo>
                  <a:pt x="8539" y="5203"/>
                </a:lnTo>
                <a:lnTo>
                  <a:pt x="8517" y="5199"/>
                </a:lnTo>
                <a:lnTo>
                  <a:pt x="8475" y="5195"/>
                </a:lnTo>
                <a:lnTo>
                  <a:pt x="8436" y="5192"/>
                </a:lnTo>
                <a:lnTo>
                  <a:pt x="8402" y="5190"/>
                </a:lnTo>
                <a:lnTo>
                  <a:pt x="8379" y="5190"/>
                </a:lnTo>
                <a:lnTo>
                  <a:pt x="8369" y="5192"/>
                </a:lnTo>
                <a:lnTo>
                  <a:pt x="8358" y="5193"/>
                </a:lnTo>
                <a:lnTo>
                  <a:pt x="8347" y="5194"/>
                </a:lnTo>
                <a:lnTo>
                  <a:pt x="8337" y="5197"/>
                </a:lnTo>
                <a:lnTo>
                  <a:pt x="8315" y="5202"/>
                </a:lnTo>
                <a:lnTo>
                  <a:pt x="8292" y="5211"/>
                </a:lnTo>
                <a:lnTo>
                  <a:pt x="8268" y="5220"/>
                </a:lnTo>
                <a:lnTo>
                  <a:pt x="8246" y="5229"/>
                </a:lnTo>
                <a:lnTo>
                  <a:pt x="8223" y="5239"/>
                </a:lnTo>
                <a:lnTo>
                  <a:pt x="8200" y="5248"/>
                </a:lnTo>
                <a:lnTo>
                  <a:pt x="8192" y="5253"/>
                </a:lnTo>
                <a:lnTo>
                  <a:pt x="8184" y="5259"/>
                </a:lnTo>
                <a:lnTo>
                  <a:pt x="8180" y="5264"/>
                </a:lnTo>
                <a:lnTo>
                  <a:pt x="8178" y="5270"/>
                </a:lnTo>
                <a:lnTo>
                  <a:pt x="8177" y="5277"/>
                </a:lnTo>
                <a:lnTo>
                  <a:pt x="8178" y="5283"/>
                </a:lnTo>
                <a:lnTo>
                  <a:pt x="8180" y="5290"/>
                </a:lnTo>
                <a:lnTo>
                  <a:pt x="8182" y="5296"/>
                </a:lnTo>
                <a:lnTo>
                  <a:pt x="8190" y="5309"/>
                </a:lnTo>
                <a:lnTo>
                  <a:pt x="8197" y="5319"/>
                </a:lnTo>
                <a:lnTo>
                  <a:pt x="8204" y="5325"/>
                </a:lnTo>
                <a:lnTo>
                  <a:pt x="8207" y="5328"/>
                </a:lnTo>
                <a:lnTo>
                  <a:pt x="8210" y="5330"/>
                </a:lnTo>
                <a:lnTo>
                  <a:pt x="8221" y="5334"/>
                </a:lnTo>
                <a:lnTo>
                  <a:pt x="8240" y="5345"/>
                </a:lnTo>
                <a:lnTo>
                  <a:pt x="8270" y="5362"/>
                </a:lnTo>
                <a:lnTo>
                  <a:pt x="8280" y="5370"/>
                </a:lnTo>
                <a:lnTo>
                  <a:pt x="8287" y="5374"/>
                </a:lnTo>
                <a:lnTo>
                  <a:pt x="8291" y="5378"/>
                </a:lnTo>
                <a:lnTo>
                  <a:pt x="8292" y="5382"/>
                </a:lnTo>
                <a:lnTo>
                  <a:pt x="8222" y="5382"/>
                </a:lnTo>
                <a:lnTo>
                  <a:pt x="8151" y="5382"/>
                </a:lnTo>
                <a:lnTo>
                  <a:pt x="8080" y="5382"/>
                </a:lnTo>
                <a:lnTo>
                  <a:pt x="8010" y="5382"/>
                </a:lnTo>
                <a:lnTo>
                  <a:pt x="7940" y="5383"/>
                </a:lnTo>
                <a:lnTo>
                  <a:pt x="7870" y="5383"/>
                </a:lnTo>
                <a:lnTo>
                  <a:pt x="7799" y="5383"/>
                </a:lnTo>
                <a:lnTo>
                  <a:pt x="7729" y="5383"/>
                </a:lnTo>
                <a:lnTo>
                  <a:pt x="7659" y="5382"/>
                </a:lnTo>
                <a:lnTo>
                  <a:pt x="7588" y="5382"/>
                </a:lnTo>
                <a:lnTo>
                  <a:pt x="7518" y="5382"/>
                </a:lnTo>
                <a:lnTo>
                  <a:pt x="7449" y="5382"/>
                </a:lnTo>
                <a:lnTo>
                  <a:pt x="7379" y="5381"/>
                </a:lnTo>
                <a:lnTo>
                  <a:pt x="7309" y="5381"/>
                </a:lnTo>
                <a:lnTo>
                  <a:pt x="7238" y="5379"/>
                </a:lnTo>
                <a:lnTo>
                  <a:pt x="7168" y="5379"/>
                </a:lnTo>
                <a:close/>
                <a:moveTo>
                  <a:pt x="8292" y="5382"/>
                </a:moveTo>
                <a:lnTo>
                  <a:pt x="8353" y="5381"/>
                </a:lnTo>
                <a:lnTo>
                  <a:pt x="8413" y="5381"/>
                </a:lnTo>
                <a:lnTo>
                  <a:pt x="8474" y="5381"/>
                </a:lnTo>
                <a:lnTo>
                  <a:pt x="8535" y="5379"/>
                </a:lnTo>
                <a:lnTo>
                  <a:pt x="8596" y="5379"/>
                </a:lnTo>
                <a:lnTo>
                  <a:pt x="8656" y="5378"/>
                </a:lnTo>
                <a:lnTo>
                  <a:pt x="8717" y="5378"/>
                </a:lnTo>
                <a:lnTo>
                  <a:pt x="8779" y="5378"/>
                </a:lnTo>
                <a:lnTo>
                  <a:pt x="8787" y="5389"/>
                </a:lnTo>
                <a:lnTo>
                  <a:pt x="8796" y="5401"/>
                </a:lnTo>
                <a:lnTo>
                  <a:pt x="8806" y="5415"/>
                </a:lnTo>
                <a:lnTo>
                  <a:pt x="8815" y="5430"/>
                </a:lnTo>
                <a:lnTo>
                  <a:pt x="8282" y="5430"/>
                </a:lnTo>
                <a:lnTo>
                  <a:pt x="8281" y="5425"/>
                </a:lnTo>
                <a:lnTo>
                  <a:pt x="8281" y="5419"/>
                </a:lnTo>
                <a:lnTo>
                  <a:pt x="8280" y="5410"/>
                </a:lnTo>
                <a:lnTo>
                  <a:pt x="8281" y="5402"/>
                </a:lnTo>
                <a:lnTo>
                  <a:pt x="8282" y="5397"/>
                </a:lnTo>
                <a:lnTo>
                  <a:pt x="8285" y="5392"/>
                </a:lnTo>
                <a:lnTo>
                  <a:pt x="8290" y="5386"/>
                </a:lnTo>
                <a:lnTo>
                  <a:pt x="8292" y="5382"/>
                </a:lnTo>
                <a:close/>
                <a:moveTo>
                  <a:pt x="10990" y="5024"/>
                </a:moveTo>
                <a:lnTo>
                  <a:pt x="9250" y="5024"/>
                </a:lnTo>
                <a:lnTo>
                  <a:pt x="9247" y="5020"/>
                </a:lnTo>
                <a:lnTo>
                  <a:pt x="9243" y="5017"/>
                </a:lnTo>
                <a:lnTo>
                  <a:pt x="9241" y="5013"/>
                </a:lnTo>
                <a:lnTo>
                  <a:pt x="9240" y="5009"/>
                </a:lnTo>
                <a:lnTo>
                  <a:pt x="9239" y="5006"/>
                </a:lnTo>
                <a:lnTo>
                  <a:pt x="9239" y="5001"/>
                </a:lnTo>
                <a:lnTo>
                  <a:pt x="9240" y="4997"/>
                </a:lnTo>
                <a:lnTo>
                  <a:pt x="9241" y="4993"/>
                </a:lnTo>
                <a:lnTo>
                  <a:pt x="9243" y="4987"/>
                </a:lnTo>
                <a:lnTo>
                  <a:pt x="9247" y="4981"/>
                </a:lnTo>
                <a:lnTo>
                  <a:pt x="9251" y="4974"/>
                </a:lnTo>
                <a:lnTo>
                  <a:pt x="9256" y="4967"/>
                </a:lnTo>
                <a:lnTo>
                  <a:pt x="9362" y="4967"/>
                </a:lnTo>
                <a:lnTo>
                  <a:pt x="9469" y="4967"/>
                </a:lnTo>
                <a:lnTo>
                  <a:pt x="9576" y="4967"/>
                </a:lnTo>
                <a:lnTo>
                  <a:pt x="9683" y="4967"/>
                </a:lnTo>
                <a:lnTo>
                  <a:pt x="9790" y="4967"/>
                </a:lnTo>
                <a:lnTo>
                  <a:pt x="9897" y="4967"/>
                </a:lnTo>
                <a:lnTo>
                  <a:pt x="10004" y="4967"/>
                </a:lnTo>
                <a:lnTo>
                  <a:pt x="10111" y="4967"/>
                </a:lnTo>
                <a:lnTo>
                  <a:pt x="10217" y="4967"/>
                </a:lnTo>
                <a:lnTo>
                  <a:pt x="10324" y="4967"/>
                </a:lnTo>
                <a:lnTo>
                  <a:pt x="10429" y="4967"/>
                </a:lnTo>
                <a:lnTo>
                  <a:pt x="10535" y="4967"/>
                </a:lnTo>
                <a:lnTo>
                  <a:pt x="10640" y="4967"/>
                </a:lnTo>
                <a:lnTo>
                  <a:pt x="10744" y="4967"/>
                </a:lnTo>
                <a:lnTo>
                  <a:pt x="10848" y="4967"/>
                </a:lnTo>
                <a:lnTo>
                  <a:pt x="10951" y="4967"/>
                </a:lnTo>
                <a:lnTo>
                  <a:pt x="10961" y="4981"/>
                </a:lnTo>
                <a:lnTo>
                  <a:pt x="10971" y="4995"/>
                </a:lnTo>
                <a:lnTo>
                  <a:pt x="10981" y="5010"/>
                </a:lnTo>
                <a:lnTo>
                  <a:pt x="10990" y="5024"/>
                </a:lnTo>
                <a:close/>
                <a:moveTo>
                  <a:pt x="10951" y="4967"/>
                </a:moveTo>
                <a:lnTo>
                  <a:pt x="10920" y="4919"/>
                </a:lnTo>
                <a:lnTo>
                  <a:pt x="10891" y="4876"/>
                </a:lnTo>
                <a:lnTo>
                  <a:pt x="10864" y="4836"/>
                </a:lnTo>
                <a:lnTo>
                  <a:pt x="10842" y="4802"/>
                </a:lnTo>
                <a:lnTo>
                  <a:pt x="10824" y="4773"/>
                </a:lnTo>
                <a:lnTo>
                  <a:pt x="10810" y="4750"/>
                </a:lnTo>
                <a:lnTo>
                  <a:pt x="10805" y="4741"/>
                </a:lnTo>
                <a:lnTo>
                  <a:pt x="10802" y="4734"/>
                </a:lnTo>
                <a:lnTo>
                  <a:pt x="10800" y="4729"/>
                </a:lnTo>
                <a:lnTo>
                  <a:pt x="10800" y="4726"/>
                </a:lnTo>
                <a:lnTo>
                  <a:pt x="10802" y="4716"/>
                </a:lnTo>
                <a:lnTo>
                  <a:pt x="10803" y="4706"/>
                </a:lnTo>
                <a:lnTo>
                  <a:pt x="10803" y="4695"/>
                </a:lnTo>
                <a:lnTo>
                  <a:pt x="10801" y="4682"/>
                </a:lnTo>
                <a:lnTo>
                  <a:pt x="10793" y="4652"/>
                </a:lnTo>
                <a:lnTo>
                  <a:pt x="10781" y="4612"/>
                </a:lnTo>
                <a:lnTo>
                  <a:pt x="10777" y="4604"/>
                </a:lnTo>
                <a:lnTo>
                  <a:pt x="10776" y="4598"/>
                </a:lnTo>
                <a:lnTo>
                  <a:pt x="10775" y="4591"/>
                </a:lnTo>
                <a:lnTo>
                  <a:pt x="10775" y="4586"/>
                </a:lnTo>
                <a:lnTo>
                  <a:pt x="10776" y="4580"/>
                </a:lnTo>
                <a:lnTo>
                  <a:pt x="10777" y="4576"/>
                </a:lnTo>
                <a:lnTo>
                  <a:pt x="10778" y="4572"/>
                </a:lnTo>
                <a:lnTo>
                  <a:pt x="10781" y="4567"/>
                </a:lnTo>
                <a:lnTo>
                  <a:pt x="10787" y="4561"/>
                </a:lnTo>
                <a:lnTo>
                  <a:pt x="10794" y="4554"/>
                </a:lnTo>
                <a:lnTo>
                  <a:pt x="10802" y="4547"/>
                </a:lnTo>
                <a:lnTo>
                  <a:pt x="10811" y="4539"/>
                </a:lnTo>
                <a:lnTo>
                  <a:pt x="11075" y="4539"/>
                </a:lnTo>
                <a:lnTo>
                  <a:pt x="11076" y="4544"/>
                </a:lnTo>
                <a:lnTo>
                  <a:pt x="11077" y="4547"/>
                </a:lnTo>
                <a:lnTo>
                  <a:pt x="11081" y="4561"/>
                </a:lnTo>
                <a:lnTo>
                  <a:pt x="11087" y="4571"/>
                </a:lnTo>
                <a:lnTo>
                  <a:pt x="11089" y="4575"/>
                </a:lnTo>
                <a:lnTo>
                  <a:pt x="11093" y="4578"/>
                </a:lnTo>
                <a:lnTo>
                  <a:pt x="11096" y="4581"/>
                </a:lnTo>
                <a:lnTo>
                  <a:pt x="11101" y="4585"/>
                </a:lnTo>
                <a:lnTo>
                  <a:pt x="11112" y="4589"/>
                </a:lnTo>
                <a:lnTo>
                  <a:pt x="11127" y="4594"/>
                </a:lnTo>
                <a:lnTo>
                  <a:pt x="11145" y="4599"/>
                </a:lnTo>
                <a:lnTo>
                  <a:pt x="11169" y="4604"/>
                </a:lnTo>
                <a:lnTo>
                  <a:pt x="11189" y="4609"/>
                </a:lnTo>
                <a:lnTo>
                  <a:pt x="11202" y="4614"/>
                </a:lnTo>
                <a:lnTo>
                  <a:pt x="11211" y="4616"/>
                </a:lnTo>
                <a:lnTo>
                  <a:pt x="11215" y="4619"/>
                </a:lnTo>
                <a:lnTo>
                  <a:pt x="11218" y="4625"/>
                </a:lnTo>
                <a:lnTo>
                  <a:pt x="11224" y="4631"/>
                </a:lnTo>
                <a:lnTo>
                  <a:pt x="11234" y="4642"/>
                </a:lnTo>
                <a:lnTo>
                  <a:pt x="11249" y="4656"/>
                </a:lnTo>
                <a:lnTo>
                  <a:pt x="11257" y="4666"/>
                </a:lnTo>
                <a:lnTo>
                  <a:pt x="11265" y="4676"/>
                </a:lnTo>
                <a:lnTo>
                  <a:pt x="11271" y="4688"/>
                </a:lnTo>
                <a:lnTo>
                  <a:pt x="11278" y="4701"/>
                </a:lnTo>
                <a:lnTo>
                  <a:pt x="11282" y="4715"/>
                </a:lnTo>
                <a:lnTo>
                  <a:pt x="11285" y="4730"/>
                </a:lnTo>
                <a:lnTo>
                  <a:pt x="11289" y="4746"/>
                </a:lnTo>
                <a:lnTo>
                  <a:pt x="11292" y="4761"/>
                </a:lnTo>
                <a:lnTo>
                  <a:pt x="11295" y="4793"/>
                </a:lnTo>
                <a:lnTo>
                  <a:pt x="11298" y="4825"/>
                </a:lnTo>
                <a:lnTo>
                  <a:pt x="11302" y="4855"/>
                </a:lnTo>
                <a:lnTo>
                  <a:pt x="11306" y="4883"/>
                </a:lnTo>
                <a:lnTo>
                  <a:pt x="11309" y="4893"/>
                </a:lnTo>
                <a:lnTo>
                  <a:pt x="11314" y="4905"/>
                </a:lnTo>
                <a:lnTo>
                  <a:pt x="11319" y="4916"/>
                </a:lnTo>
                <a:lnTo>
                  <a:pt x="11325" y="4927"/>
                </a:lnTo>
                <a:lnTo>
                  <a:pt x="11333" y="4938"/>
                </a:lnTo>
                <a:lnTo>
                  <a:pt x="11341" y="4947"/>
                </a:lnTo>
                <a:lnTo>
                  <a:pt x="11349" y="4957"/>
                </a:lnTo>
                <a:lnTo>
                  <a:pt x="11359" y="4967"/>
                </a:lnTo>
                <a:lnTo>
                  <a:pt x="11308" y="4967"/>
                </a:lnTo>
                <a:lnTo>
                  <a:pt x="11258" y="4967"/>
                </a:lnTo>
                <a:lnTo>
                  <a:pt x="11208" y="4967"/>
                </a:lnTo>
                <a:lnTo>
                  <a:pt x="11157" y="4967"/>
                </a:lnTo>
                <a:lnTo>
                  <a:pt x="11106" y="4967"/>
                </a:lnTo>
                <a:lnTo>
                  <a:pt x="11054" y="4967"/>
                </a:lnTo>
                <a:lnTo>
                  <a:pt x="11003" y="4967"/>
                </a:lnTo>
                <a:lnTo>
                  <a:pt x="10951" y="4967"/>
                </a:lnTo>
                <a:close/>
                <a:moveTo>
                  <a:pt x="10811" y="4539"/>
                </a:moveTo>
                <a:lnTo>
                  <a:pt x="9407" y="4539"/>
                </a:lnTo>
                <a:lnTo>
                  <a:pt x="9406" y="4534"/>
                </a:lnTo>
                <a:lnTo>
                  <a:pt x="9405" y="4526"/>
                </a:lnTo>
                <a:lnTo>
                  <a:pt x="9406" y="4519"/>
                </a:lnTo>
                <a:lnTo>
                  <a:pt x="9407" y="4508"/>
                </a:lnTo>
                <a:lnTo>
                  <a:pt x="9409" y="4498"/>
                </a:lnTo>
                <a:lnTo>
                  <a:pt x="9412" y="4490"/>
                </a:lnTo>
                <a:lnTo>
                  <a:pt x="10851" y="4490"/>
                </a:lnTo>
                <a:lnTo>
                  <a:pt x="10848" y="4496"/>
                </a:lnTo>
                <a:lnTo>
                  <a:pt x="10843" y="4503"/>
                </a:lnTo>
                <a:lnTo>
                  <a:pt x="10836" y="4514"/>
                </a:lnTo>
                <a:lnTo>
                  <a:pt x="10827" y="4524"/>
                </a:lnTo>
                <a:lnTo>
                  <a:pt x="10820" y="4533"/>
                </a:lnTo>
                <a:lnTo>
                  <a:pt x="10811" y="4539"/>
                </a:lnTo>
                <a:close/>
                <a:moveTo>
                  <a:pt x="10851" y="4490"/>
                </a:moveTo>
                <a:lnTo>
                  <a:pt x="10854" y="4482"/>
                </a:lnTo>
                <a:lnTo>
                  <a:pt x="10856" y="4474"/>
                </a:lnTo>
                <a:lnTo>
                  <a:pt x="10858" y="4469"/>
                </a:lnTo>
                <a:lnTo>
                  <a:pt x="10860" y="4464"/>
                </a:lnTo>
                <a:lnTo>
                  <a:pt x="10860" y="4453"/>
                </a:lnTo>
                <a:lnTo>
                  <a:pt x="10857" y="4444"/>
                </a:lnTo>
                <a:lnTo>
                  <a:pt x="10855" y="4434"/>
                </a:lnTo>
                <a:lnTo>
                  <a:pt x="10852" y="4424"/>
                </a:lnTo>
                <a:lnTo>
                  <a:pt x="10851" y="4411"/>
                </a:lnTo>
                <a:lnTo>
                  <a:pt x="10852" y="4395"/>
                </a:lnTo>
                <a:lnTo>
                  <a:pt x="10854" y="4371"/>
                </a:lnTo>
                <a:lnTo>
                  <a:pt x="10858" y="4343"/>
                </a:lnTo>
                <a:lnTo>
                  <a:pt x="10863" y="4312"/>
                </a:lnTo>
                <a:lnTo>
                  <a:pt x="10869" y="4282"/>
                </a:lnTo>
                <a:lnTo>
                  <a:pt x="10873" y="4267"/>
                </a:lnTo>
                <a:lnTo>
                  <a:pt x="10877" y="4253"/>
                </a:lnTo>
                <a:lnTo>
                  <a:pt x="10881" y="4240"/>
                </a:lnTo>
                <a:lnTo>
                  <a:pt x="10887" y="4228"/>
                </a:lnTo>
                <a:lnTo>
                  <a:pt x="10892" y="4218"/>
                </a:lnTo>
                <a:lnTo>
                  <a:pt x="10898" y="4210"/>
                </a:lnTo>
                <a:lnTo>
                  <a:pt x="10902" y="4207"/>
                </a:lnTo>
                <a:lnTo>
                  <a:pt x="10905" y="4203"/>
                </a:lnTo>
                <a:lnTo>
                  <a:pt x="10908" y="4201"/>
                </a:lnTo>
                <a:lnTo>
                  <a:pt x="10911" y="4199"/>
                </a:lnTo>
                <a:lnTo>
                  <a:pt x="10922" y="4196"/>
                </a:lnTo>
                <a:lnTo>
                  <a:pt x="10929" y="4191"/>
                </a:lnTo>
                <a:lnTo>
                  <a:pt x="10935" y="4202"/>
                </a:lnTo>
                <a:lnTo>
                  <a:pt x="10952" y="4227"/>
                </a:lnTo>
                <a:lnTo>
                  <a:pt x="10976" y="4263"/>
                </a:lnTo>
                <a:lnTo>
                  <a:pt x="11002" y="4301"/>
                </a:lnTo>
                <a:lnTo>
                  <a:pt x="11013" y="4319"/>
                </a:lnTo>
                <a:lnTo>
                  <a:pt x="11023" y="4334"/>
                </a:lnTo>
                <a:lnTo>
                  <a:pt x="11029" y="4348"/>
                </a:lnTo>
                <a:lnTo>
                  <a:pt x="11035" y="4362"/>
                </a:lnTo>
                <a:lnTo>
                  <a:pt x="11043" y="4390"/>
                </a:lnTo>
                <a:lnTo>
                  <a:pt x="11054" y="4427"/>
                </a:lnTo>
                <a:lnTo>
                  <a:pt x="11058" y="4445"/>
                </a:lnTo>
                <a:lnTo>
                  <a:pt x="11063" y="4461"/>
                </a:lnTo>
                <a:lnTo>
                  <a:pt x="11065" y="4477"/>
                </a:lnTo>
                <a:lnTo>
                  <a:pt x="11067" y="4490"/>
                </a:lnTo>
                <a:lnTo>
                  <a:pt x="10851" y="4490"/>
                </a:lnTo>
                <a:close/>
                <a:moveTo>
                  <a:pt x="9412" y="4490"/>
                </a:moveTo>
                <a:lnTo>
                  <a:pt x="7462" y="4490"/>
                </a:lnTo>
                <a:lnTo>
                  <a:pt x="7416" y="4492"/>
                </a:lnTo>
                <a:lnTo>
                  <a:pt x="7366" y="4493"/>
                </a:lnTo>
                <a:lnTo>
                  <a:pt x="7316" y="4493"/>
                </a:lnTo>
                <a:lnTo>
                  <a:pt x="7263" y="4493"/>
                </a:lnTo>
                <a:lnTo>
                  <a:pt x="7210" y="4492"/>
                </a:lnTo>
                <a:lnTo>
                  <a:pt x="7156" y="4491"/>
                </a:lnTo>
                <a:lnTo>
                  <a:pt x="7102" y="4490"/>
                </a:lnTo>
                <a:lnTo>
                  <a:pt x="7047" y="4488"/>
                </a:lnTo>
                <a:lnTo>
                  <a:pt x="6993" y="4488"/>
                </a:lnTo>
                <a:lnTo>
                  <a:pt x="6938" y="4490"/>
                </a:lnTo>
                <a:lnTo>
                  <a:pt x="6884" y="4493"/>
                </a:lnTo>
                <a:lnTo>
                  <a:pt x="6831" y="4497"/>
                </a:lnTo>
                <a:lnTo>
                  <a:pt x="6805" y="4499"/>
                </a:lnTo>
                <a:lnTo>
                  <a:pt x="6779" y="4504"/>
                </a:lnTo>
                <a:lnTo>
                  <a:pt x="6753" y="4507"/>
                </a:lnTo>
                <a:lnTo>
                  <a:pt x="6728" y="4511"/>
                </a:lnTo>
                <a:lnTo>
                  <a:pt x="6702" y="4517"/>
                </a:lnTo>
                <a:lnTo>
                  <a:pt x="6678" y="4523"/>
                </a:lnTo>
                <a:lnTo>
                  <a:pt x="6655" y="4530"/>
                </a:lnTo>
                <a:lnTo>
                  <a:pt x="6631" y="4537"/>
                </a:lnTo>
                <a:lnTo>
                  <a:pt x="6611" y="4544"/>
                </a:lnTo>
                <a:lnTo>
                  <a:pt x="6592" y="4553"/>
                </a:lnTo>
                <a:lnTo>
                  <a:pt x="6573" y="4562"/>
                </a:lnTo>
                <a:lnTo>
                  <a:pt x="6555" y="4573"/>
                </a:lnTo>
                <a:lnTo>
                  <a:pt x="6453" y="4627"/>
                </a:lnTo>
                <a:lnTo>
                  <a:pt x="6352" y="4682"/>
                </a:lnTo>
                <a:lnTo>
                  <a:pt x="6250" y="4736"/>
                </a:lnTo>
                <a:lnTo>
                  <a:pt x="6150" y="4790"/>
                </a:lnTo>
                <a:lnTo>
                  <a:pt x="6048" y="4844"/>
                </a:lnTo>
                <a:lnTo>
                  <a:pt x="5946" y="4897"/>
                </a:lnTo>
                <a:lnTo>
                  <a:pt x="5845" y="4951"/>
                </a:lnTo>
                <a:lnTo>
                  <a:pt x="5744" y="5004"/>
                </a:lnTo>
                <a:lnTo>
                  <a:pt x="5643" y="5058"/>
                </a:lnTo>
                <a:lnTo>
                  <a:pt x="5541" y="5111"/>
                </a:lnTo>
                <a:lnTo>
                  <a:pt x="5439" y="5163"/>
                </a:lnTo>
                <a:lnTo>
                  <a:pt x="5338" y="5216"/>
                </a:lnTo>
                <a:lnTo>
                  <a:pt x="5237" y="5268"/>
                </a:lnTo>
                <a:lnTo>
                  <a:pt x="5136" y="5321"/>
                </a:lnTo>
                <a:lnTo>
                  <a:pt x="5034" y="5373"/>
                </a:lnTo>
                <a:lnTo>
                  <a:pt x="4933" y="5426"/>
                </a:lnTo>
                <a:lnTo>
                  <a:pt x="4916" y="5400"/>
                </a:lnTo>
                <a:lnTo>
                  <a:pt x="4900" y="5376"/>
                </a:lnTo>
                <a:lnTo>
                  <a:pt x="4893" y="5367"/>
                </a:lnTo>
                <a:lnTo>
                  <a:pt x="4886" y="5357"/>
                </a:lnTo>
                <a:lnTo>
                  <a:pt x="4880" y="5349"/>
                </a:lnTo>
                <a:lnTo>
                  <a:pt x="4873" y="5344"/>
                </a:lnTo>
                <a:lnTo>
                  <a:pt x="4862" y="5333"/>
                </a:lnTo>
                <a:lnTo>
                  <a:pt x="4847" y="5317"/>
                </a:lnTo>
                <a:lnTo>
                  <a:pt x="4829" y="5297"/>
                </a:lnTo>
                <a:lnTo>
                  <a:pt x="4809" y="5276"/>
                </a:lnTo>
                <a:lnTo>
                  <a:pt x="4780" y="5242"/>
                </a:lnTo>
                <a:lnTo>
                  <a:pt x="4751" y="5211"/>
                </a:lnTo>
                <a:lnTo>
                  <a:pt x="4737" y="5197"/>
                </a:lnTo>
                <a:lnTo>
                  <a:pt x="4724" y="5183"/>
                </a:lnTo>
                <a:lnTo>
                  <a:pt x="4712" y="5172"/>
                </a:lnTo>
                <a:lnTo>
                  <a:pt x="4701" y="5163"/>
                </a:lnTo>
                <a:lnTo>
                  <a:pt x="4682" y="5147"/>
                </a:lnTo>
                <a:lnTo>
                  <a:pt x="4666" y="5132"/>
                </a:lnTo>
                <a:lnTo>
                  <a:pt x="4651" y="5117"/>
                </a:lnTo>
                <a:lnTo>
                  <a:pt x="4638" y="5104"/>
                </a:lnTo>
                <a:lnTo>
                  <a:pt x="4624" y="5090"/>
                </a:lnTo>
                <a:lnTo>
                  <a:pt x="4613" y="5079"/>
                </a:lnTo>
                <a:lnTo>
                  <a:pt x="4609" y="5077"/>
                </a:lnTo>
                <a:lnTo>
                  <a:pt x="4606" y="5074"/>
                </a:lnTo>
                <a:lnTo>
                  <a:pt x="4601" y="5070"/>
                </a:lnTo>
                <a:lnTo>
                  <a:pt x="4596" y="5066"/>
                </a:lnTo>
                <a:lnTo>
                  <a:pt x="4592" y="5063"/>
                </a:lnTo>
                <a:lnTo>
                  <a:pt x="4587" y="5062"/>
                </a:lnTo>
                <a:lnTo>
                  <a:pt x="4581" y="5061"/>
                </a:lnTo>
                <a:lnTo>
                  <a:pt x="4575" y="5062"/>
                </a:lnTo>
                <a:lnTo>
                  <a:pt x="4567" y="5065"/>
                </a:lnTo>
                <a:lnTo>
                  <a:pt x="4560" y="5070"/>
                </a:lnTo>
                <a:lnTo>
                  <a:pt x="4548" y="5076"/>
                </a:lnTo>
                <a:lnTo>
                  <a:pt x="4534" y="5084"/>
                </a:lnTo>
                <a:lnTo>
                  <a:pt x="4515" y="5093"/>
                </a:lnTo>
                <a:lnTo>
                  <a:pt x="4496" y="5104"/>
                </a:lnTo>
                <a:lnTo>
                  <a:pt x="4487" y="5109"/>
                </a:lnTo>
                <a:lnTo>
                  <a:pt x="4479" y="5115"/>
                </a:lnTo>
                <a:lnTo>
                  <a:pt x="4471" y="5121"/>
                </a:lnTo>
                <a:lnTo>
                  <a:pt x="4466" y="5128"/>
                </a:lnTo>
                <a:lnTo>
                  <a:pt x="4456" y="5139"/>
                </a:lnTo>
                <a:lnTo>
                  <a:pt x="4448" y="5147"/>
                </a:lnTo>
                <a:lnTo>
                  <a:pt x="4446" y="5151"/>
                </a:lnTo>
                <a:lnTo>
                  <a:pt x="4444" y="5154"/>
                </a:lnTo>
                <a:lnTo>
                  <a:pt x="4442" y="5155"/>
                </a:lnTo>
                <a:lnTo>
                  <a:pt x="4440" y="5156"/>
                </a:lnTo>
                <a:lnTo>
                  <a:pt x="4432" y="5157"/>
                </a:lnTo>
                <a:lnTo>
                  <a:pt x="4424" y="5158"/>
                </a:lnTo>
                <a:lnTo>
                  <a:pt x="4415" y="5159"/>
                </a:lnTo>
                <a:lnTo>
                  <a:pt x="4405" y="5160"/>
                </a:lnTo>
                <a:lnTo>
                  <a:pt x="4388" y="5163"/>
                </a:lnTo>
                <a:lnTo>
                  <a:pt x="4374" y="5167"/>
                </a:lnTo>
                <a:lnTo>
                  <a:pt x="4365" y="5169"/>
                </a:lnTo>
                <a:lnTo>
                  <a:pt x="4365" y="5168"/>
                </a:lnTo>
                <a:lnTo>
                  <a:pt x="4370" y="5156"/>
                </a:lnTo>
                <a:lnTo>
                  <a:pt x="4377" y="5145"/>
                </a:lnTo>
                <a:lnTo>
                  <a:pt x="4382" y="5138"/>
                </a:lnTo>
                <a:lnTo>
                  <a:pt x="4386" y="5130"/>
                </a:lnTo>
                <a:lnTo>
                  <a:pt x="4388" y="5124"/>
                </a:lnTo>
                <a:lnTo>
                  <a:pt x="4388" y="5117"/>
                </a:lnTo>
                <a:lnTo>
                  <a:pt x="4387" y="5112"/>
                </a:lnTo>
                <a:lnTo>
                  <a:pt x="4384" y="5107"/>
                </a:lnTo>
                <a:lnTo>
                  <a:pt x="4381" y="5104"/>
                </a:lnTo>
                <a:lnTo>
                  <a:pt x="4377" y="5102"/>
                </a:lnTo>
                <a:lnTo>
                  <a:pt x="4371" y="5100"/>
                </a:lnTo>
                <a:lnTo>
                  <a:pt x="4364" y="5100"/>
                </a:lnTo>
                <a:lnTo>
                  <a:pt x="4355" y="5100"/>
                </a:lnTo>
                <a:lnTo>
                  <a:pt x="4344" y="5100"/>
                </a:lnTo>
                <a:lnTo>
                  <a:pt x="4333" y="5102"/>
                </a:lnTo>
                <a:lnTo>
                  <a:pt x="4323" y="5105"/>
                </a:lnTo>
                <a:lnTo>
                  <a:pt x="4315" y="5109"/>
                </a:lnTo>
                <a:lnTo>
                  <a:pt x="4310" y="5114"/>
                </a:lnTo>
                <a:lnTo>
                  <a:pt x="4304" y="5118"/>
                </a:lnTo>
                <a:lnTo>
                  <a:pt x="4301" y="5122"/>
                </a:lnTo>
                <a:lnTo>
                  <a:pt x="4298" y="5127"/>
                </a:lnTo>
                <a:lnTo>
                  <a:pt x="4296" y="5131"/>
                </a:lnTo>
                <a:lnTo>
                  <a:pt x="4296" y="5131"/>
                </a:lnTo>
                <a:lnTo>
                  <a:pt x="4295" y="5132"/>
                </a:lnTo>
                <a:lnTo>
                  <a:pt x="4294" y="5129"/>
                </a:lnTo>
                <a:lnTo>
                  <a:pt x="4290" y="5115"/>
                </a:lnTo>
                <a:lnTo>
                  <a:pt x="4281" y="5103"/>
                </a:lnTo>
                <a:lnTo>
                  <a:pt x="4275" y="5093"/>
                </a:lnTo>
                <a:lnTo>
                  <a:pt x="4271" y="5085"/>
                </a:lnTo>
                <a:lnTo>
                  <a:pt x="4269" y="5078"/>
                </a:lnTo>
                <a:lnTo>
                  <a:pt x="4267" y="5072"/>
                </a:lnTo>
                <a:lnTo>
                  <a:pt x="4264" y="5066"/>
                </a:lnTo>
                <a:lnTo>
                  <a:pt x="4262" y="5062"/>
                </a:lnTo>
                <a:lnTo>
                  <a:pt x="4259" y="5059"/>
                </a:lnTo>
                <a:lnTo>
                  <a:pt x="4254" y="5057"/>
                </a:lnTo>
                <a:lnTo>
                  <a:pt x="4246" y="5055"/>
                </a:lnTo>
                <a:lnTo>
                  <a:pt x="4237" y="5055"/>
                </a:lnTo>
                <a:lnTo>
                  <a:pt x="4224" y="5055"/>
                </a:lnTo>
                <a:lnTo>
                  <a:pt x="4214" y="5057"/>
                </a:lnTo>
                <a:lnTo>
                  <a:pt x="4204" y="5058"/>
                </a:lnTo>
                <a:lnTo>
                  <a:pt x="4196" y="5059"/>
                </a:lnTo>
                <a:lnTo>
                  <a:pt x="4189" y="5059"/>
                </a:lnTo>
                <a:lnTo>
                  <a:pt x="4181" y="5060"/>
                </a:lnTo>
                <a:lnTo>
                  <a:pt x="4176" y="5060"/>
                </a:lnTo>
                <a:lnTo>
                  <a:pt x="4172" y="5060"/>
                </a:lnTo>
                <a:lnTo>
                  <a:pt x="4168" y="5059"/>
                </a:lnTo>
                <a:lnTo>
                  <a:pt x="4168" y="5055"/>
                </a:lnTo>
                <a:lnTo>
                  <a:pt x="4170" y="5048"/>
                </a:lnTo>
                <a:lnTo>
                  <a:pt x="4170" y="5037"/>
                </a:lnTo>
                <a:lnTo>
                  <a:pt x="4170" y="5024"/>
                </a:lnTo>
                <a:lnTo>
                  <a:pt x="4169" y="5019"/>
                </a:lnTo>
                <a:lnTo>
                  <a:pt x="4168" y="5013"/>
                </a:lnTo>
                <a:lnTo>
                  <a:pt x="4166" y="5010"/>
                </a:lnTo>
                <a:lnTo>
                  <a:pt x="4164" y="5008"/>
                </a:lnTo>
                <a:lnTo>
                  <a:pt x="4160" y="5006"/>
                </a:lnTo>
                <a:lnTo>
                  <a:pt x="4153" y="5005"/>
                </a:lnTo>
                <a:lnTo>
                  <a:pt x="4152" y="5003"/>
                </a:lnTo>
                <a:lnTo>
                  <a:pt x="4144" y="4990"/>
                </a:lnTo>
                <a:lnTo>
                  <a:pt x="4140" y="4980"/>
                </a:lnTo>
                <a:lnTo>
                  <a:pt x="4137" y="4970"/>
                </a:lnTo>
                <a:lnTo>
                  <a:pt x="4135" y="4960"/>
                </a:lnTo>
                <a:lnTo>
                  <a:pt x="4133" y="4951"/>
                </a:lnTo>
                <a:lnTo>
                  <a:pt x="4130" y="4941"/>
                </a:lnTo>
                <a:lnTo>
                  <a:pt x="4128" y="4932"/>
                </a:lnTo>
                <a:lnTo>
                  <a:pt x="4125" y="4925"/>
                </a:lnTo>
                <a:lnTo>
                  <a:pt x="4122" y="4918"/>
                </a:lnTo>
                <a:lnTo>
                  <a:pt x="4117" y="4913"/>
                </a:lnTo>
                <a:lnTo>
                  <a:pt x="4112" y="4909"/>
                </a:lnTo>
                <a:lnTo>
                  <a:pt x="4106" y="4906"/>
                </a:lnTo>
                <a:lnTo>
                  <a:pt x="4097" y="4905"/>
                </a:lnTo>
                <a:lnTo>
                  <a:pt x="4085" y="4906"/>
                </a:lnTo>
                <a:lnTo>
                  <a:pt x="4076" y="4910"/>
                </a:lnTo>
                <a:lnTo>
                  <a:pt x="4069" y="4913"/>
                </a:lnTo>
                <a:lnTo>
                  <a:pt x="4062" y="4917"/>
                </a:lnTo>
                <a:lnTo>
                  <a:pt x="4057" y="4920"/>
                </a:lnTo>
                <a:lnTo>
                  <a:pt x="4052" y="4922"/>
                </a:lnTo>
                <a:lnTo>
                  <a:pt x="4045" y="4918"/>
                </a:lnTo>
                <a:lnTo>
                  <a:pt x="4034" y="4913"/>
                </a:lnTo>
                <a:lnTo>
                  <a:pt x="4020" y="4905"/>
                </a:lnTo>
                <a:lnTo>
                  <a:pt x="4005" y="4899"/>
                </a:lnTo>
                <a:lnTo>
                  <a:pt x="3996" y="4897"/>
                </a:lnTo>
                <a:lnTo>
                  <a:pt x="3988" y="4895"/>
                </a:lnTo>
                <a:lnTo>
                  <a:pt x="3980" y="4893"/>
                </a:lnTo>
                <a:lnTo>
                  <a:pt x="3970" y="4895"/>
                </a:lnTo>
                <a:lnTo>
                  <a:pt x="3957" y="4897"/>
                </a:lnTo>
                <a:lnTo>
                  <a:pt x="3946" y="4900"/>
                </a:lnTo>
                <a:lnTo>
                  <a:pt x="3934" y="4905"/>
                </a:lnTo>
                <a:lnTo>
                  <a:pt x="3923" y="4912"/>
                </a:lnTo>
                <a:lnTo>
                  <a:pt x="3907" y="4924"/>
                </a:lnTo>
                <a:lnTo>
                  <a:pt x="3895" y="4933"/>
                </a:lnTo>
                <a:lnTo>
                  <a:pt x="3890" y="4939"/>
                </a:lnTo>
                <a:lnTo>
                  <a:pt x="3888" y="4942"/>
                </a:lnTo>
                <a:lnTo>
                  <a:pt x="3886" y="4943"/>
                </a:lnTo>
                <a:lnTo>
                  <a:pt x="3874" y="4949"/>
                </a:lnTo>
                <a:lnTo>
                  <a:pt x="3863" y="4952"/>
                </a:lnTo>
                <a:lnTo>
                  <a:pt x="3850" y="4957"/>
                </a:lnTo>
                <a:lnTo>
                  <a:pt x="3834" y="4963"/>
                </a:lnTo>
                <a:lnTo>
                  <a:pt x="3817" y="4968"/>
                </a:lnTo>
                <a:lnTo>
                  <a:pt x="3789" y="4977"/>
                </a:lnTo>
                <a:lnTo>
                  <a:pt x="3762" y="4985"/>
                </a:lnTo>
                <a:lnTo>
                  <a:pt x="3737" y="4993"/>
                </a:lnTo>
                <a:lnTo>
                  <a:pt x="3716" y="4999"/>
                </a:lnTo>
                <a:lnTo>
                  <a:pt x="3702" y="5004"/>
                </a:lnTo>
                <a:lnTo>
                  <a:pt x="3694" y="5009"/>
                </a:lnTo>
                <a:lnTo>
                  <a:pt x="3690" y="5012"/>
                </a:lnTo>
                <a:lnTo>
                  <a:pt x="3689" y="5017"/>
                </a:lnTo>
                <a:lnTo>
                  <a:pt x="3689" y="5018"/>
                </a:lnTo>
                <a:lnTo>
                  <a:pt x="3686" y="5018"/>
                </a:lnTo>
                <a:lnTo>
                  <a:pt x="3676" y="5019"/>
                </a:lnTo>
                <a:lnTo>
                  <a:pt x="3659" y="5023"/>
                </a:lnTo>
                <a:lnTo>
                  <a:pt x="3641" y="5028"/>
                </a:lnTo>
                <a:lnTo>
                  <a:pt x="3626" y="5034"/>
                </a:lnTo>
                <a:lnTo>
                  <a:pt x="3612" y="5037"/>
                </a:lnTo>
                <a:lnTo>
                  <a:pt x="3601" y="5040"/>
                </a:lnTo>
                <a:lnTo>
                  <a:pt x="3581" y="5046"/>
                </a:lnTo>
                <a:lnTo>
                  <a:pt x="3566" y="5050"/>
                </a:lnTo>
                <a:lnTo>
                  <a:pt x="3554" y="5055"/>
                </a:lnTo>
                <a:lnTo>
                  <a:pt x="3542" y="5062"/>
                </a:lnTo>
                <a:lnTo>
                  <a:pt x="3527" y="5072"/>
                </a:lnTo>
                <a:lnTo>
                  <a:pt x="3513" y="5079"/>
                </a:lnTo>
                <a:lnTo>
                  <a:pt x="3506" y="5081"/>
                </a:lnTo>
                <a:lnTo>
                  <a:pt x="3497" y="5084"/>
                </a:lnTo>
                <a:lnTo>
                  <a:pt x="3487" y="5086"/>
                </a:lnTo>
                <a:lnTo>
                  <a:pt x="3476" y="5086"/>
                </a:lnTo>
                <a:lnTo>
                  <a:pt x="3462" y="5086"/>
                </a:lnTo>
                <a:lnTo>
                  <a:pt x="3449" y="5087"/>
                </a:lnTo>
                <a:lnTo>
                  <a:pt x="3436" y="5088"/>
                </a:lnTo>
                <a:lnTo>
                  <a:pt x="3425" y="5089"/>
                </a:lnTo>
                <a:lnTo>
                  <a:pt x="3415" y="5090"/>
                </a:lnTo>
                <a:lnTo>
                  <a:pt x="3406" y="5092"/>
                </a:lnTo>
                <a:lnTo>
                  <a:pt x="3398" y="5094"/>
                </a:lnTo>
                <a:lnTo>
                  <a:pt x="3392" y="5098"/>
                </a:lnTo>
                <a:lnTo>
                  <a:pt x="3388" y="5094"/>
                </a:lnTo>
                <a:lnTo>
                  <a:pt x="3379" y="5087"/>
                </a:lnTo>
                <a:lnTo>
                  <a:pt x="3367" y="5079"/>
                </a:lnTo>
                <a:lnTo>
                  <a:pt x="3355" y="5074"/>
                </a:lnTo>
                <a:lnTo>
                  <a:pt x="3350" y="5073"/>
                </a:lnTo>
                <a:lnTo>
                  <a:pt x="3345" y="5072"/>
                </a:lnTo>
                <a:lnTo>
                  <a:pt x="3340" y="5072"/>
                </a:lnTo>
                <a:lnTo>
                  <a:pt x="3335" y="5074"/>
                </a:lnTo>
                <a:lnTo>
                  <a:pt x="3332" y="5076"/>
                </a:lnTo>
                <a:lnTo>
                  <a:pt x="3328" y="5080"/>
                </a:lnTo>
                <a:lnTo>
                  <a:pt x="3327" y="5086"/>
                </a:lnTo>
                <a:lnTo>
                  <a:pt x="3327" y="5092"/>
                </a:lnTo>
                <a:lnTo>
                  <a:pt x="3328" y="5100"/>
                </a:lnTo>
                <a:lnTo>
                  <a:pt x="3332" y="5108"/>
                </a:lnTo>
                <a:lnTo>
                  <a:pt x="3336" y="5119"/>
                </a:lnTo>
                <a:lnTo>
                  <a:pt x="3342" y="5132"/>
                </a:lnTo>
                <a:lnTo>
                  <a:pt x="3360" y="5160"/>
                </a:lnTo>
                <a:lnTo>
                  <a:pt x="3377" y="5185"/>
                </a:lnTo>
                <a:lnTo>
                  <a:pt x="3393" y="5207"/>
                </a:lnTo>
                <a:lnTo>
                  <a:pt x="3407" y="5226"/>
                </a:lnTo>
                <a:lnTo>
                  <a:pt x="3427" y="5247"/>
                </a:lnTo>
                <a:lnTo>
                  <a:pt x="3433" y="5254"/>
                </a:lnTo>
                <a:lnTo>
                  <a:pt x="3432" y="5253"/>
                </a:lnTo>
                <a:lnTo>
                  <a:pt x="3429" y="5252"/>
                </a:lnTo>
                <a:lnTo>
                  <a:pt x="3425" y="5250"/>
                </a:lnTo>
                <a:lnTo>
                  <a:pt x="3420" y="5248"/>
                </a:lnTo>
                <a:lnTo>
                  <a:pt x="3415" y="5247"/>
                </a:lnTo>
                <a:lnTo>
                  <a:pt x="3409" y="5247"/>
                </a:lnTo>
                <a:lnTo>
                  <a:pt x="3403" y="5247"/>
                </a:lnTo>
                <a:lnTo>
                  <a:pt x="3398" y="5249"/>
                </a:lnTo>
                <a:lnTo>
                  <a:pt x="3390" y="5252"/>
                </a:lnTo>
                <a:lnTo>
                  <a:pt x="3383" y="5259"/>
                </a:lnTo>
                <a:lnTo>
                  <a:pt x="3378" y="5263"/>
                </a:lnTo>
                <a:lnTo>
                  <a:pt x="3374" y="5268"/>
                </a:lnTo>
                <a:lnTo>
                  <a:pt x="3370" y="5273"/>
                </a:lnTo>
                <a:lnTo>
                  <a:pt x="3368" y="5278"/>
                </a:lnTo>
                <a:lnTo>
                  <a:pt x="3366" y="5283"/>
                </a:lnTo>
                <a:lnTo>
                  <a:pt x="3365" y="5289"/>
                </a:lnTo>
                <a:lnTo>
                  <a:pt x="3364" y="5295"/>
                </a:lnTo>
                <a:lnTo>
                  <a:pt x="3364" y="5301"/>
                </a:lnTo>
                <a:lnTo>
                  <a:pt x="3364" y="5307"/>
                </a:lnTo>
                <a:lnTo>
                  <a:pt x="3365" y="5315"/>
                </a:lnTo>
                <a:lnTo>
                  <a:pt x="3367" y="5321"/>
                </a:lnTo>
                <a:lnTo>
                  <a:pt x="3369" y="5328"/>
                </a:lnTo>
                <a:lnTo>
                  <a:pt x="3375" y="5338"/>
                </a:lnTo>
                <a:lnTo>
                  <a:pt x="3381" y="5348"/>
                </a:lnTo>
                <a:lnTo>
                  <a:pt x="3382" y="5349"/>
                </a:lnTo>
                <a:lnTo>
                  <a:pt x="3382" y="5351"/>
                </a:lnTo>
                <a:lnTo>
                  <a:pt x="3381" y="5354"/>
                </a:lnTo>
                <a:lnTo>
                  <a:pt x="3378" y="5358"/>
                </a:lnTo>
                <a:lnTo>
                  <a:pt x="3373" y="5363"/>
                </a:lnTo>
                <a:lnTo>
                  <a:pt x="3366" y="5368"/>
                </a:lnTo>
                <a:lnTo>
                  <a:pt x="3359" y="5372"/>
                </a:lnTo>
                <a:lnTo>
                  <a:pt x="3352" y="5375"/>
                </a:lnTo>
                <a:lnTo>
                  <a:pt x="3347" y="5379"/>
                </a:lnTo>
                <a:lnTo>
                  <a:pt x="3341" y="5384"/>
                </a:lnTo>
                <a:lnTo>
                  <a:pt x="3337" y="5389"/>
                </a:lnTo>
                <a:lnTo>
                  <a:pt x="3335" y="5394"/>
                </a:lnTo>
                <a:lnTo>
                  <a:pt x="3334" y="5397"/>
                </a:lnTo>
                <a:lnTo>
                  <a:pt x="3333" y="5401"/>
                </a:lnTo>
                <a:lnTo>
                  <a:pt x="3332" y="5405"/>
                </a:lnTo>
                <a:lnTo>
                  <a:pt x="3332" y="5410"/>
                </a:lnTo>
                <a:lnTo>
                  <a:pt x="3332" y="5414"/>
                </a:lnTo>
                <a:lnTo>
                  <a:pt x="3334" y="5418"/>
                </a:lnTo>
                <a:lnTo>
                  <a:pt x="3335" y="5423"/>
                </a:lnTo>
                <a:lnTo>
                  <a:pt x="3339" y="5429"/>
                </a:lnTo>
                <a:lnTo>
                  <a:pt x="3345" y="5436"/>
                </a:lnTo>
                <a:lnTo>
                  <a:pt x="3351" y="5442"/>
                </a:lnTo>
                <a:lnTo>
                  <a:pt x="3360" y="5449"/>
                </a:lnTo>
                <a:lnTo>
                  <a:pt x="3374" y="5456"/>
                </a:lnTo>
                <a:lnTo>
                  <a:pt x="3389" y="5463"/>
                </a:lnTo>
                <a:lnTo>
                  <a:pt x="3405" y="5468"/>
                </a:lnTo>
                <a:lnTo>
                  <a:pt x="3421" y="5473"/>
                </a:lnTo>
                <a:lnTo>
                  <a:pt x="3442" y="5479"/>
                </a:lnTo>
                <a:lnTo>
                  <a:pt x="3460" y="5485"/>
                </a:lnTo>
                <a:lnTo>
                  <a:pt x="3467" y="5489"/>
                </a:lnTo>
                <a:lnTo>
                  <a:pt x="3472" y="5492"/>
                </a:lnTo>
                <a:lnTo>
                  <a:pt x="3476" y="5495"/>
                </a:lnTo>
                <a:lnTo>
                  <a:pt x="3478" y="5498"/>
                </a:lnTo>
                <a:lnTo>
                  <a:pt x="3478" y="5513"/>
                </a:lnTo>
                <a:lnTo>
                  <a:pt x="3478" y="5530"/>
                </a:lnTo>
                <a:lnTo>
                  <a:pt x="3478" y="5545"/>
                </a:lnTo>
                <a:lnTo>
                  <a:pt x="3476" y="5550"/>
                </a:lnTo>
                <a:lnTo>
                  <a:pt x="3475" y="5556"/>
                </a:lnTo>
                <a:lnTo>
                  <a:pt x="3473" y="5559"/>
                </a:lnTo>
                <a:lnTo>
                  <a:pt x="3471" y="5560"/>
                </a:lnTo>
                <a:lnTo>
                  <a:pt x="3462" y="5562"/>
                </a:lnTo>
                <a:lnTo>
                  <a:pt x="3450" y="5564"/>
                </a:lnTo>
                <a:lnTo>
                  <a:pt x="3436" y="5565"/>
                </a:lnTo>
                <a:lnTo>
                  <a:pt x="3422" y="5566"/>
                </a:lnTo>
                <a:lnTo>
                  <a:pt x="3403" y="5566"/>
                </a:lnTo>
                <a:lnTo>
                  <a:pt x="3393" y="5566"/>
                </a:lnTo>
                <a:lnTo>
                  <a:pt x="3391" y="5564"/>
                </a:lnTo>
                <a:lnTo>
                  <a:pt x="3387" y="5561"/>
                </a:lnTo>
                <a:lnTo>
                  <a:pt x="3383" y="5559"/>
                </a:lnTo>
                <a:lnTo>
                  <a:pt x="3379" y="5558"/>
                </a:lnTo>
                <a:lnTo>
                  <a:pt x="3375" y="5558"/>
                </a:lnTo>
                <a:lnTo>
                  <a:pt x="3369" y="5560"/>
                </a:lnTo>
                <a:lnTo>
                  <a:pt x="3363" y="5564"/>
                </a:lnTo>
                <a:lnTo>
                  <a:pt x="3355" y="5571"/>
                </a:lnTo>
                <a:lnTo>
                  <a:pt x="3345" y="5580"/>
                </a:lnTo>
                <a:lnTo>
                  <a:pt x="3338" y="5588"/>
                </a:lnTo>
                <a:lnTo>
                  <a:pt x="3332" y="5592"/>
                </a:lnTo>
                <a:lnTo>
                  <a:pt x="3326" y="5597"/>
                </a:lnTo>
                <a:lnTo>
                  <a:pt x="3321" y="5598"/>
                </a:lnTo>
                <a:lnTo>
                  <a:pt x="3315" y="5597"/>
                </a:lnTo>
                <a:lnTo>
                  <a:pt x="3310" y="5594"/>
                </a:lnTo>
                <a:lnTo>
                  <a:pt x="3302" y="5589"/>
                </a:lnTo>
                <a:lnTo>
                  <a:pt x="3294" y="5581"/>
                </a:lnTo>
                <a:lnTo>
                  <a:pt x="3284" y="5570"/>
                </a:lnTo>
                <a:lnTo>
                  <a:pt x="3274" y="5557"/>
                </a:lnTo>
                <a:lnTo>
                  <a:pt x="3266" y="5547"/>
                </a:lnTo>
                <a:lnTo>
                  <a:pt x="3258" y="5537"/>
                </a:lnTo>
                <a:lnTo>
                  <a:pt x="3249" y="5529"/>
                </a:lnTo>
                <a:lnTo>
                  <a:pt x="3241" y="5522"/>
                </a:lnTo>
                <a:lnTo>
                  <a:pt x="3236" y="5519"/>
                </a:lnTo>
                <a:lnTo>
                  <a:pt x="3231" y="5517"/>
                </a:lnTo>
                <a:lnTo>
                  <a:pt x="3227" y="5516"/>
                </a:lnTo>
                <a:lnTo>
                  <a:pt x="3221" y="5514"/>
                </a:lnTo>
                <a:lnTo>
                  <a:pt x="3216" y="5513"/>
                </a:lnTo>
                <a:lnTo>
                  <a:pt x="3211" y="5514"/>
                </a:lnTo>
                <a:lnTo>
                  <a:pt x="3204" y="5516"/>
                </a:lnTo>
                <a:lnTo>
                  <a:pt x="3199" y="5518"/>
                </a:lnTo>
                <a:lnTo>
                  <a:pt x="3186" y="5523"/>
                </a:lnTo>
                <a:lnTo>
                  <a:pt x="3175" y="5531"/>
                </a:lnTo>
                <a:lnTo>
                  <a:pt x="3167" y="5537"/>
                </a:lnTo>
                <a:lnTo>
                  <a:pt x="3162" y="5545"/>
                </a:lnTo>
                <a:lnTo>
                  <a:pt x="3159" y="5548"/>
                </a:lnTo>
                <a:lnTo>
                  <a:pt x="3155" y="5550"/>
                </a:lnTo>
                <a:lnTo>
                  <a:pt x="3153" y="5551"/>
                </a:lnTo>
                <a:lnTo>
                  <a:pt x="3150" y="5551"/>
                </a:lnTo>
                <a:lnTo>
                  <a:pt x="3146" y="5549"/>
                </a:lnTo>
                <a:lnTo>
                  <a:pt x="3142" y="5546"/>
                </a:lnTo>
                <a:lnTo>
                  <a:pt x="3138" y="5543"/>
                </a:lnTo>
                <a:lnTo>
                  <a:pt x="3134" y="5537"/>
                </a:lnTo>
                <a:lnTo>
                  <a:pt x="3128" y="5532"/>
                </a:lnTo>
                <a:lnTo>
                  <a:pt x="3123" y="5526"/>
                </a:lnTo>
                <a:lnTo>
                  <a:pt x="3118" y="5522"/>
                </a:lnTo>
                <a:lnTo>
                  <a:pt x="3112" y="5519"/>
                </a:lnTo>
                <a:lnTo>
                  <a:pt x="3106" y="5517"/>
                </a:lnTo>
                <a:lnTo>
                  <a:pt x="3098" y="5517"/>
                </a:lnTo>
                <a:lnTo>
                  <a:pt x="3091" y="5519"/>
                </a:lnTo>
                <a:lnTo>
                  <a:pt x="3082" y="5523"/>
                </a:lnTo>
                <a:lnTo>
                  <a:pt x="3074" y="5530"/>
                </a:lnTo>
                <a:lnTo>
                  <a:pt x="3069" y="5535"/>
                </a:lnTo>
                <a:lnTo>
                  <a:pt x="3066" y="5540"/>
                </a:lnTo>
                <a:lnTo>
                  <a:pt x="3063" y="5545"/>
                </a:lnTo>
                <a:lnTo>
                  <a:pt x="3061" y="5549"/>
                </a:lnTo>
                <a:lnTo>
                  <a:pt x="3057" y="5553"/>
                </a:lnTo>
                <a:lnTo>
                  <a:pt x="3048" y="5560"/>
                </a:lnTo>
                <a:lnTo>
                  <a:pt x="3034" y="5566"/>
                </a:lnTo>
                <a:lnTo>
                  <a:pt x="3028" y="5568"/>
                </a:lnTo>
                <a:lnTo>
                  <a:pt x="3021" y="5568"/>
                </a:lnTo>
                <a:lnTo>
                  <a:pt x="3016" y="5567"/>
                </a:lnTo>
                <a:lnTo>
                  <a:pt x="3011" y="5565"/>
                </a:lnTo>
                <a:lnTo>
                  <a:pt x="3001" y="5559"/>
                </a:lnTo>
                <a:lnTo>
                  <a:pt x="2992" y="5550"/>
                </a:lnTo>
                <a:lnTo>
                  <a:pt x="2987" y="5546"/>
                </a:lnTo>
                <a:lnTo>
                  <a:pt x="2982" y="5541"/>
                </a:lnTo>
                <a:lnTo>
                  <a:pt x="2977" y="5537"/>
                </a:lnTo>
                <a:lnTo>
                  <a:pt x="2972" y="5534"/>
                </a:lnTo>
                <a:lnTo>
                  <a:pt x="2966" y="5532"/>
                </a:lnTo>
                <a:lnTo>
                  <a:pt x="2961" y="5531"/>
                </a:lnTo>
                <a:lnTo>
                  <a:pt x="2954" y="5532"/>
                </a:lnTo>
                <a:lnTo>
                  <a:pt x="2949" y="5534"/>
                </a:lnTo>
                <a:lnTo>
                  <a:pt x="2944" y="5538"/>
                </a:lnTo>
                <a:lnTo>
                  <a:pt x="2937" y="5545"/>
                </a:lnTo>
                <a:lnTo>
                  <a:pt x="2931" y="5554"/>
                </a:lnTo>
                <a:lnTo>
                  <a:pt x="2924" y="5563"/>
                </a:lnTo>
                <a:lnTo>
                  <a:pt x="2919" y="5573"/>
                </a:lnTo>
                <a:lnTo>
                  <a:pt x="2914" y="5581"/>
                </a:lnTo>
                <a:lnTo>
                  <a:pt x="2913" y="5583"/>
                </a:lnTo>
                <a:lnTo>
                  <a:pt x="2906" y="5570"/>
                </a:lnTo>
                <a:lnTo>
                  <a:pt x="2897" y="5553"/>
                </a:lnTo>
                <a:lnTo>
                  <a:pt x="2886" y="5538"/>
                </a:lnTo>
                <a:lnTo>
                  <a:pt x="2875" y="5522"/>
                </a:lnTo>
                <a:lnTo>
                  <a:pt x="2862" y="5505"/>
                </a:lnTo>
                <a:lnTo>
                  <a:pt x="2851" y="5491"/>
                </a:lnTo>
                <a:lnTo>
                  <a:pt x="2844" y="5484"/>
                </a:lnTo>
                <a:lnTo>
                  <a:pt x="2839" y="5479"/>
                </a:lnTo>
                <a:lnTo>
                  <a:pt x="2833" y="5476"/>
                </a:lnTo>
                <a:lnTo>
                  <a:pt x="2829" y="5472"/>
                </a:lnTo>
                <a:lnTo>
                  <a:pt x="2824" y="5469"/>
                </a:lnTo>
                <a:lnTo>
                  <a:pt x="2818" y="5465"/>
                </a:lnTo>
                <a:lnTo>
                  <a:pt x="2809" y="5459"/>
                </a:lnTo>
                <a:lnTo>
                  <a:pt x="2800" y="5455"/>
                </a:lnTo>
                <a:lnTo>
                  <a:pt x="2793" y="5454"/>
                </a:lnTo>
                <a:lnTo>
                  <a:pt x="2786" y="5453"/>
                </a:lnTo>
                <a:lnTo>
                  <a:pt x="2777" y="5452"/>
                </a:lnTo>
                <a:lnTo>
                  <a:pt x="2765" y="5452"/>
                </a:lnTo>
                <a:lnTo>
                  <a:pt x="2751" y="5452"/>
                </a:lnTo>
                <a:lnTo>
                  <a:pt x="2740" y="5451"/>
                </a:lnTo>
                <a:lnTo>
                  <a:pt x="2733" y="5450"/>
                </a:lnTo>
                <a:lnTo>
                  <a:pt x="2726" y="5448"/>
                </a:lnTo>
                <a:lnTo>
                  <a:pt x="2726" y="5440"/>
                </a:lnTo>
                <a:lnTo>
                  <a:pt x="2725" y="5432"/>
                </a:lnTo>
                <a:lnTo>
                  <a:pt x="2723" y="5424"/>
                </a:lnTo>
                <a:lnTo>
                  <a:pt x="2720" y="5417"/>
                </a:lnTo>
                <a:lnTo>
                  <a:pt x="2718" y="5415"/>
                </a:lnTo>
                <a:lnTo>
                  <a:pt x="2714" y="5413"/>
                </a:lnTo>
                <a:lnTo>
                  <a:pt x="2711" y="5412"/>
                </a:lnTo>
                <a:lnTo>
                  <a:pt x="2708" y="5411"/>
                </a:lnTo>
                <a:lnTo>
                  <a:pt x="2702" y="5412"/>
                </a:lnTo>
                <a:lnTo>
                  <a:pt x="2698" y="5413"/>
                </a:lnTo>
                <a:lnTo>
                  <a:pt x="2692" y="5416"/>
                </a:lnTo>
                <a:lnTo>
                  <a:pt x="2685" y="5421"/>
                </a:lnTo>
                <a:lnTo>
                  <a:pt x="2680" y="5425"/>
                </a:lnTo>
                <a:lnTo>
                  <a:pt x="2675" y="5429"/>
                </a:lnTo>
                <a:lnTo>
                  <a:pt x="2672" y="5433"/>
                </a:lnTo>
                <a:lnTo>
                  <a:pt x="2669" y="5438"/>
                </a:lnTo>
                <a:lnTo>
                  <a:pt x="2666" y="5446"/>
                </a:lnTo>
                <a:lnTo>
                  <a:pt x="2662" y="5454"/>
                </a:lnTo>
                <a:lnTo>
                  <a:pt x="2661" y="5459"/>
                </a:lnTo>
                <a:lnTo>
                  <a:pt x="2658" y="5460"/>
                </a:lnTo>
                <a:lnTo>
                  <a:pt x="2653" y="5459"/>
                </a:lnTo>
                <a:lnTo>
                  <a:pt x="2646" y="5455"/>
                </a:lnTo>
                <a:lnTo>
                  <a:pt x="2639" y="5450"/>
                </a:lnTo>
                <a:lnTo>
                  <a:pt x="2630" y="5443"/>
                </a:lnTo>
                <a:lnTo>
                  <a:pt x="2622" y="5438"/>
                </a:lnTo>
                <a:lnTo>
                  <a:pt x="2615" y="5432"/>
                </a:lnTo>
                <a:lnTo>
                  <a:pt x="2607" y="5427"/>
                </a:lnTo>
                <a:lnTo>
                  <a:pt x="2600" y="5424"/>
                </a:lnTo>
                <a:lnTo>
                  <a:pt x="2592" y="5422"/>
                </a:lnTo>
                <a:lnTo>
                  <a:pt x="2585" y="5422"/>
                </a:lnTo>
                <a:lnTo>
                  <a:pt x="2581" y="5423"/>
                </a:lnTo>
                <a:lnTo>
                  <a:pt x="2577" y="5424"/>
                </a:lnTo>
                <a:lnTo>
                  <a:pt x="2574" y="5426"/>
                </a:lnTo>
                <a:lnTo>
                  <a:pt x="2571" y="5429"/>
                </a:lnTo>
                <a:lnTo>
                  <a:pt x="2564" y="5436"/>
                </a:lnTo>
                <a:lnTo>
                  <a:pt x="2559" y="5444"/>
                </a:lnTo>
                <a:lnTo>
                  <a:pt x="2553" y="5453"/>
                </a:lnTo>
                <a:lnTo>
                  <a:pt x="2548" y="5463"/>
                </a:lnTo>
                <a:lnTo>
                  <a:pt x="2544" y="5472"/>
                </a:lnTo>
                <a:lnTo>
                  <a:pt x="2537" y="5483"/>
                </a:lnTo>
                <a:lnTo>
                  <a:pt x="2531" y="5492"/>
                </a:lnTo>
                <a:lnTo>
                  <a:pt x="2523" y="5499"/>
                </a:lnTo>
                <a:lnTo>
                  <a:pt x="2513" y="5507"/>
                </a:lnTo>
                <a:lnTo>
                  <a:pt x="2505" y="5513"/>
                </a:lnTo>
                <a:lnTo>
                  <a:pt x="2496" y="5521"/>
                </a:lnTo>
                <a:lnTo>
                  <a:pt x="2487" y="5529"/>
                </a:lnTo>
                <a:lnTo>
                  <a:pt x="2471" y="5544"/>
                </a:lnTo>
                <a:lnTo>
                  <a:pt x="2458" y="5559"/>
                </a:lnTo>
                <a:lnTo>
                  <a:pt x="2448" y="5572"/>
                </a:lnTo>
                <a:lnTo>
                  <a:pt x="2440" y="5580"/>
                </a:lnTo>
                <a:lnTo>
                  <a:pt x="2437" y="5584"/>
                </a:lnTo>
                <a:lnTo>
                  <a:pt x="2435" y="5585"/>
                </a:lnTo>
                <a:lnTo>
                  <a:pt x="2432" y="5584"/>
                </a:lnTo>
                <a:lnTo>
                  <a:pt x="2428" y="5584"/>
                </a:lnTo>
                <a:lnTo>
                  <a:pt x="2425" y="5584"/>
                </a:lnTo>
                <a:lnTo>
                  <a:pt x="2422" y="5585"/>
                </a:lnTo>
                <a:lnTo>
                  <a:pt x="2420" y="5586"/>
                </a:lnTo>
                <a:lnTo>
                  <a:pt x="2418" y="5588"/>
                </a:lnTo>
                <a:lnTo>
                  <a:pt x="2416" y="5591"/>
                </a:lnTo>
                <a:lnTo>
                  <a:pt x="2415" y="5594"/>
                </a:lnTo>
                <a:lnTo>
                  <a:pt x="2414" y="5601"/>
                </a:lnTo>
                <a:lnTo>
                  <a:pt x="2416" y="5608"/>
                </a:lnTo>
                <a:lnTo>
                  <a:pt x="2419" y="5617"/>
                </a:lnTo>
                <a:lnTo>
                  <a:pt x="2424" y="5628"/>
                </a:lnTo>
                <a:lnTo>
                  <a:pt x="2431" y="5645"/>
                </a:lnTo>
                <a:lnTo>
                  <a:pt x="2435" y="5656"/>
                </a:lnTo>
                <a:lnTo>
                  <a:pt x="2439" y="5664"/>
                </a:lnTo>
                <a:lnTo>
                  <a:pt x="2442" y="5670"/>
                </a:lnTo>
                <a:lnTo>
                  <a:pt x="2444" y="5675"/>
                </a:lnTo>
                <a:lnTo>
                  <a:pt x="2444" y="5678"/>
                </a:lnTo>
                <a:lnTo>
                  <a:pt x="2443" y="5680"/>
                </a:lnTo>
                <a:lnTo>
                  <a:pt x="2442" y="5682"/>
                </a:lnTo>
                <a:lnTo>
                  <a:pt x="2441" y="5684"/>
                </a:lnTo>
                <a:lnTo>
                  <a:pt x="2438" y="5687"/>
                </a:lnTo>
                <a:lnTo>
                  <a:pt x="2433" y="5689"/>
                </a:lnTo>
                <a:lnTo>
                  <a:pt x="2431" y="5691"/>
                </a:lnTo>
                <a:lnTo>
                  <a:pt x="2429" y="5691"/>
                </a:lnTo>
                <a:lnTo>
                  <a:pt x="2428" y="5691"/>
                </a:lnTo>
                <a:lnTo>
                  <a:pt x="2427" y="5689"/>
                </a:lnTo>
                <a:lnTo>
                  <a:pt x="2426" y="5688"/>
                </a:lnTo>
                <a:lnTo>
                  <a:pt x="2422" y="5682"/>
                </a:lnTo>
                <a:lnTo>
                  <a:pt x="2418" y="5675"/>
                </a:lnTo>
                <a:lnTo>
                  <a:pt x="2413" y="5668"/>
                </a:lnTo>
                <a:lnTo>
                  <a:pt x="2406" y="5661"/>
                </a:lnTo>
                <a:lnTo>
                  <a:pt x="2400" y="5654"/>
                </a:lnTo>
                <a:lnTo>
                  <a:pt x="2392" y="5647"/>
                </a:lnTo>
                <a:lnTo>
                  <a:pt x="2386" y="5642"/>
                </a:lnTo>
                <a:lnTo>
                  <a:pt x="2380" y="5639"/>
                </a:lnTo>
                <a:lnTo>
                  <a:pt x="2375" y="5634"/>
                </a:lnTo>
                <a:lnTo>
                  <a:pt x="2368" y="5629"/>
                </a:lnTo>
                <a:lnTo>
                  <a:pt x="2361" y="5625"/>
                </a:lnTo>
                <a:lnTo>
                  <a:pt x="2352" y="5620"/>
                </a:lnTo>
                <a:lnTo>
                  <a:pt x="2344" y="5618"/>
                </a:lnTo>
                <a:lnTo>
                  <a:pt x="2338" y="5617"/>
                </a:lnTo>
                <a:lnTo>
                  <a:pt x="2334" y="5618"/>
                </a:lnTo>
                <a:lnTo>
                  <a:pt x="2330" y="5619"/>
                </a:lnTo>
                <a:lnTo>
                  <a:pt x="2325" y="5621"/>
                </a:lnTo>
                <a:lnTo>
                  <a:pt x="2322" y="5625"/>
                </a:lnTo>
                <a:lnTo>
                  <a:pt x="2319" y="5630"/>
                </a:lnTo>
                <a:lnTo>
                  <a:pt x="2317" y="5635"/>
                </a:lnTo>
                <a:lnTo>
                  <a:pt x="2315" y="5643"/>
                </a:lnTo>
                <a:lnTo>
                  <a:pt x="2315" y="5649"/>
                </a:lnTo>
                <a:lnTo>
                  <a:pt x="2315" y="5655"/>
                </a:lnTo>
                <a:lnTo>
                  <a:pt x="2317" y="5660"/>
                </a:lnTo>
                <a:lnTo>
                  <a:pt x="2318" y="5665"/>
                </a:lnTo>
                <a:lnTo>
                  <a:pt x="2321" y="5671"/>
                </a:lnTo>
                <a:lnTo>
                  <a:pt x="2325" y="5676"/>
                </a:lnTo>
                <a:lnTo>
                  <a:pt x="2326" y="5679"/>
                </a:lnTo>
                <a:lnTo>
                  <a:pt x="2326" y="5681"/>
                </a:lnTo>
                <a:lnTo>
                  <a:pt x="2323" y="5686"/>
                </a:lnTo>
                <a:lnTo>
                  <a:pt x="2317" y="5694"/>
                </a:lnTo>
                <a:lnTo>
                  <a:pt x="2302" y="5708"/>
                </a:lnTo>
                <a:lnTo>
                  <a:pt x="2292" y="5718"/>
                </a:lnTo>
                <a:lnTo>
                  <a:pt x="2285" y="5723"/>
                </a:lnTo>
                <a:lnTo>
                  <a:pt x="2280" y="5727"/>
                </a:lnTo>
                <a:lnTo>
                  <a:pt x="2277" y="5732"/>
                </a:lnTo>
                <a:lnTo>
                  <a:pt x="2274" y="5736"/>
                </a:lnTo>
                <a:lnTo>
                  <a:pt x="2273" y="5741"/>
                </a:lnTo>
                <a:lnTo>
                  <a:pt x="2274" y="5748"/>
                </a:lnTo>
                <a:lnTo>
                  <a:pt x="2275" y="5755"/>
                </a:lnTo>
                <a:lnTo>
                  <a:pt x="2279" y="5765"/>
                </a:lnTo>
                <a:lnTo>
                  <a:pt x="2283" y="5775"/>
                </a:lnTo>
                <a:lnTo>
                  <a:pt x="2287" y="5782"/>
                </a:lnTo>
                <a:lnTo>
                  <a:pt x="2293" y="5788"/>
                </a:lnTo>
                <a:lnTo>
                  <a:pt x="2297" y="5793"/>
                </a:lnTo>
                <a:lnTo>
                  <a:pt x="2300" y="5795"/>
                </a:lnTo>
                <a:lnTo>
                  <a:pt x="2301" y="5800"/>
                </a:lnTo>
                <a:lnTo>
                  <a:pt x="2302" y="5805"/>
                </a:lnTo>
                <a:lnTo>
                  <a:pt x="2301" y="5814"/>
                </a:lnTo>
                <a:lnTo>
                  <a:pt x="2298" y="5827"/>
                </a:lnTo>
                <a:lnTo>
                  <a:pt x="2296" y="5836"/>
                </a:lnTo>
                <a:lnTo>
                  <a:pt x="2294" y="5842"/>
                </a:lnTo>
                <a:lnTo>
                  <a:pt x="2292" y="5847"/>
                </a:lnTo>
                <a:lnTo>
                  <a:pt x="2288" y="5855"/>
                </a:lnTo>
                <a:lnTo>
                  <a:pt x="2285" y="5865"/>
                </a:lnTo>
                <a:lnTo>
                  <a:pt x="2284" y="5872"/>
                </a:lnTo>
                <a:lnTo>
                  <a:pt x="2283" y="5878"/>
                </a:lnTo>
                <a:lnTo>
                  <a:pt x="2282" y="5884"/>
                </a:lnTo>
                <a:lnTo>
                  <a:pt x="2282" y="5890"/>
                </a:lnTo>
                <a:lnTo>
                  <a:pt x="2282" y="5898"/>
                </a:lnTo>
                <a:lnTo>
                  <a:pt x="2284" y="5905"/>
                </a:lnTo>
                <a:lnTo>
                  <a:pt x="2287" y="5915"/>
                </a:lnTo>
                <a:lnTo>
                  <a:pt x="2292" y="5926"/>
                </a:lnTo>
                <a:lnTo>
                  <a:pt x="2298" y="5939"/>
                </a:lnTo>
                <a:lnTo>
                  <a:pt x="2310" y="5959"/>
                </a:lnTo>
                <a:lnTo>
                  <a:pt x="2321" y="5975"/>
                </a:lnTo>
                <a:lnTo>
                  <a:pt x="2331" y="5988"/>
                </a:lnTo>
                <a:lnTo>
                  <a:pt x="2339" y="5998"/>
                </a:lnTo>
                <a:lnTo>
                  <a:pt x="2350" y="6011"/>
                </a:lnTo>
                <a:lnTo>
                  <a:pt x="2355" y="6018"/>
                </a:lnTo>
                <a:lnTo>
                  <a:pt x="2361" y="6023"/>
                </a:lnTo>
                <a:lnTo>
                  <a:pt x="2366" y="6027"/>
                </a:lnTo>
                <a:lnTo>
                  <a:pt x="2371" y="6030"/>
                </a:lnTo>
                <a:lnTo>
                  <a:pt x="2375" y="6031"/>
                </a:lnTo>
                <a:lnTo>
                  <a:pt x="2380" y="6032"/>
                </a:lnTo>
                <a:lnTo>
                  <a:pt x="2386" y="6033"/>
                </a:lnTo>
                <a:lnTo>
                  <a:pt x="2392" y="6033"/>
                </a:lnTo>
                <a:lnTo>
                  <a:pt x="2403" y="6033"/>
                </a:lnTo>
                <a:lnTo>
                  <a:pt x="2411" y="6033"/>
                </a:lnTo>
                <a:lnTo>
                  <a:pt x="2418" y="6033"/>
                </a:lnTo>
                <a:lnTo>
                  <a:pt x="2425" y="6033"/>
                </a:lnTo>
                <a:lnTo>
                  <a:pt x="2431" y="6035"/>
                </a:lnTo>
                <a:lnTo>
                  <a:pt x="2434" y="6036"/>
                </a:lnTo>
                <a:lnTo>
                  <a:pt x="2439" y="6039"/>
                </a:lnTo>
                <a:lnTo>
                  <a:pt x="2443" y="6043"/>
                </a:lnTo>
                <a:lnTo>
                  <a:pt x="2447" y="6048"/>
                </a:lnTo>
                <a:lnTo>
                  <a:pt x="2456" y="6058"/>
                </a:lnTo>
                <a:lnTo>
                  <a:pt x="2468" y="6072"/>
                </a:lnTo>
                <a:lnTo>
                  <a:pt x="2478" y="6085"/>
                </a:lnTo>
                <a:lnTo>
                  <a:pt x="2486" y="6097"/>
                </a:lnTo>
                <a:lnTo>
                  <a:pt x="2495" y="6108"/>
                </a:lnTo>
                <a:lnTo>
                  <a:pt x="2498" y="6113"/>
                </a:lnTo>
                <a:lnTo>
                  <a:pt x="2505" y="6121"/>
                </a:lnTo>
                <a:lnTo>
                  <a:pt x="2509" y="6130"/>
                </a:lnTo>
                <a:lnTo>
                  <a:pt x="2514" y="6138"/>
                </a:lnTo>
                <a:lnTo>
                  <a:pt x="2518" y="6146"/>
                </a:lnTo>
                <a:lnTo>
                  <a:pt x="2511" y="6150"/>
                </a:lnTo>
                <a:lnTo>
                  <a:pt x="2512" y="6155"/>
                </a:lnTo>
                <a:lnTo>
                  <a:pt x="2514" y="6167"/>
                </a:lnTo>
                <a:lnTo>
                  <a:pt x="2517" y="6173"/>
                </a:lnTo>
                <a:lnTo>
                  <a:pt x="2519" y="6181"/>
                </a:lnTo>
                <a:lnTo>
                  <a:pt x="2522" y="6188"/>
                </a:lnTo>
                <a:lnTo>
                  <a:pt x="2526" y="6196"/>
                </a:lnTo>
                <a:lnTo>
                  <a:pt x="2529" y="6201"/>
                </a:lnTo>
                <a:lnTo>
                  <a:pt x="2532" y="6206"/>
                </a:lnTo>
                <a:lnTo>
                  <a:pt x="2533" y="6211"/>
                </a:lnTo>
                <a:lnTo>
                  <a:pt x="2533" y="6216"/>
                </a:lnTo>
                <a:lnTo>
                  <a:pt x="2531" y="6234"/>
                </a:lnTo>
                <a:lnTo>
                  <a:pt x="2526" y="6267"/>
                </a:lnTo>
                <a:lnTo>
                  <a:pt x="2524" y="6277"/>
                </a:lnTo>
                <a:lnTo>
                  <a:pt x="2522" y="6285"/>
                </a:lnTo>
                <a:lnTo>
                  <a:pt x="2519" y="6290"/>
                </a:lnTo>
                <a:lnTo>
                  <a:pt x="2515" y="6294"/>
                </a:lnTo>
                <a:lnTo>
                  <a:pt x="2512" y="6296"/>
                </a:lnTo>
                <a:lnTo>
                  <a:pt x="2508" y="6296"/>
                </a:lnTo>
                <a:lnTo>
                  <a:pt x="2504" y="6296"/>
                </a:lnTo>
                <a:lnTo>
                  <a:pt x="2499" y="6294"/>
                </a:lnTo>
                <a:lnTo>
                  <a:pt x="2479" y="6281"/>
                </a:lnTo>
                <a:lnTo>
                  <a:pt x="2457" y="6264"/>
                </a:lnTo>
                <a:lnTo>
                  <a:pt x="2446" y="6259"/>
                </a:lnTo>
                <a:lnTo>
                  <a:pt x="2438" y="6255"/>
                </a:lnTo>
                <a:lnTo>
                  <a:pt x="2428" y="6254"/>
                </a:lnTo>
                <a:lnTo>
                  <a:pt x="2419" y="6254"/>
                </a:lnTo>
                <a:lnTo>
                  <a:pt x="2402" y="6259"/>
                </a:lnTo>
                <a:lnTo>
                  <a:pt x="2382" y="6264"/>
                </a:lnTo>
                <a:lnTo>
                  <a:pt x="2374" y="6266"/>
                </a:lnTo>
                <a:lnTo>
                  <a:pt x="2371" y="6267"/>
                </a:lnTo>
                <a:lnTo>
                  <a:pt x="2372" y="6269"/>
                </a:lnTo>
                <a:lnTo>
                  <a:pt x="2375" y="6273"/>
                </a:lnTo>
                <a:lnTo>
                  <a:pt x="2381" y="6276"/>
                </a:lnTo>
                <a:lnTo>
                  <a:pt x="2390" y="6282"/>
                </a:lnTo>
                <a:lnTo>
                  <a:pt x="2401" y="6290"/>
                </a:lnTo>
                <a:lnTo>
                  <a:pt x="2412" y="6302"/>
                </a:lnTo>
                <a:lnTo>
                  <a:pt x="2419" y="6313"/>
                </a:lnTo>
                <a:lnTo>
                  <a:pt x="2424" y="6319"/>
                </a:lnTo>
                <a:lnTo>
                  <a:pt x="2425" y="6322"/>
                </a:lnTo>
                <a:lnTo>
                  <a:pt x="2425" y="6324"/>
                </a:lnTo>
                <a:lnTo>
                  <a:pt x="2425" y="6327"/>
                </a:lnTo>
                <a:lnTo>
                  <a:pt x="2424" y="6328"/>
                </a:lnTo>
                <a:lnTo>
                  <a:pt x="2420" y="6331"/>
                </a:lnTo>
                <a:lnTo>
                  <a:pt x="2416" y="6334"/>
                </a:lnTo>
                <a:lnTo>
                  <a:pt x="2412" y="6340"/>
                </a:lnTo>
                <a:lnTo>
                  <a:pt x="2408" y="6347"/>
                </a:lnTo>
                <a:lnTo>
                  <a:pt x="2406" y="6356"/>
                </a:lnTo>
                <a:lnTo>
                  <a:pt x="2406" y="6362"/>
                </a:lnTo>
                <a:lnTo>
                  <a:pt x="2406" y="6364"/>
                </a:lnTo>
                <a:lnTo>
                  <a:pt x="2407" y="6367"/>
                </a:lnTo>
                <a:lnTo>
                  <a:pt x="2410" y="6368"/>
                </a:lnTo>
                <a:lnTo>
                  <a:pt x="2412" y="6369"/>
                </a:lnTo>
                <a:lnTo>
                  <a:pt x="2424" y="6373"/>
                </a:lnTo>
                <a:lnTo>
                  <a:pt x="2443" y="6376"/>
                </a:lnTo>
                <a:lnTo>
                  <a:pt x="2452" y="6378"/>
                </a:lnTo>
                <a:lnTo>
                  <a:pt x="2456" y="6381"/>
                </a:lnTo>
                <a:lnTo>
                  <a:pt x="2457" y="6383"/>
                </a:lnTo>
                <a:lnTo>
                  <a:pt x="2457" y="6385"/>
                </a:lnTo>
                <a:lnTo>
                  <a:pt x="2457" y="6386"/>
                </a:lnTo>
                <a:lnTo>
                  <a:pt x="2456" y="6389"/>
                </a:lnTo>
                <a:lnTo>
                  <a:pt x="2450" y="6401"/>
                </a:lnTo>
                <a:lnTo>
                  <a:pt x="2440" y="6418"/>
                </a:lnTo>
                <a:lnTo>
                  <a:pt x="2435" y="6428"/>
                </a:lnTo>
                <a:lnTo>
                  <a:pt x="2432" y="6435"/>
                </a:lnTo>
                <a:lnTo>
                  <a:pt x="2429" y="6439"/>
                </a:lnTo>
                <a:lnTo>
                  <a:pt x="2427" y="6441"/>
                </a:lnTo>
                <a:lnTo>
                  <a:pt x="2424" y="6442"/>
                </a:lnTo>
                <a:lnTo>
                  <a:pt x="2422" y="6442"/>
                </a:lnTo>
                <a:lnTo>
                  <a:pt x="2370" y="6483"/>
                </a:lnTo>
                <a:lnTo>
                  <a:pt x="2371" y="6488"/>
                </a:lnTo>
                <a:lnTo>
                  <a:pt x="2376" y="6498"/>
                </a:lnTo>
                <a:lnTo>
                  <a:pt x="2381" y="6505"/>
                </a:lnTo>
                <a:lnTo>
                  <a:pt x="2389" y="6515"/>
                </a:lnTo>
                <a:lnTo>
                  <a:pt x="2400" y="6524"/>
                </a:lnTo>
                <a:lnTo>
                  <a:pt x="2414" y="6535"/>
                </a:lnTo>
                <a:lnTo>
                  <a:pt x="2428" y="6546"/>
                </a:lnTo>
                <a:lnTo>
                  <a:pt x="2439" y="6556"/>
                </a:lnTo>
                <a:lnTo>
                  <a:pt x="2443" y="6561"/>
                </a:lnTo>
                <a:lnTo>
                  <a:pt x="2447" y="6566"/>
                </a:lnTo>
                <a:lnTo>
                  <a:pt x="2451" y="6572"/>
                </a:lnTo>
                <a:lnTo>
                  <a:pt x="2453" y="6577"/>
                </a:lnTo>
                <a:lnTo>
                  <a:pt x="2457" y="6590"/>
                </a:lnTo>
                <a:lnTo>
                  <a:pt x="2461" y="6605"/>
                </a:lnTo>
                <a:lnTo>
                  <a:pt x="2465" y="6623"/>
                </a:lnTo>
                <a:lnTo>
                  <a:pt x="2468" y="6645"/>
                </a:lnTo>
                <a:lnTo>
                  <a:pt x="2471" y="6661"/>
                </a:lnTo>
                <a:lnTo>
                  <a:pt x="2473" y="6674"/>
                </a:lnTo>
                <a:lnTo>
                  <a:pt x="2448" y="6687"/>
                </a:lnTo>
                <a:lnTo>
                  <a:pt x="2425" y="6699"/>
                </a:lnTo>
                <a:lnTo>
                  <a:pt x="2401" y="6711"/>
                </a:lnTo>
                <a:lnTo>
                  <a:pt x="2376" y="6724"/>
                </a:lnTo>
                <a:lnTo>
                  <a:pt x="2352" y="6736"/>
                </a:lnTo>
                <a:lnTo>
                  <a:pt x="2328" y="6748"/>
                </a:lnTo>
                <a:lnTo>
                  <a:pt x="2305" y="6760"/>
                </a:lnTo>
                <a:lnTo>
                  <a:pt x="2280" y="6773"/>
                </a:lnTo>
                <a:lnTo>
                  <a:pt x="2212" y="6769"/>
                </a:lnTo>
                <a:lnTo>
                  <a:pt x="2207" y="6767"/>
                </a:lnTo>
                <a:lnTo>
                  <a:pt x="2194" y="6761"/>
                </a:lnTo>
                <a:lnTo>
                  <a:pt x="2186" y="6754"/>
                </a:lnTo>
                <a:lnTo>
                  <a:pt x="2176" y="6748"/>
                </a:lnTo>
                <a:lnTo>
                  <a:pt x="2167" y="6739"/>
                </a:lnTo>
                <a:lnTo>
                  <a:pt x="2158" y="6729"/>
                </a:lnTo>
                <a:lnTo>
                  <a:pt x="2149" y="6720"/>
                </a:lnTo>
                <a:lnTo>
                  <a:pt x="2140" y="6711"/>
                </a:lnTo>
                <a:lnTo>
                  <a:pt x="2133" y="6705"/>
                </a:lnTo>
                <a:lnTo>
                  <a:pt x="2125" y="6699"/>
                </a:lnTo>
                <a:lnTo>
                  <a:pt x="2112" y="6692"/>
                </a:lnTo>
                <a:lnTo>
                  <a:pt x="2100" y="6686"/>
                </a:lnTo>
                <a:lnTo>
                  <a:pt x="2082" y="6683"/>
                </a:lnTo>
                <a:lnTo>
                  <a:pt x="2055" y="6682"/>
                </a:lnTo>
                <a:lnTo>
                  <a:pt x="2042" y="6681"/>
                </a:lnTo>
                <a:lnTo>
                  <a:pt x="2030" y="6679"/>
                </a:lnTo>
                <a:lnTo>
                  <a:pt x="2019" y="6677"/>
                </a:lnTo>
                <a:lnTo>
                  <a:pt x="2013" y="6673"/>
                </a:lnTo>
                <a:lnTo>
                  <a:pt x="2005" y="6669"/>
                </a:lnTo>
                <a:lnTo>
                  <a:pt x="1994" y="6665"/>
                </a:lnTo>
                <a:lnTo>
                  <a:pt x="1980" y="6659"/>
                </a:lnTo>
                <a:lnTo>
                  <a:pt x="1963" y="6654"/>
                </a:lnTo>
                <a:lnTo>
                  <a:pt x="1944" y="6648"/>
                </a:lnTo>
                <a:lnTo>
                  <a:pt x="1923" y="6643"/>
                </a:lnTo>
                <a:lnTo>
                  <a:pt x="1903" y="6639"/>
                </a:lnTo>
                <a:lnTo>
                  <a:pt x="1882" y="6636"/>
                </a:lnTo>
                <a:lnTo>
                  <a:pt x="1846" y="6630"/>
                </a:lnTo>
                <a:lnTo>
                  <a:pt x="1818" y="6627"/>
                </a:lnTo>
                <a:lnTo>
                  <a:pt x="1807" y="6625"/>
                </a:lnTo>
                <a:lnTo>
                  <a:pt x="1797" y="6621"/>
                </a:lnTo>
                <a:lnTo>
                  <a:pt x="1788" y="6618"/>
                </a:lnTo>
                <a:lnTo>
                  <a:pt x="1780" y="6614"/>
                </a:lnTo>
                <a:lnTo>
                  <a:pt x="1775" y="6607"/>
                </a:lnTo>
                <a:lnTo>
                  <a:pt x="1771" y="6602"/>
                </a:lnTo>
                <a:lnTo>
                  <a:pt x="1766" y="6596"/>
                </a:lnTo>
                <a:lnTo>
                  <a:pt x="1764" y="6588"/>
                </a:lnTo>
                <a:lnTo>
                  <a:pt x="1761" y="6580"/>
                </a:lnTo>
                <a:lnTo>
                  <a:pt x="1758" y="6572"/>
                </a:lnTo>
                <a:lnTo>
                  <a:pt x="1754" y="6564"/>
                </a:lnTo>
                <a:lnTo>
                  <a:pt x="1749" y="6555"/>
                </a:lnTo>
                <a:lnTo>
                  <a:pt x="1744" y="6548"/>
                </a:lnTo>
                <a:lnTo>
                  <a:pt x="1738" y="6543"/>
                </a:lnTo>
                <a:lnTo>
                  <a:pt x="1732" y="6540"/>
                </a:lnTo>
                <a:lnTo>
                  <a:pt x="1725" y="6538"/>
                </a:lnTo>
                <a:lnTo>
                  <a:pt x="1719" y="6536"/>
                </a:lnTo>
                <a:lnTo>
                  <a:pt x="1711" y="6533"/>
                </a:lnTo>
                <a:lnTo>
                  <a:pt x="1703" y="6526"/>
                </a:lnTo>
                <a:lnTo>
                  <a:pt x="1694" y="6518"/>
                </a:lnTo>
                <a:lnTo>
                  <a:pt x="1683" y="6507"/>
                </a:lnTo>
                <a:lnTo>
                  <a:pt x="1674" y="6498"/>
                </a:lnTo>
                <a:lnTo>
                  <a:pt x="1666" y="6491"/>
                </a:lnTo>
                <a:lnTo>
                  <a:pt x="1657" y="6483"/>
                </a:lnTo>
                <a:lnTo>
                  <a:pt x="1647" y="6478"/>
                </a:lnTo>
                <a:lnTo>
                  <a:pt x="1639" y="6474"/>
                </a:lnTo>
                <a:lnTo>
                  <a:pt x="1629" y="6469"/>
                </a:lnTo>
                <a:lnTo>
                  <a:pt x="1619" y="6465"/>
                </a:lnTo>
                <a:lnTo>
                  <a:pt x="1608" y="6461"/>
                </a:lnTo>
                <a:lnTo>
                  <a:pt x="1600" y="6454"/>
                </a:lnTo>
                <a:lnTo>
                  <a:pt x="1591" y="6448"/>
                </a:lnTo>
                <a:lnTo>
                  <a:pt x="1584" y="6440"/>
                </a:lnTo>
                <a:lnTo>
                  <a:pt x="1573" y="6426"/>
                </a:lnTo>
                <a:lnTo>
                  <a:pt x="1564" y="6415"/>
                </a:lnTo>
                <a:lnTo>
                  <a:pt x="1563" y="6413"/>
                </a:lnTo>
                <a:lnTo>
                  <a:pt x="1563" y="6411"/>
                </a:lnTo>
                <a:lnTo>
                  <a:pt x="1563" y="6410"/>
                </a:lnTo>
                <a:lnTo>
                  <a:pt x="1564" y="6409"/>
                </a:lnTo>
                <a:lnTo>
                  <a:pt x="1567" y="6408"/>
                </a:lnTo>
                <a:lnTo>
                  <a:pt x="1572" y="6407"/>
                </a:lnTo>
                <a:lnTo>
                  <a:pt x="1584" y="6407"/>
                </a:lnTo>
                <a:lnTo>
                  <a:pt x="1593" y="6407"/>
                </a:lnTo>
                <a:lnTo>
                  <a:pt x="1602" y="6407"/>
                </a:lnTo>
                <a:lnTo>
                  <a:pt x="1615" y="6409"/>
                </a:lnTo>
                <a:lnTo>
                  <a:pt x="1626" y="6412"/>
                </a:lnTo>
                <a:lnTo>
                  <a:pt x="1630" y="6413"/>
                </a:lnTo>
                <a:lnTo>
                  <a:pt x="1632" y="6410"/>
                </a:lnTo>
                <a:lnTo>
                  <a:pt x="1638" y="6400"/>
                </a:lnTo>
                <a:lnTo>
                  <a:pt x="1643" y="6386"/>
                </a:lnTo>
                <a:lnTo>
                  <a:pt x="1647" y="6369"/>
                </a:lnTo>
                <a:lnTo>
                  <a:pt x="1648" y="6361"/>
                </a:lnTo>
                <a:lnTo>
                  <a:pt x="1647" y="6356"/>
                </a:lnTo>
                <a:lnTo>
                  <a:pt x="1645" y="6353"/>
                </a:lnTo>
                <a:lnTo>
                  <a:pt x="1643" y="6350"/>
                </a:lnTo>
                <a:lnTo>
                  <a:pt x="1640" y="6348"/>
                </a:lnTo>
                <a:lnTo>
                  <a:pt x="1636" y="6347"/>
                </a:lnTo>
                <a:lnTo>
                  <a:pt x="1633" y="6344"/>
                </a:lnTo>
                <a:lnTo>
                  <a:pt x="1630" y="6341"/>
                </a:lnTo>
                <a:lnTo>
                  <a:pt x="1629" y="6337"/>
                </a:lnTo>
                <a:lnTo>
                  <a:pt x="1629" y="6335"/>
                </a:lnTo>
                <a:lnTo>
                  <a:pt x="1630" y="6332"/>
                </a:lnTo>
                <a:lnTo>
                  <a:pt x="1631" y="6329"/>
                </a:lnTo>
                <a:lnTo>
                  <a:pt x="1634" y="6322"/>
                </a:lnTo>
                <a:lnTo>
                  <a:pt x="1640" y="6317"/>
                </a:lnTo>
                <a:lnTo>
                  <a:pt x="1646" y="6310"/>
                </a:lnTo>
                <a:lnTo>
                  <a:pt x="1654" y="6305"/>
                </a:lnTo>
                <a:lnTo>
                  <a:pt x="1661" y="6300"/>
                </a:lnTo>
                <a:lnTo>
                  <a:pt x="1670" y="6296"/>
                </a:lnTo>
                <a:lnTo>
                  <a:pt x="1674" y="6294"/>
                </a:lnTo>
                <a:lnTo>
                  <a:pt x="1678" y="6292"/>
                </a:lnTo>
                <a:lnTo>
                  <a:pt x="1679" y="6291"/>
                </a:lnTo>
                <a:lnTo>
                  <a:pt x="1681" y="6289"/>
                </a:lnTo>
                <a:lnTo>
                  <a:pt x="1682" y="6285"/>
                </a:lnTo>
                <a:lnTo>
                  <a:pt x="1681" y="6279"/>
                </a:lnTo>
                <a:lnTo>
                  <a:pt x="1676" y="6269"/>
                </a:lnTo>
                <a:lnTo>
                  <a:pt x="1670" y="6260"/>
                </a:lnTo>
                <a:lnTo>
                  <a:pt x="1668" y="6255"/>
                </a:lnTo>
                <a:lnTo>
                  <a:pt x="1664" y="6250"/>
                </a:lnTo>
                <a:lnTo>
                  <a:pt x="1659" y="6245"/>
                </a:lnTo>
                <a:lnTo>
                  <a:pt x="1653" y="6239"/>
                </a:lnTo>
                <a:lnTo>
                  <a:pt x="1640" y="6227"/>
                </a:lnTo>
                <a:lnTo>
                  <a:pt x="1626" y="6214"/>
                </a:lnTo>
                <a:lnTo>
                  <a:pt x="1624" y="6211"/>
                </a:lnTo>
                <a:lnTo>
                  <a:pt x="1621" y="6209"/>
                </a:lnTo>
                <a:lnTo>
                  <a:pt x="1621" y="6206"/>
                </a:lnTo>
                <a:lnTo>
                  <a:pt x="1623" y="6205"/>
                </a:lnTo>
                <a:lnTo>
                  <a:pt x="1626" y="6202"/>
                </a:lnTo>
                <a:lnTo>
                  <a:pt x="1631" y="6201"/>
                </a:lnTo>
                <a:lnTo>
                  <a:pt x="1647" y="6202"/>
                </a:lnTo>
                <a:lnTo>
                  <a:pt x="1664" y="6205"/>
                </a:lnTo>
                <a:lnTo>
                  <a:pt x="1669" y="6205"/>
                </a:lnTo>
                <a:lnTo>
                  <a:pt x="1672" y="6204"/>
                </a:lnTo>
                <a:lnTo>
                  <a:pt x="1676" y="6202"/>
                </a:lnTo>
                <a:lnTo>
                  <a:pt x="1677" y="6199"/>
                </a:lnTo>
                <a:lnTo>
                  <a:pt x="1680" y="6191"/>
                </a:lnTo>
                <a:lnTo>
                  <a:pt x="1683" y="6179"/>
                </a:lnTo>
                <a:lnTo>
                  <a:pt x="1686" y="6173"/>
                </a:lnTo>
                <a:lnTo>
                  <a:pt x="1692" y="6169"/>
                </a:lnTo>
                <a:lnTo>
                  <a:pt x="1698" y="6165"/>
                </a:lnTo>
                <a:lnTo>
                  <a:pt x="1706" y="6161"/>
                </a:lnTo>
                <a:lnTo>
                  <a:pt x="1713" y="6158"/>
                </a:lnTo>
                <a:lnTo>
                  <a:pt x="1721" y="6153"/>
                </a:lnTo>
                <a:lnTo>
                  <a:pt x="1728" y="6147"/>
                </a:lnTo>
                <a:lnTo>
                  <a:pt x="1736" y="6139"/>
                </a:lnTo>
                <a:lnTo>
                  <a:pt x="1739" y="6133"/>
                </a:lnTo>
                <a:lnTo>
                  <a:pt x="1741" y="6130"/>
                </a:lnTo>
                <a:lnTo>
                  <a:pt x="1743" y="6126"/>
                </a:lnTo>
                <a:lnTo>
                  <a:pt x="1743" y="6123"/>
                </a:lnTo>
                <a:lnTo>
                  <a:pt x="1743" y="6118"/>
                </a:lnTo>
                <a:lnTo>
                  <a:pt x="1741" y="6116"/>
                </a:lnTo>
                <a:lnTo>
                  <a:pt x="1739" y="6113"/>
                </a:lnTo>
                <a:lnTo>
                  <a:pt x="1738" y="6110"/>
                </a:lnTo>
                <a:lnTo>
                  <a:pt x="1728" y="6101"/>
                </a:lnTo>
                <a:lnTo>
                  <a:pt x="1719" y="6091"/>
                </a:lnTo>
                <a:lnTo>
                  <a:pt x="1716" y="6088"/>
                </a:lnTo>
                <a:lnTo>
                  <a:pt x="1711" y="6086"/>
                </a:lnTo>
                <a:lnTo>
                  <a:pt x="1706" y="6086"/>
                </a:lnTo>
                <a:lnTo>
                  <a:pt x="1698" y="6086"/>
                </a:lnTo>
                <a:lnTo>
                  <a:pt x="1688" y="6087"/>
                </a:lnTo>
                <a:lnTo>
                  <a:pt x="1677" y="6088"/>
                </a:lnTo>
                <a:lnTo>
                  <a:pt x="1663" y="6089"/>
                </a:lnTo>
                <a:lnTo>
                  <a:pt x="1644" y="6088"/>
                </a:lnTo>
                <a:lnTo>
                  <a:pt x="1637" y="6088"/>
                </a:lnTo>
                <a:lnTo>
                  <a:pt x="1630" y="6087"/>
                </a:lnTo>
                <a:lnTo>
                  <a:pt x="1626" y="6085"/>
                </a:lnTo>
                <a:lnTo>
                  <a:pt x="1624" y="6083"/>
                </a:lnTo>
                <a:lnTo>
                  <a:pt x="1623" y="6080"/>
                </a:lnTo>
                <a:lnTo>
                  <a:pt x="1623" y="6077"/>
                </a:lnTo>
                <a:lnTo>
                  <a:pt x="1625" y="6074"/>
                </a:lnTo>
                <a:lnTo>
                  <a:pt x="1628" y="6071"/>
                </a:lnTo>
                <a:lnTo>
                  <a:pt x="1645" y="6054"/>
                </a:lnTo>
                <a:lnTo>
                  <a:pt x="1664" y="6035"/>
                </a:lnTo>
                <a:lnTo>
                  <a:pt x="1667" y="6031"/>
                </a:lnTo>
                <a:lnTo>
                  <a:pt x="1670" y="6027"/>
                </a:lnTo>
                <a:lnTo>
                  <a:pt x="1673" y="6024"/>
                </a:lnTo>
                <a:lnTo>
                  <a:pt x="1678" y="6023"/>
                </a:lnTo>
                <a:lnTo>
                  <a:pt x="1681" y="6021"/>
                </a:lnTo>
                <a:lnTo>
                  <a:pt x="1684" y="6021"/>
                </a:lnTo>
                <a:lnTo>
                  <a:pt x="1688" y="6021"/>
                </a:lnTo>
                <a:lnTo>
                  <a:pt x="1692" y="6022"/>
                </a:lnTo>
                <a:lnTo>
                  <a:pt x="1708" y="6026"/>
                </a:lnTo>
                <a:lnTo>
                  <a:pt x="1726" y="6033"/>
                </a:lnTo>
                <a:lnTo>
                  <a:pt x="1735" y="6034"/>
                </a:lnTo>
                <a:lnTo>
                  <a:pt x="1741" y="6035"/>
                </a:lnTo>
                <a:lnTo>
                  <a:pt x="1747" y="6034"/>
                </a:lnTo>
                <a:lnTo>
                  <a:pt x="1750" y="6032"/>
                </a:lnTo>
                <a:lnTo>
                  <a:pt x="1753" y="6029"/>
                </a:lnTo>
                <a:lnTo>
                  <a:pt x="1756" y="6023"/>
                </a:lnTo>
                <a:lnTo>
                  <a:pt x="1757" y="6018"/>
                </a:lnTo>
                <a:lnTo>
                  <a:pt x="1758" y="6009"/>
                </a:lnTo>
                <a:lnTo>
                  <a:pt x="1761" y="5994"/>
                </a:lnTo>
                <a:lnTo>
                  <a:pt x="1764" y="5980"/>
                </a:lnTo>
                <a:lnTo>
                  <a:pt x="1765" y="5972"/>
                </a:lnTo>
                <a:lnTo>
                  <a:pt x="1766" y="5964"/>
                </a:lnTo>
                <a:lnTo>
                  <a:pt x="1766" y="5955"/>
                </a:lnTo>
                <a:lnTo>
                  <a:pt x="1766" y="5945"/>
                </a:lnTo>
                <a:lnTo>
                  <a:pt x="1766" y="5940"/>
                </a:lnTo>
                <a:lnTo>
                  <a:pt x="1764" y="5936"/>
                </a:lnTo>
                <a:lnTo>
                  <a:pt x="1763" y="5932"/>
                </a:lnTo>
                <a:lnTo>
                  <a:pt x="1761" y="5928"/>
                </a:lnTo>
                <a:lnTo>
                  <a:pt x="1757" y="5923"/>
                </a:lnTo>
                <a:lnTo>
                  <a:pt x="1751" y="5918"/>
                </a:lnTo>
                <a:lnTo>
                  <a:pt x="1746" y="5914"/>
                </a:lnTo>
                <a:lnTo>
                  <a:pt x="1743" y="5909"/>
                </a:lnTo>
                <a:lnTo>
                  <a:pt x="1740" y="5907"/>
                </a:lnTo>
                <a:lnTo>
                  <a:pt x="1739" y="5903"/>
                </a:lnTo>
                <a:lnTo>
                  <a:pt x="1739" y="5900"/>
                </a:lnTo>
                <a:lnTo>
                  <a:pt x="1739" y="5897"/>
                </a:lnTo>
                <a:lnTo>
                  <a:pt x="1740" y="5890"/>
                </a:lnTo>
                <a:lnTo>
                  <a:pt x="1744" y="5885"/>
                </a:lnTo>
                <a:lnTo>
                  <a:pt x="1746" y="5882"/>
                </a:lnTo>
                <a:lnTo>
                  <a:pt x="1748" y="5878"/>
                </a:lnTo>
                <a:lnTo>
                  <a:pt x="1750" y="5876"/>
                </a:lnTo>
                <a:lnTo>
                  <a:pt x="1751" y="5872"/>
                </a:lnTo>
                <a:lnTo>
                  <a:pt x="1750" y="5867"/>
                </a:lnTo>
                <a:lnTo>
                  <a:pt x="1748" y="5858"/>
                </a:lnTo>
                <a:lnTo>
                  <a:pt x="1745" y="5849"/>
                </a:lnTo>
                <a:lnTo>
                  <a:pt x="1745" y="5843"/>
                </a:lnTo>
                <a:lnTo>
                  <a:pt x="1746" y="5838"/>
                </a:lnTo>
                <a:lnTo>
                  <a:pt x="1748" y="5834"/>
                </a:lnTo>
                <a:lnTo>
                  <a:pt x="1751" y="5830"/>
                </a:lnTo>
                <a:lnTo>
                  <a:pt x="1754" y="5826"/>
                </a:lnTo>
                <a:lnTo>
                  <a:pt x="1758" y="5820"/>
                </a:lnTo>
                <a:lnTo>
                  <a:pt x="1761" y="5813"/>
                </a:lnTo>
                <a:lnTo>
                  <a:pt x="1762" y="5803"/>
                </a:lnTo>
                <a:lnTo>
                  <a:pt x="1764" y="5791"/>
                </a:lnTo>
                <a:lnTo>
                  <a:pt x="1764" y="5778"/>
                </a:lnTo>
                <a:lnTo>
                  <a:pt x="1764" y="5765"/>
                </a:lnTo>
                <a:lnTo>
                  <a:pt x="1762" y="5753"/>
                </a:lnTo>
                <a:lnTo>
                  <a:pt x="1760" y="5742"/>
                </a:lnTo>
                <a:lnTo>
                  <a:pt x="1758" y="5738"/>
                </a:lnTo>
                <a:lnTo>
                  <a:pt x="1756" y="5734"/>
                </a:lnTo>
                <a:lnTo>
                  <a:pt x="1753" y="5732"/>
                </a:lnTo>
                <a:lnTo>
                  <a:pt x="1750" y="5729"/>
                </a:lnTo>
                <a:lnTo>
                  <a:pt x="1745" y="5727"/>
                </a:lnTo>
                <a:lnTo>
                  <a:pt x="1740" y="5726"/>
                </a:lnTo>
                <a:lnTo>
                  <a:pt x="1736" y="5726"/>
                </a:lnTo>
                <a:lnTo>
                  <a:pt x="1733" y="5727"/>
                </a:lnTo>
                <a:lnTo>
                  <a:pt x="1728" y="5728"/>
                </a:lnTo>
                <a:lnTo>
                  <a:pt x="1724" y="5729"/>
                </a:lnTo>
                <a:lnTo>
                  <a:pt x="1719" y="5729"/>
                </a:lnTo>
                <a:lnTo>
                  <a:pt x="1712" y="5729"/>
                </a:lnTo>
                <a:lnTo>
                  <a:pt x="1706" y="5727"/>
                </a:lnTo>
                <a:lnTo>
                  <a:pt x="1701" y="5725"/>
                </a:lnTo>
                <a:lnTo>
                  <a:pt x="1698" y="5721"/>
                </a:lnTo>
                <a:lnTo>
                  <a:pt x="1695" y="5718"/>
                </a:lnTo>
                <a:lnTo>
                  <a:pt x="1692" y="5713"/>
                </a:lnTo>
                <a:lnTo>
                  <a:pt x="1688" y="5710"/>
                </a:lnTo>
                <a:lnTo>
                  <a:pt x="1684" y="5707"/>
                </a:lnTo>
                <a:lnTo>
                  <a:pt x="1678" y="5705"/>
                </a:lnTo>
                <a:lnTo>
                  <a:pt x="1654" y="5698"/>
                </a:lnTo>
                <a:lnTo>
                  <a:pt x="1620" y="5688"/>
                </a:lnTo>
                <a:lnTo>
                  <a:pt x="1590" y="5680"/>
                </a:lnTo>
                <a:lnTo>
                  <a:pt x="1577" y="5676"/>
                </a:lnTo>
                <a:lnTo>
                  <a:pt x="1572" y="5670"/>
                </a:lnTo>
                <a:lnTo>
                  <a:pt x="1560" y="5655"/>
                </a:lnTo>
                <a:lnTo>
                  <a:pt x="1552" y="5644"/>
                </a:lnTo>
                <a:lnTo>
                  <a:pt x="1545" y="5633"/>
                </a:lnTo>
                <a:lnTo>
                  <a:pt x="1538" y="5621"/>
                </a:lnTo>
                <a:lnTo>
                  <a:pt x="1533" y="5611"/>
                </a:lnTo>
                <a:lnTo>
                  <a:pt x="1531" y="5605"/>
                </a:lnTo>
                <a:lnTo>
                  <a:pt x="1527" y="5602"/>
                </a:lnTo>
                <a:lnTo>
                  <a:pt x="1524" y="5600"/>
                </a:lnTo>
                <a:lnTo>
                  <a:pt x="1521" y="5599"/>
                </a:lnTo>
                <a:lnTo>
                  <a:pt x="1518" y="5599"/>
                </a:lnTo>
                <a:lnTo>
                  <a:pt x="1513" y="5600"/>
                </a:lnTo>
                <a:lnTo>
                  <a:pt x="1510" y="5601"/>
                </a:lnTo>
                <a:lnTo>
                  <a:pt x="1506" y="5603"/>
                </a:lnTo>
                <a:lnTo>
                  <a:pt x="1490" y="5615"/>
                </a:lnTo>
                <a:lnTo>
                  <a:pt x="1472" y="5625"/>
                </a:lnTo>
                <a:lnTo>
                  <a:pt x="1464" y="5627"/>
                </a:lnTo>
                <a:lnTo>
                  <a:pt x="1454" y="5628"/>
                </a:lnTo>
                <a:lnTo>
                  <a:pt x="1442" y="5629"/>
                </a:lnTo>
                <a:lnTo>
                  <a:pt x="1430" y="5629"/>
                </a:lnTo>
                <a:lnTo>
                  <a:pt x="1416" y="5628"/>
                </a:lnTo>
                <a:lnTo>
                  <a:pt x="1401" y="5626"/>
                </a:lnTo>
                <a:lnTo>
                  <a:pt x="1386" y="5622"/>
                </a:lnTo>
                <a:lnTo>
                  <a:pt x="1370" y="5619"/>
                </a:lnTo>
                <a:lnTo>
                  <a:pt x="1362" y="5617"/>
                </a:lnTo>
                <a:lnTo>
                  <a:pt x="1356" y="5615"/>
                </a:lnTo>
                <a:lnTo>
                  <a:pt x="1351" y="5613"/>
                </a:lnTo>
                <a:lnTo>
                  <a:pt x="1348" y="5611"/>
                </a:lnTo>
                <a:lnTo>
                  <a:pt x="1346" y="5607"/>
                </a:lnTo>
                <a:lnTo>
                  <a:pt x="1344" y="5605"/>
                </a:lnTo>
                <a:lnTo>
                  <a:pt x="1344" y="5603"/>
                </a:lnTo>
                <a:lnTo>
                  <a:pt x="1344" y="5600"/>
                </a:lnTo>
                <a:lnTo>
                  <a:pt x="1350" y="5586"/>
                </a:lnTo>
                <a:lnTo>
                  <a:pt x="1358" y="5564"/>
                </a:lnTo>
                <a:lnTo>
                  <a:pt x="1359" y="5559"/>
                </a:lnTo>
                <a:lnTo>
                  <a:pt x="1360" y="5553"/>
                </a:lnTo>
                <a:lnTo>
                  <a:pt x="1360" y="5550"/>
                </a:lnTo>
                <a:lnTo>
                  <a:pt x="1359" y="5546"/>
                </a:lnTo>
                <a:lnTo>
                  <a:pt x="1358" y="5544"/>
                </a:lnTo>
                <a:lnTo>
                  <a:pt x="1356" y="5540"/>
                </a:lnTo>
                <a:lnTo>
                  <a:pt x="1354" y="5538"/>
                </a:lnTo>
                <a:lnTo>
                  <a:pt x="1351" y="5537"/>
                </a:lnTo>
                <a:lnTo>
                  <a:pt x="1340" y="5533"/>
                </a:lnTo>
                <a:lnTo>
                  <a:pt x="1327" y="5531"/>
                </a:lnTo>
                <a:lnTo>
                  <a:pt x="1314" y="5526"/>
                </a:lnTo>
                <a:lnTo>
                  <a:pt x="1294" y="5521"/>
                </a:lnTo>
                <a:lnTo>
                  <a:pt x="1282" y="5517"/>
                </a:lnTo>
                <a:lnTo>
                  <a:pt x="1268" y="5510"/>
                </a:lnTo>
                <a:lnTo>
                  <a:pt x="1253" y="5502"/>
                </a:lnTo>
                <a:lnTo>
                  <a:pt x="1237" y="5490"/>
                </a:lnTo>
                <a:lnTo>
                  <a:pt x="1229" y="5484"/>
                </a:lnTo>
                <a:lnTo>
                  <a:pt x="1223" y="5478"/>
                </a:lnTo>
                <a:lnTo>
                  <a:pt x="1219" y="5473"/>
                </a:lnTo>
                <a:lnTo>
                  <a:pt x="1217" y="5468"/>
                </a:lnTo>
                <a:lnTo>
                  <a:pt x="1217" y="5464"/>
                </a:lnTo>
                <a:lnTo>
                  <a:pt x="1218" y="5459"/>
                </a:lnTo>
                <a:lnTo>
                  <a:pt x="1220" y="5455"/>
                </a:lnTo>
                <a:lnTo>
                  <a:pt x="1223" y="5451"/>
                </a:lnTo>
                <a:lnTo>
                  <a:pt x="1230" y="5443"/>
                </a:lnTo>
                <a:lnTo>
                  <a:pt x="1239" y="5433"/>
                </a:lnTo>
                <a:lnTo>
                  <a:pt x="1242" y="5429"/>
                </a:lnTo>
                <a:lnTo>
                  <a:pt x="1246" y="5424"/>
                </a:lnTo>
                <a:lnTo>
                  <a:pt x="1249" y="5418"/>
                </a:lnTo>
                <a:lnTo>
                  <a:pt x="1251" y="5413"/>
                </a:lnTo>
                <a:lnTo>
                  <a:pt x="1252" y="5406"/>
                </a:lnTo>
                <a:lnTo>
                  <a:pt x="1251" y="5401"/>
                </a:lnTo>
                <a:lnTo>
                  <a:pt x="1250" y="5396"/>
                </a:lnTo>
                <a:lnTo>
                  <a:pt x="1247" y="5390"/>
                </a:lnTo>
                <a:lnTo>
                  <a:pt x="1244" y="5385"/>
                </a:lnTo>
                <a:lnTo>
                  <a:pt x="1240" y="5379"/>
                </a:lnTo>
                <a:lnTo>
                  <a:pt x="1234" y="5374"/>
                </a:lnTo>
                <a:lnTo>
                  <a:pt x="1229" y="5369"/>
                </a:lnTo>
                <a:lnTo>
                  <a:pt x="1200" y="5347"/>
                </a:lnTo>
                <a:lnTo>
                  <a:pt x="1163" y="5322"/>
                </a:lnTo>
                <a:lnTo>
                  <a:pt x="1154" y="5317"/>
                </a:lnTo>
                <a:lnTo>
                  <a:pt x="1146" y="5313"/>
                </a:lnTo>
                <a:lnTo>
                  <a:pt x="1138" y="5310"/>
                </a:lnTo>
                <a:lnTo>
                  <a:pt x="1133" y="5309"/>
                </a:lnTo>
                <a:lnTo>
                  <a:pt x="1127" y="5309"/>
                </a:lnTo>
                <a:lnTo>
                  <a:pt x="1122" y="5311"/>
                </a:lnTo>
                <a:lnTo>
                  <a:pt x="1118" y="5314"/>
                </a:lnTo>
                <a:lnTo>
                  <a:pt x="1114" y="5316"/>
                </a:lnTo>
                <a:lnTo>
                  <a:pt x="1103" y="5331"/>
                </a:lnTo>
                <a:lnTo>
                  <a:pt x="1093" y="5343"/>
                </a:lnTo>
                <a:lnTo>
                  <a:pt x="1090" y="5344"/>
                </a:lnTo>
                <a:lnTo>
                  <a:pt x="1084" y="5343"/>
                </a:lnTo>
                <a:lnTo>
                  <a:pt x="1078" y="5341"/>
                </a:lnTo>
                <a:lnTo>
                  <a:pt x="1069" y="5338"/>
                </a:lnTo>
                <a:lnTo>
                  <a:pt x="1052" y="5331"/>
                </a:lnTo>
                <a:lnTo>
                  <a:pt x="1034" y="5324"/>
                </a:lnTo>
                <a:lnTo>
                  <a:pt x="1026" y="5322"/>
                </a:lnTo>
                <a:lnTo>
                  <a:pt x="1018" y="5320"/>
                </a:lnTo>
                <a:lnTo>
                  <a:pt x="1013" y="5320"/>
                </a:lnTo>
                <a:lnTo>
                  <a:pt x="1007" y="5322"/>
                </a:lnTo>
                <a:lnTo>
                  <a:pt x="1006" y="5323"/>
                </a:lnTo>
                <a:lnTo>
                  <a:pt x="1004" y="5325"/>
                </a:lnTo>
                <a:lnTo>
                  <a:pt x="1004" y="5329"/>
                </a:lnTo>
                <a:lnTo>
                  <a:pt x="1004" y="5332"/>
                </a:lnTo>
                <a:lnTo>
                  <a:pt x="1005" y="5340"/>
                </a:lnTo>
                <a:lnTo>
                  <a:pt x="1010" y="5351"/>
                </a:lnTo>
                <a:lnTo>
                  <a:pt x="1016" y="5365"/>
                </a:lnTo>
                <a:lnTo>
                  <a:pt x="1019" y="5375"/>
                </a:lnTo>
                <a:lnTo>
                  <a:pt x="1020" y="5378"/>
                </a:lnTo>
                <a:lnTo>
                  <a:pt x="1020" y="5381"/>
                </a:lnTo>
                <a:lnTo>
                  <a:pt x="1019" y="5382"/>
                </a:lnTo>
                <a:lnTo>
                  <a:pt x="1019" y="5382"/>
                </a:lnTo>
                <a:lnTo>
                  <a:pt x="1010" y="5377"/>
                </a:lnTo>
                <a:lnTo>
                  <a:pt x="996" y="5368"/>
                </a:lnTo>
                <a:lnTo>
                  <a:pt x="996" y="5357"/>
                </a:lnTo>
                <a:lnTo>
                  <a:pt x="996" y="5346"/>
                </a:lnTo>
                <a:lnTo>
                  <a:pt x="996" y="5333"/>
                </a:lnTo>
                <a:lnTo>
                  <a:pt x="996" y="5320"/>
                </a:lnTo>
                <a:lnTo>
                  <a:pt x="996" y="5306"/>
                </a:lnTo>
                <a:lnTo>
                  <a:pt x="995" y="5294"/>
                </a:lnTo>
                <a:lnTo>
                  <a:pt x="993" y="5283"/>
                </a:lnTo>
                <a:lnTo>
                  <a:pt x="991" y="5276"/>
                </a:lnTo>
                <a:lnTo>
                  <a:pt x="986" y="5263"/>
                </a:lnTo>
                <a:lnTo>
                  <a:pt x="979" y="5253"/>
                </a:lnTo>
                <a:lnTo>
                  <a:pt x="976" y="5247"/>
                </a:lnTo>
                <a:lnTo>
                  <a:pt x="972" y="5238"/>
                </a:lnTo>
                <a:lnTo>
                  <a:pt x="972" y="5235"/>
                </a:lnTo>
                <a:lnTo>
                  <a:pt x="972" y="5233"/>
                </a:lnTo>
                <a:lnTo>
                  <a:pt x="972" y="5233"/>
                </a:lnTo>
                <a:lnTo>
                  <a:pt x="973" y="5232"/>
                </a:lnTo>
                <a:lnTo>
                  <a:pt x="974" y="5232"/>
                </a:lnTo>
                <a:lnTo>
                  <a:pt x="979" y="5230"/>
                </a:lnTo>
                <a:lnTo>
                  <a:pt x="985" y="5229"/>
                </a:lnTo>
                <a:lnTo>
                  <a:pt x="991" y="5230"/>
                </a:lnTo>
                <a:lnTo>
                  <a:pt x="998" y="5232"/>
                </a:lnTo>
                <a:lnTo>
                  <a:pt x="1009" y="5234"/>
                </a:lnTo>
                <a:lnTo>
                  <a:pt x="1019" y="5234"/>
                </a:lnTo>
                <a:lnTo>
                  <a:pt x="1029" y="5233"/>
                </a:lnTo>
                <a:lnTo>
                  <a:pt x="1039" y="5229"/>
                </a:lnTo>
                <a:lnTo>
                  <a:pt x="1047" y="5226"/>
                </a:lnTo>
                <a:lnTo>
                  <a:pt x="1057" y="5222"/>
                </a:lnTo>
                <a:lnTo>
                  <a:pt x="1066" y="5215"/>
                </a:lnTo>
                <a:lnTo>
                  <a:pt x="1074" y="5209"/>
                </a:lnTo>
                <a:lnTo>
                  <a:pt x="1081" y="5205"/>
                </a:lnTo>
                <a:lnTo>
                  <a:pt x="1084" y="5199"/>
                </a:lnTo>
                <a:lnTo>
                  <a:pt x="1087" y="5195"/>
                </a:lnTo>
                <a:lnTo>
                  <a:pt x="1089" y="5190"/>
                </a:lnTo>
                <a:lnTo>
                  <a:pt x="1089" y="5185"/>
                </a:lnTo>
                <a:lnTo>
                  <a:pt x="1087" y="5180"/>
                </a:lnTo>
                <a:lnTo>
                  <a:pt x="1084" y="5174"/>
                </a:lnTo>
                <a:lnTo>
                  <a:pt x="1081" y="5169"/>
                </a:lnTo>
                <a:lnTo>
                  <a:pt x="1074" y="5162"/>
                </a:lnTo>
                <a:lnTo>
                  <a:pt x="1067" y="5155"/>
                </a:lnTo>
                <a:lnTo>
                  <a:pt x="1057" y="5147"/>
                </a:lnTo>
                <a:lnTo>
                  <a:pt x="1046" y="5139"/>
                </a:lnTo>
                <a:lnTo>
                  <a:pt x="1039" y="5132"/>
                </a:lnTo>
                <a:lnTo>
                  <a:pt x="1031" y="5127"/>
                </a:lnTo>
                <a:lnTo>
                  <a:pt x="1023" y="5119"/>
                </a:lnTo>
                <a:lnTo>
                  <a:pt x="1014" y="5112"/>
                </a:lnTo>
                <a:lnTo>
                  <a:pt x="1002" y="5101"/>
                </a:lnTo>
                <a:lnTo>
                  <a:pt x="991" y="5091"/>
                </a:lnTo>
                <a:lnTo>
                  <a:pt x="983" y="5082"/>
                </a:lnTo>
                <a:lnTo>
                  <a:pt x="976" y="5074"/>
                </a:lnTo>
                <a:lnTo>
                  <a:pt x="963" y="5057"/>
                </a:lnTo>
                <a:lnTo>
                  <a:pt x="950" y="5036"/>
                </a:lnTo>
                <a:lnTo>
                  <a:pt x="945" y="5027"/>
                </a:lnTo>
                <a:lnTo>
                  <a:pt x="939" y="5018"/>
                </a:lnTo>
                <a:lnTo>
                  <a:pt x="933" y="5008"/>
                </a:lnTo>
                <a:lnTo>
                  <a:pt x="925" y="4996"/>
                </a:lnTo>
                <a:lnTo>
                  <a:pt x="909" y="4971"/>
                </a:lnTo>
                <a:lnTo>
                  <a:pt x="902" y="4956"/>
                </a:lnTo>
                <a:lnTo>
                  <a:pt x="899" y="4950"/>
                </a:lnTo>
                <a:lnTo>
                  <a:pt x="898" y="4944"/>
                </a:lnTo>
                <a:lnTo>
                  <a:pt x="898" y="4938"/>
                </a:lnTo>
                <a:lnTo>
                  <a:pt x="898" y="4930"/>
                </a:lnTo>
                <a:lnTo>
                  <a:pt x="898" y="4922"/>
                </a:lnTo>
                <a:lnTo>
                  <a:pt x="898" y="4912"/>
                </a:lnTo>
                <a:lnTo>
                  <a:pt x="898" y="4899"/>
                </a:lnTo>
                <a:lnTo>
                  <a:pt x="897" y="4884"/>
                </a:lnTo>
                <a:lnTo>
                  <a:pt x="894" y="4860"/>
                </a:lnTo>
                <a:lnTo>
                  <a:pt x="891" y="4843"/>
                </a:lnTo>
                <a:lnTo>
                  <a:pt x="889" y="4835"/>
                </a:lnTo>
                <a:lnTo>
                  <a:pt x="886" y="4830"/>
                </a:lnTo>
                <a:lnTo>
                  <a:pt x="883" y="4825"/>
                </a:lnTo>
                <a:lnTo>
                  <a:pt x="880" y="4822"/>
                </a:lnTo>
                <a:lnTo>
                  <a:pt x="878" y="4819"/>
                </a:lnTo>
                <a:lnTo>
                  <a:pt x="873" y="4817"/>
                </a:lnTo>
                <a:lnTo>
                  <a:pt x="870" y="4816"/>
                </a:lnTo>
                <a:lnTo>
                  <a:pt x="867" y="4816"/>
                </a:lnTo>
                <a:lnTo>
                  <a:pt x="858" y="4816"/>
                </a:lnTo>
                <a:lnTo>
                  <a:pt x="850" y="4817"/>
                </a:lnTo>
                <a:lnTo>
                  <a:pt x="844" y="4817"/>
                </a:lnTo>
                <a:lnTo>
                  <a:pt x="839" y="4817"/>
                </a:lnTo>
                <a:lnTo>
                  <a:pt x="830" y="4817"/>
                </a:lnTo>
                <a:lnTo>
                  <a:pt x="822" y="4818"/>
                </a:lnTo>
                <a:lnTo>
                  <a:pt x="815" y="4820"/>
                </a:lnTo>
                <a:lnTo>
                  <a:pt x="809" y="4822"/>
                </a:lnTo>
                <a:lnTo>
                  <a:pt x="805" y="4823"/>
                </a:lnTo>
                <a:lnTo>
                  <a:pt x="802" y="4824"/>
                </a:lnTo>
                <a:lnTo>
                  <a:pt x="798" y="4824"/>
                </a:lnTo>
                <a:lnTo>
                  <a:pt x="795" y="4823"/>
                </a:lnTo>
                <a:lnTo>
                  <a:pt x="790" y="4821"/>
                </a:lnTo>
                <a:lnTo>
                  <a:pt x="786" y="4818"/>
                </a:lnTo>
                <a:lnTo>
                  <a:pt x="782" y="4814"/>
                </a:lnTo>
                <a:lnTo>
                  <a:pt x="777" y="4809"/>
                </a:lnTo>
                <a:lnTo>
                  <a:pt x="771" y="4802"/>
                </a:lnTo>
                <a:lnTo>
                  <a:pt x="763" y="4794"/>
                </a:lnTo>
                <a:lnTo>
                  <a:pt x="753" y="4787"/>
                </a:lnTo>
                <a:lnTo>
                  <a:pt x="742" y="4778"/>
                </a:lnTo>
                <a:lnTo>
                  <a:pt x="729" y="4773"/>
                </a:lnTo>
                <a:lnTo>
                  <a:pt x="716" y="4766"/>
                </a:lnTo>
                <a:lnTo>
                  <a:pt x="702" y="4762"/>
                </a:lnTo>
                <a:lnTo>
                  <a:pt x="686" y="4756"/>
                </a:lnTo>
                <a:lnTo>
                  <a:pt x="672" y="4752"/>
                </a:lnTo>
                <a:lnTo>
                  <a:pt x="655" y="4749"/>
                </a:lnTo>
                <a:lnTo>
                  <a:pt x="648" y="4735"/>
                </a:lnTo>
                <a:lnTo>
                  <a:pt x="641" y="4719"/>
                </a:lnTo>
                <a:lnTo>
                  <a:pt x="639" y="4710"/>
                </a:lnTo>
                <a:lnTo>
                  <a:pt x="637" y="4701"/>
                </a:lnTo>
                <a:lnTo>
                  <a:pt x="635" y="4694"/>
                </a:lnTo>
                <a:lnTo>
                  <a:pt x="635" y="4686"/>
                </a:lnTo>
                <a:lnTo>
                  <a:pt x="636" y="4668"/>
                </a:lnTo>
                <a:lnTo>
                  <a:pt x="637" y="4654"/>
                </a:lnTo>
                <a:lnTo>
                  <a:pt x="639" y="4642"/>
                </a:lnTo>
                <a:lnTo>
                  <a:pt x="640" y="4627"/>
                </a:lnTo>
                <a:lnTo>
                  <a:pt x="640" y="4619"/>
                </a:lnTo>
                <a:lnTo>
                  <a:pt x="639" y="4615"/>
                </a:lnTo>
                <a:lnTo>
                  <a:pt x="637" y="4614"/>
                </a:lnTo>
                <a:lnTo>
                  <a:pt x="635" y="4614"/>
                </a:lnTo>
                <a:lnTo>
                  <a:pt x="627" y="4616"/>
                </a:lnTo>
                <a:lnTo>
                  <a:pt x="620" y="4617"/>
                </a:lnTo>
                <a:lnTo>
                  <a:pt x="616" y="4616"/>
                </a:lnTo>
                <a:lnTo>
                  <a:pt x="613" y="4613"/>
                </a:lnTo>
                <a:lnTo>
                  <a:pt x="609" y="4608"/>
                </a:lnTo>
                <a:lnTo>
                  <a:pt x="604" y="4604"/>
                </a:lnTo>
                <a:lnTo>
                  <a:pt x="601" y="4598"/>
                </a:lnTo>
                <a:lnTo>
                  <a:pt x="599" y="4590"/>
                </a:lnTo>
                <a:lnTo>
                  <a:pt x="599" y="4582"/>
                </a:lnTo>
                <a:lnTo>
                  <a:pt x="600" y="4574"/>
                </a:lnTo>
                <a:lnTo>
                  <a:pt x="603" y="4567"/>
                </a:lnTo>
                <a:lnTo>
                  <a:pt x="608" y="4562"/>
                </a:lnTo>
                <a:lnTo>
                  <a:pt x="612" y="4559"/>
                </a:lnTo>
                <a:lnTo>
                  <a:pt x="616" y="4557"/>
                </a:lnTo>
                <a:lnTo>
                  <a:pt x="620" y="4554"/>
                </a:lnTo>
                <a:lnTo>
                  <a:pt x="624" y="4550"/>
                </a:lnTo>
                <a:lnTo>
                  <a:pt x="626" y="4545"/>
                </a:lnTo>
                <a:lnTo>
                  <a:pt x="627" y="4537"/>
                </a:lnTo>
                <a:lnTo>
                  <a:pt x="627" y="4532"/>
                </a:lnTo>
                <a:lnTo>
                  <a:pt x="626" y="4527"/>
                </a:lnTo>
                <a:lnTo>
                  <a:pt x="624" y="4522"/>
                </a:lnTo>
                <a:lnTo>
                  <a:pt x="622" y="4517"/>
                </a:lnTo>
                <a:lnTo>
                  <a:pt x="615" y="4507"/>
                </a:lnTo>
                <a:lnTo>
                  <a:pt x="606" y="4496"/>
                </a:lnTo>
                <a:lnTo>
                  <a:pt x="589" y="4477"/>
                </a:lnTo>
                <a:lnTo>
                  <a:pt x="574" y="4459"/>
                </a:lnTo>
                <a:lnTo>
                  <a:pt x="572" y="4456"/>
                </a:lnTo>
                <a:lnTo>
                  <a:pt x="571" y="4452"/>
                </a:lnTo>
                <a:lnTo>
                  <a:pt x="570" y="4447"/>
                </a:lnTo>
                <a:lnTo>
                  <a:pt x="570" y="4443"/>
                </a:lnTo>
                <a:lnTo>
                  <a:pt x="572" y="4433"/>
                </a:lnTo>
                <a:lnTo>
                  <a:pt x="575" y="4424"/>
                </a:lnTo>
                <a:lnTo>
                  <a:pt x="586" y="4403"/>
                </a:lnTo>
                <a:lnTo>
                  <a:pt x="599" y="4385"/>
                </a:lnTo>
                <a:lnTo>
                  <a:pt x="604" y="4377"/>
                </a:lnTo>
                <a:lnTo>
                  <a:pt x="610" y="4372"/>
                </a:lnTo>
                <a:lnTo>
                  <a:pt x="615" y="4368"/>
                </a:lnTo>
                <a:lnTo>
                  <a:pt x="620" y="4364"/>
                </a:lnTo>
                <a:lnTo>
                  <a:pt x="625" y="4360"/>
                </a:lnTo>
                <a:lnTo>
                  <a:pt x="629" y="4356"/>
                </a:lnTo>
                <a:lnTo>
                  <a:pt x="632" y="4350"/>
                </a:lnTo>
                <a:lnTo>
                  <a:pt x="636" y="4344"/>
                </a:lnTo>
                <a:lnTo>
                  <a:pt x="637" y="4339"/>
                </a:lnTo>
                <a:lnTo>
                  <a:pt x="638" y="4337"/>
                </a:lnTo>
                <a:lnTo>
                  <a:pt x="638" y="4334"/>
                </a:lnTo>
                <a:lnTo>
                  <a:pt x="637" y="4332"/>
                </a:lnTo>
                <a:lnTo>
                  <a:pt x="635" y="4329"/>
                </a:lnTo>
                <a:lnTo>
                  <a:pt x="631" y="4326"/>
                </a:lnTo>
                <a:lnTo>
                  <a:pt x="628" y="4325"/>
                </a:lnTo>
                <a:lnTo>
                  <a:pt x="626" y="4323"/>
                </a:lnTo>
                <a:lnTo>
                  <a:pt x="626" y="4321"/>
                </a:lnTo>
                <a:lnTo>
                  <a:pt x="627" y="4318"/>
                </a:lnTo>
                <a:lnTo>
                  <a:pt x="631" y="4314"/>
                </a:lnTo>
                <a:lnTo>
                  <a:pt x="636" y="4310"/>
                </a:lnTo>
                <a:lnTo>
                  <a:pt x="6738" y="4063"/>
                </a:lnTo>
                <a:lnTo>
                  <a:pt x="6957" y="4060"/>
                </a:lnTo>
                <a:lnTo>
                  <a:pt x="7178" y="4058"/>
                </a:lnTo>
                <a:lnTo>
                  <a:pt x="7399" y="4056"/>
                </a:lnTo>
                <a:lnTo>
                  <a:pt x="7621" y="4055"/>
                </a:lnTo>
                <a:lnTo>
                  <a:pt x="7844" y="4054"/>
                </a:lnTo>
                <a:lnTo>
                  <a:pt x="8067" y="4054"/>
                </a:lnTo>
                <a:lnTo>
                  <a:pt x="8291" y="4054"/>
                </a:lnTo>
                <a:lnTo>
                  <a:pt x="8516" y="4054"/>
                </a:lnTo>
                <a:lnTo>
                  <a:pt x="8741" y="4054"/>
                </a:lnTo>
                <a:lnTo>
                  <a:pt x="8966" y="4055"/>
                </a:lnTo>
                <a:lnTo>
                  <a:pt x="9190" y="4056"/>
                </a:lnTo>
                <a:lnTo>
                  <a:pt x="9415" y="4058"/>
                </a:lnTo>
                <a:lnTo>
                  <a:pt x="9640" y="4059"/>
                </a:lnTo>
                <a:lnTo>
                  <a:pt x="9865" y="4060"/>
                </a:lnTo>
                <a:lnTo>
                  <a:pt x="10089" y="4060"/>
                </a:lnTo>
                <a:lnTo>
                  <a:pt x="10311" y="4061"/>
                </a:lnTo>
                <a:lnTo>
                  <a:pt x="10309" y="4066"/>
                </a:lnTo>
                <a:lnTo>
                  <a:pt x="10308" y="4071"/>
                </a:lnTo>
                <a:lnTo>
                  <a:pt x="10309" y="4075"/>
                </a:lnTo>
                <a:lnTo>
                  <a:pt x="10311" y="4079"/>
                </a:lnTo>
                <a:lnTo>
                  <a:pt x="10314" y="4085"/>
                </a:lnTo>
                <a:lnTo>
                  <a:pt x="10316" y="4091"/>
                </a:lnTo>
                <a:lnTo>
                  <a:pt x="10318" y="4099"/>
                </a:lnTo>
                <a:lnTo>
                  <a:pt x="10319" y="4108"/>
                </a:lnTo>
                <a:lnTo>
                  <a:pt x="10319" y="4123"/>
                </a:lnTo>
                <a:lnTo>
                  <a:pt x="10317" y="4145"/>
                </a:lnTo>
                <a:lnTo>
                  <a:pt x="10314" y="4169"/>
                </a:lnTo>
                <a:lnTo>
                  <a:pt x="10310" y="4195"/>
                </a:lnTo>
                <a:lnTo>
                  <a:pt x="10306" y="4221"/>
                </a:lnTo>
                <a:lnTo>
                  <a:pt x="10303" y="4245"/>
                </a:lnTo>
                <a:lnTo>
                  <a:pt x="10300" y="4268"/>
                </a:lnTo>
                <a:lnTo>
                  <a:pt x="10299" y="4285"/>
                </a:lnTo>
                <a:lnTo>
                  <a:pt x="10300" y="4299"/>
                </a:lnTo>
                <a:lnTo>
                  <a:pt x="10301" y="4314"/>
                </a:lnTo>
                <a:lnTo>
                  <a:pt x="10303" y="4325"/>
                </a:lnTo>
                <a:lnTo>
                  <a:pt x="10306" y="4336"/>
                </a:lnTo>
                <a:lnTo>
                  <a:pt x="10308" y="4347"/>
                </a:lnTo>
                <a:lnTo>
                  <a:pt x="10309" y="4358"/>
                </a:lnTo>
                <a:lnTo>
                  <a:pt x="10310" y="4368"/>
                </a:lnTo>
                <a:lnTo>
                  <a:pt x="10310" y="4377"/>
                </a:lnTo>
                <a:lnTo>
                  <a:pt x="10309" y="4382"/>
                </a:lnTo>
                <a:lnTo>
                  <a:pt x="10307" y="4385"/>
                </a:lnTo>
                <a:lnTo>
                  <a:pt x="10304" y="4388"/>
                </a:lnTo>
                <a:lnTo>
                  <a:pt x="10301" y="4391"/>
                </a:lnTo>
                <a:lnTo>
                  <a:pt x="10295" y="4392"/>
                </a:lnTo>
                <a:lnTo>
                  <a:pt x="10290" y="4393"/>
                </a:lnTo>
                <a:lnTo>
                  <a:pt x="10283" y="4393"/>
                </a:lnTo>
                <a:lnTo>
                  <a:pt x="10276" y="4392"/>
                </a:lnTo>
                <a:lnTo>
                  <a:pt x="10267" y="4391"/>
                </a:lnTo>
                <a:lnTo>
                  <a:pt x="10257" y="4388"/>
                </a:lnTo>
                <a:lnTo>
                  <a:pt x="10247" y="4385"/>
                </a:lnTo>
                <a:lnTo>
                  <a:pt x="10235" y="4380"/>
                </a:lnTo>
                <a:lnTo>
                  <a:pt x="10209" y="4370"/>
                </a:lnTo>
                <a:lnTo>
                  <a:pt x="10179" y="4355"/>
                </a:lnTo>
                <a:lnTo>
                  <a:pt x="10131" y="4329"/>
                </a:lnTo>
                <a:lnTo>
                  <a:pt x="10107" y="4318"/>
                </a:lnTo>
                <a:lnTo>
                  <a:pt x="10095" y="4315"/>
                </a:lnTo>
                <a:lnTo>
                  <a:pt x="10081" y="4314"/>
                </a:lnTo>
                <a:lnTo>
                  <a:pt x="10054" y="4307"/>
                </a:lnTo>
                <a:lnTo>
                  <a:pt x="10017" y="4296"/>
                </a:lnTo>
                <a:lnTo>
                  <a:pt x="10007" y="4294"/>
                </a:lnTo>
                <a:lnTo>
                  <a:pt x="9996" y="4293"/>
                </a:lnTo>
                <a:lnTo>
                  <a:pt x="9985" y="4292"/>
                </a:lnTo>
                <a:lnTo>
                  <a:pt x="9974" y="4292"/>
                </a:lnTo>
                <a:lnTo>
                  <a:pt x="9963" y="4293"/>
                </a:lnTo>
                <a:lnTo>
                  <a:pt x="9953" y="4295"/>
                </a:lnTo>
                <a:lnTo>
                  <a:pt x="9943" y="4298"/>
                </a:lnTo>
                <a:lnTo>
                  <a:pt x="9932" y="4303"/>
                </a:lnTo>
                <a:lnTo>
                  <a:pt x="9922" y="4308"/>
                </a:lnTo>
                <a:lnTo>
                  <a:pt x="9916" y="4312"/>
                </a:lnTo>
                <a:lnTo>
                  <a:pt x="9909" y="4318"/>
                </a:lnTo>
                <a:lnTo>
                  <a:pt x="9905" y="4322"/>
                </a:lnTo>
                <a:lnTo>
                  <a:pt x="9900" y="4331"/>
                </a:lnTo>
                <a:lnTo>
                  <a:pt x="9896" y="4337"/>
                </a:lnTo>
                <a:lnTo>
                  <a:pt x="9894" y="4344"/>
                </a:lnTo>
                <a:lnTo>
                  <a:pt x="9891" y="4348"/>
                </a:lnTo>
                <a:lnTo>
                  <a:pt x="9888" y="4349"/>
                </a:lnTo>
                <a:lnTo>
                  <a:pt x="9883" y="4350"/>
                </a:lnTo>
                <a:lnTo>
                  <a:pt x="9879" y="4351"/>
                </a:lnTo>
                <a:lnTo>
                  <a:pt x="9872" y="4351"/>
                </a:lnTo>
                <a:lnTo>
                  <a:pt x="9849" y="4351"/>
                </a:lnTo>
                <a:lnTo>
                  <a:pt x="9812" y="4350"/>
                </a:lnTo>
                <a:lnTo>
                  <a:pt x="9768" y="4349"/>
                </a:lnTo>
                <a:lnTo>
                  <a:pt x="9719" y="4347"/>
                </a:lnTo>
                <a:lnTo>
                  <a:pt x="9670" y="4346"/>
                </a:lnTo>
                <a:lnTo>
                  <a:pt x="9626" y="4344"/>
                </a:lnTo>
                <a:lnTo>
                  <a:pt x="9592" y="4343"/>
                </a:lnTo>
                <a:lnTo>
                  <a:pt x="9572" y="4341"/>
                </a:lnTo>
                <a:lnTo>
                  <a:pt x="9566" y="4341"/>
                </a:lnTo>
                <a:lnTo>
                  <a:pt x="9558" y="4341"/>
                </a:lnTo>
                <a:lnTo>
                  <a:pt x="9552" y="4342"/>
                </a:lnTo>
                <a:lnTo>
                  <a:pt x="9543" y="4344"/>
                </a:lnTo>
                <a:lnTo>
                  <a:pt x="9527" y="4349"/>
                </a:lnTo>
                <a:lnTo>
                  <a:pt x="9510" y="4356"/>
                </a:lnTo>
                <a:lnTo>
                  <a:pt x="9481" y="4370"/>
                </a:lnTo>
                <a:lnTo>
                  <a:pt x="9466" y="4379"/>
                </a:lnTo>
                <a:lnTo>
                  <a:pt x="9463" y="4383"/>
                </a:lnTo>
                <a:lnTo>
                  <a:pt x="9460" y="4387"/>
                </a:lnTo>
                <a:lnTo>
                  <a:pt x="9456" y="4393"/>
                </a:lnTo>
                <a:lnTo>
                  <a:pt x="9452" y="4401"/>
                </a:lnTo>
                <a:lnTo>
                  <a:pt x="9446" y="4417"/>
                </a:lnTo>
                <a:lnTo>
                  <a:pt x="9437" y="4433"/>
                </a:lnTo>
                <a:lnTo>
                  <a:pt x="9430" y="4446"/>
                </a:lnTo>
                <a:lnTo>
                  <a:pt x="9424" y="4459"/>
                </a:lnTo>
                <a:lnTo>
                  <a:pt x="9418" y="4473"/>
                </a:lnTo>
                <a:lnTo>
                  <a:pt x="9412" y="4490"/>
                </a:lnTo>
                <a:close/>
                <a:moveTo>
                  <a:pt x="6086" y="5568"/>
                </a:moveTo>
                <a:lnTo>
                  <a:pt x="6100" y="5574"/>
                </a:lnTo>
                <a:lnTo>
                  <a:pt x="6116" y="5581"/>
                </a:lnTo>
                <a:lnTo>
                  <a:pt x="6133" y="5591"/>
                </a:lnTo>
                <a:lnTo>
                  <a:pt x="6152" y="5603"/>
                </a:lnTo>
                <a:lnTo>
                  <a:pt x="6165" y="5611"/>
                </a:lnTo>
                <a:lnTo>
                  <a:pt x="6176" y="5616"/>
                </a:lnTo>
                <a:lnTo>
                  <a:pt x="5310" y="6605"/>
                </a:lnTo>
                <a:lnTo>
                  <a:pt x="5298" y="6576"/>
                </a:lnTo>
                <a:lnTo>
                  <a:pt x="5287" y="6550"/>
                </a:lnTo>
                <a:lnTo>
                  <a:pt x="5280" y="6533"/>
                </a:lnTo>
                <a:lnTo>
                  <a:pt x="5276" y="6526"/>
                </a:lnTo>
                <a:lnTo>
                  <a:pt x="5233" y="6484"/>
                </a:lnTo>
                <a:lnTo>
                  <a:pt x="5322" y="6388"/>
                </a:lnTo>
                <a:lnTo>
                  <a:pt x="5322" y="6388"/>
                </a:lnTo>
                <a:lnTo>
                  <a:pt x="5327" y="6386"/>
                </a:lnTo>
                <a:lnTo>
                  <a:pt x="5332" y="6384"/>
                </a:lnTo>
                <a:lnTo>
                  <a:pt x="5338" y="6383"/>
                </a:lnTo>
                <a:lnTo>
                  <a:pt x="5342" y="6383"/>
                </a:lnTo>
                <a:lnTo>
                  <a:pt x="5352" y="6384"/>
                </a:lnTo>
                <a:lnTo>
                  <a:pt x="5363" y="6384"/>
                </a:lnTo>
                <a:lnTo>
                  <a:pt x="5375" y="6383"/>
                </a:lnTo>
                <a:lnTo>
                  <a:pt x="5385" y="6381"/>
                </a:lnTo>
                <a:lnTo>
                  <a:pt x="5391" y="6378"/>
                </a:lnTo>
                <a:lnTo>
                  <a:pt x="5396" y="6376"/>
                </a:lnTo>
                <a:lnTo>
                  <a:pt x="5401" y="6373"/>
                </a:lnTo>
                <a:lnTo>
                  <a:pt x="5405" y="6370"/>
                </a:lnTo>
                <a:lnTo>
                  <a:pt x="5408" y="6366"/>
                </a:lnTo>
                <a:lnTo>
                  <a:pt x="5410" y="6360"/>
                </a:lnTo>
                <a:lnTo>
                  <a:pt x="5412" y="6354"/>
                </a:lnTo>
                <a:lnTo>
                  <a:pt x="5412" y="6347"/>
                </a:lnTo>
                <a:lnTo>
                  <a:pt x="5414" y="6337"/>
                </a:lnTo>
                <a:lnTo>
                  <a:pt x="5414" y="6324"/>
                </a:lnTo>
                <a:lnTo>
                  <a:pt x="5414" y="6309"/>
                </a:lnTo>
                <a:lnTo>
                  <a:pt x="5412" y="6291"/>
                </a:lnTo>
                <a:lnTo>
                  <a:pt x="5557" y="6135"/>
                </a:lnTo>
                <a:lnTo>
                  <a:pt x="5581" y="6134"/>
                </a:lnTo>
                <a:lnTo>
                  <a:pt x="5603" y="6130"/>
                </a:lnTo>
                <a:lnTo>
                  <a:pt x="5612" y="6128"/>
                </a:lnTo>
                <a:lnTo>
                  <a:pt x="5620" y="6125"/>
                </a:lnTo>
                <a:lnTo>
                  <a:pt x="5623" y="6123"/>
                </a:lnTo>
                <a:lnTo>
                  <a:pt x="5625" y="6120"/>
                </a:lnTo>
                <a:lnTo>
                  <a:pt x="5628" y="6118"/>
                </a:lnTo>
                <a:lnTo>
                  <a:pt x="5628" y="6115"/>
                </a:lnTo>
                <a:lnTo>
                  <a:pt x="5629" y="6105"/>
                </a:lnTo>
                <a:lnTo>
                  <a:pt x="5627" y="6094"/>
                </a:lnTo>
                <a:lnTo>
                  <a:pt x="5623" y="6083"/>
                </a:lnTo>
                <a:lnTo>
                  <a:pt x="5620" y="6069"/>
                </a:lnTo>
                <a:lnTo>
                  <a:pt x="6086" y="5568"/>
                </a:lnTo>
                <a:close/>
                <a:moveTo>
                  <a:pt x="4933" y="5426"/>
                </a:moveTo>
                <a:lnTo>
                  <a:pt x="4941" y="5440"/>
                </a:lnTo>
                <a:lnTo>
                  <a:pt x="4950" y="5454"/>
                </a:lnTo>
                <a:lnTo>
                  <a:pt x="4958" y="5468"/>
                </a:lnTo>
                <a:lnTo>
                  <a:pt x="4967" y="5482"/>
                </a:lnTo>
                <a:lnTo>
                  <a:pt x="4977" y="5498"/>
                </a:lnTo>
                <a:lnTo>
                  <a:pt x="4985" y="5513"/>
                </a:lnTo>
                <a:lnTo>
                  <a:pt x="4993" y="5525"/>
                </a:lnTo>
                <a:lnTo>
                  <a:pt x="4998" y="5533"/>
                </a:lnTo>
                <a:lnTo>
                  <a:pt x="5009" y="5547"/>
                </a:lnTo>
                <a:lnTo>
                  <a:pt x="5009" y="5547"/>
                </a:lnTo>
                <a:lnTo>
                  <a:pt x="5009" y="5548"/>
                </a:lnTo>
                <a:lnTo>
                  <a:pt x="4985" y="5561"/>
                </a:lnTo>
                <a:lnTo>
                  <a:pt x="4977" y="5549"/>
                </a:lnTo>
                <a:lnTo>
                  <a:pt x="4971" y="5540"/>
                </a:lnTo>
                <a:lnTo>
                  <a:pt x="4963" y="5529"/>
                </a:lnTo>
                <a:lnTo>
                  <a:pt x="4954" y="5513"/>
                </a:lnTo>
                <a:lnTo>
                  <a:pt x="4943" y="5495"/>
                </a:lnTo>
                <a:lnTo>
                  <a:pt x="4936" y="5482"/>
                </a:lnTo>
                <a:lnTo>
                  <a:pt x="4927" y="5467"/>
                </a:lnTo>
                <a:lnTo>
                  <a:pt x="4917" y="5453"/>
                </a:lnTo>
                <a:lnTo>
                  <a:pt x="4909" y="5438"/>
                </a:lnTo>
                <a:lnTo>
                  <a:pt x="4921" y="5432"/>
                </a:lnTo>
                <a:lnTo>
                  <a:pt x="4933" y="5426"/>
                </a:lnTo>
                <a:close/>
                <a:moveTo>
                  <a:pt x="5009" y="5548"/>
                </a:moveTo>
                <a:lnTo>
                  <a:pt x="5056" y="5521"/>
                </a:lnTo>
                <a:lnTo>
                  <a:pt x="5053" y="5527"/>
                </a:lnTo>
                <a:lnTo>
                  <a:pt x="5049" y="5534"/>
                </a:lnTo>
                <a:lnTo>
                  <a:pt x="5047" y="5541"/>
                </a:lnTo>
                <a:lnTo>
                  <a:pt x="5046" y="5549"/>
                </a:lnTo>
                <a:lnTo>
                  <a:pt x="5044" y="5557"/>
                </a:lnTo>
                <a:lnTo>
                  <a:pt x="5043" y="5561"/>
                </a:lnTo>
                <a:lnTo>
                  <a:pt x="5040" y="5567"/>
                </a:lnTo>
                <a:lnTo>
                  <a:pt x="5036" y="5575"/>
                </a:lnTo>
                <a:lnTo>
                  <a:pt x="5036" y="5577"/>
                </a:lnTo>
                <a:lnTo>
                  <a:pt x="5036" y="5576"/>
                </a:lnTo>
                <a:lnTo>
                  <a:pt x="5027" y="5567"/>
                </a:lnTo>
                <a:lnTo>
                  <a:pt x="5020" y="5561"/>
                </a:lnTo>
                <a:lnTo>
                  <a:pt x="5015" y="5554"/>
                </a:lnTo>
                <a:lnTo>
                  <a:pt x="5009" y="5548"/>
                </a:lnTo>
                <a:close/>
                <a:moveTo>
                  <a:pt x="5056" y="5521"/>
                </a:moveTo>
                <a:lnTo>
                  <a:pt x="5057" y="5520"/>
                </a:lnTo>
                <a:lnTo>
                  <a:pt x="5058" y="5519"/>
                </a:lnTo>
                <a:lnTo>
                  <a:pt x="5063" y="5513"/>
                </a:lnTo>
                <a:lnTo>
                  <a:pt x="5069" y="5509"/>
                </a:lnTo>
                <a:lnTo>
                  <a:pt x="5074" y="5507"/>
                </a:lnTo>
                <a:lnTo>
                  <a:pt x="5081" y="5507"/>
                </a:lnTo>
                <a:lnTo>
                  <a:pt x="5056" y="5521"/>
                </a:lnTo>
                <a:close/>
                <a:moveTo>
                  <a:pt x="3004" y="6448"/>
                </a:moveTo>
                <a:lnTo>
                  <a:pt x="2986" y="6483"/>
                </a:lnTo>
                <a:lnTo>
                  <a:pt x="2972" y="6507"/>
                </a:lnTo>
                <a:lnTo>
                  <a:pt x="2969" y="6511"/>
                </a:lnTo>
                <a:lnTo>
                  <a:pt x="2966" y="6515"/>
                </a:lnTo>
                <a:lnTo>
                  <a:pt x="2963" y="6517"/>
                </a:lnTo>
                <a:lnTo>
                  <a:pt x="2960" y="6518"/>
                </a:lnTo>
                <a:lnTo>
                  <a:pt x="2956" y="6518"/>
                </a:lnTo>
                <a:lnTo>
                  <a:pt x="2953" y="6518"/>
                </a:lnTo>
                <a:lnTo>
                  <a:pt x="2949" y="6516"/>
                </a:lnTo>
                <a:lnTo>
                  <a:pt x="2945" y="6513"/>
                </a:lnTo>
                <a:lnTo>
                  <a:pt x="2926" y="6504"/>
                </a:lnTo>
                <a:lnTo>
                  <a:pt x="2914" y="6498"/>
                </a:lnTo>
                <a:lnTo>
                  <a:pt x="2913" y="6497"/>
                </a:lnTo>
                <a:lnTo>
                  <a:pt x="2912" y="6495"/>
                </a:lnTo>
                <a:lnTo>
                  <a:pt x="2912" y="6493"/>
                </a:lnTo>
                <a:lnTo>
                  <a:pt x="2912" y="6491"/>
                </a:lnTo>
                <a:lnTo>
                  <a:pt x="2916" y="6483"/>
                </a:lnTo>
                <a:lnTo>
                  <a:pt x="2924" y="6474"/>
                </a:lnTo>
                <a:lnTo>
                  <a:pt x="2934" y="6462"/>
                </a:lnTo>
                <a:lnTo>
                  <a:pt x="2944" y="6451"/>
                </a:lnTo>
                <a:lnTo>
                  <a:pt x="2953" y="6439"/>
                </a:lnTo>
                <a:lnTo>
                  <a:pt x="2962" y="6427"/>
                </a:lnTo>
                <a:lnTo>
                  <a:pt x="2986" y="6415"/>
                </a:lnTo>
                <a:lnTo>
                  <a:pt x="3011" y="6403"/>
                </a:lnTo>
                <a:lnTo>
                  <a:pt x="3034" y="6391"/>
                </a:lnTo>
                <a:lnTo>
                  <a:pt x="3058" y="6380"/>
                </a:lnTo>
                <a:lnTo>
                  <a:pt x="3061" y="6390"/>
                </a:lnTo>
                <a:lnTo>
                  <a:pt x="3063" y="6402"/>
                </a:lnTo>
                <a:lnTo>
                  <a:pt x="3065" y="6413"/>
                </a:lnTo>
                <a:lnTo>
                  <a:pt x="3066" y="6423"/>
                </a:lnTo>
                <a:lnTo>
                  <a:pt x="3067" y="6439"/>
                </a:lnTo>
                <a:lnTo>
                  <a:pt x="3067" y="6444"/>
                </a:lnTo>
                <a:lnTo>
                  <a:pt x="3066" y="6442"/>
                </a:lnTo>
                <a:lnTo>
                  <a:pt x="3061" y="6438"/>
                </a:lnTo>
                <a:lnTo>
                  <a:pt x="3056" y="6431"/>
                </a:lnTo>
                <a:lnTo>
                  <a:pt x="3047" y="6426"/>
                </a:lnTo>
                <a:lnTo>
                  <a:pt x="3043" y="6424"/>
                </a:lnTo>
                <a:lnTo>
                  <a:pt x="3038" y="6423"/>
                </a:lnTo>
                <a:lnTo>
                  <a:pt x="3033" y="6423"/>
                </a:lnTo>
                <a:lnTo>
                  <a:pt x="3028" y="6424"/>
                </a:lnTo>
                <a:lnTo>
                  <a:pt x="3021" y="6427"/>
                </a:lnTo>
                <a:lnTo>
                  <a:pt x="3016" y="6431"/>
                </a:lnTo>
                <a:lnTo>
                  <a:pt x="3011" y="6439"/>
                </a:lnTo>
                <a:lnTo>
                  <a:pt x="3004" y="6448"/>
                </a:lnTo>
                <a:close/>
                <a:moveTo>
                  <a:pt x="2962" y="6427"/>
                </a:moveTo>
                <a:lnTo>
                  <a:pt x="2931" y="6443"/>
                </a:lnTo>
                <a:lnTo>
                  <a:pt x="2899" y="6459"/>
                </a:lnTo>
                <a:lnTo>
                  <a:pt x="2867" y="6476"/>
                </a:lnTo>
                <a:lnTo>
                  <a:pt x="2835" y="6492"/>
                </a:lnTo>
                <a:lnTo>
                  <a:pt x="2835" y="6486"/>
                </a:lnTo>
                <a:lnTo>
                  <a:pt x="2835" y="6482"/>
                </a:lnTo>
                <a:lnTo>
                  <a:pt x="2834" y="6479"/>
                </a:lnTo>
                <a:lnTo>
                  <a:pt x="2834" y="6476"/>
                </a:lnTo>
                <a:lnTo>
                  <a:pt x="2832" y="6472"/>
                </a:lnTo>
                <a:lnTo>
                  <a:pt x="2830" y="6470"/>
                </a:lnTo>
                <a:lnTo>
                  <a:pt x="2826" y="6465"/>
                </a:lnTo>
                <a:lnTo>
                  <a:pt x="2819" y="6462"/>
                </a:lnTo>
                <a:lnTo>
                  <a:pt x="2808" y="6455"/>
                </a:lnTo>
                <a:lnTo>
                  <a:pt x="2804" y="6453"/>
                </a:lnTo>
                <a:lnTo>
                  <a:pt x="2798" y="6404"/>
                </a:lnTo>
                <a:lnTo>
                  <a:pt x="2803" y="6403"/>
                </a:lnTo>
                <a:lnTo>
                  <a:pt x="2818" y="6401"/>
                </a:lnTo>
                <a:lnTo>
                  <a:pt x="2843" y="6399"/>
                </a:lnTo>
                <a:lnTo>
                  <a:pt x="2875" y="6396"/>
                </a:lnTo>
                <a:lnTo>
                  <a:pt x="2906" y="6395"/>
                </a:lnTo>
                <a:lnTo>
                  <a:pt x="2926" y="6395"/>
                </a:lnTo>
                <a:lnTo>
                  <a:pt x="2944" y="6396"/>
                </a:lnTo>
                <a:lnTo>
                  <a:pt x="2964" y="6396"/>
                </a:lnTo>
                <a:lnTo>
                  <a:pt x="2969" y="6397"/>
                </a:lnTo>
                <a:lnTo>
                  <a:pt x="2973" y="6398"/>
                </a:lnTo>
                <a:lnTo>
                  <a:pt x="2975" y="6401"/>
                </a:lnTo>
                <a:lnTo>
                  <a:pt x="2975" y="6405"/>
                </a:lnTo>
                <a:lnTo>
                  <a:pt x="2973" y="6410"/>
                </a:lnTo>
                <a:lnTo>
                  <a:pt x="2971" y="6415"/>
                </a:lnTo>
                <a:lnTo>
                  <a:pt x="2967" y="6421"/>
                </a:lnTo>
                <a:lnTo>
                  <a:pt x="2962" y="6427"/>
                </a:lnTo>
                <a:close/>
                <a:moveTo>
                  <a:pt x="2835" y="6492"/>
                </a:moveTo>
                <a:lnTo>
                  <a:pt x="2835" y="6496"/>
                </a:lnTo>
                <a:lnTo>
                  <a:pt x="2835" y="6501"/>
                </a:lnTo>
                <a:lnTo>
                  <a:pt x="2834" y="6504"/>
                </a:lnTo>
                <a:lnTo>
                  <a:pt x="2833" y="6508"/>
                </a:lnTo>
                <a:lnTo>
                  <a:pt x="2830" y="6510"/>
                </a:lnTo>
                <a:lnTo>
                  <a:pt x="2826" y="6513"/>
                </a:lnTo>
                <a:lnTo>
                  <a:pt x="2820" y="6515"/>
                </a:lnTo>
                <a:lnTo>
                  <a:pt x="2813" y="6517"/>
                </a:lnTo>
                <a:lnTo>
                  <a:pt x="2794" y="6518"/>
                </a:lnTo>
                <a:lnTo>
                  <a:pt x="2785" y="6517"/>
                </a:lnTo>
                <a:lnTo>
                  <a:pt x="2798" y="6510"/>
                </a:lnTo>
                <a:lnTo>
                  <a:pt x="2811" y="6504"/>
                </a:lnTo>
                <a:lnTo>
                  <a:pt x="2822" y="6498"/>
                </a:lnTo>
                <a:lnTo>
                  <a:pt x="2835" y="6492"/>
                </a:lnTo>
                <a:close/>
                <a:moveTo>
                  <a:pt x="2785" y="6517"/>
                </a:moveTo>
                <a:lnTo>
                  <a:pt x="2774" y="6523"/>
                </a:lnTo>
                <a:lnTo>
                  <a:pt x="2762" y="6529"/>
                </a:lnTo>
                <a:lnTo>
                  <a:pt x="2751" y="6534"/>
                </a:lnTo>
                <a:lnTo>
                  <a:pt x="2740" y="6539"/>
                </a:lnTo>
                <a:lnTo>
                  <a:pt x="2736" y="6537"/>
                </a:lnTo>
                <a:lnTo>
                  <a:pt x="2733" y="6536"/>
                </a:lnTo>
                <a:lnTo>
                  <a:pt x="2732" y="6536"/>
                </a:lnTo>
                <a:lnTo>
                  <a:pt x="2731" y="6537"/>
                </a:lnTo>
                <a:lnTo>
                  <a:pt x="2729" y="6538"/>
                </a:lnTo>
                <a:lnTo>
                  <a:pt x="2729" y="6538"/>
                </a:lnTo>
                <a:lnTo>
                  <a:pt x="2728" y="6537"/>
                </a:lnTo>
                <a:lnTo>
                  <a:pt x="2726" y="6533"/>
                </a:lnTo>
                <a:lnTo>
                  <a:pt x="2725" y="6531"/>
                </a:lnTo>
                <a:lnTo>
                  <a:pt x="2724" y="6528"/>
                </a:lnTo>
                <a:lnTo>
                  <a:pt x="2724" y="6525"/>
                </a:lnTo>
                <a:lnTo>
                  <a:pt x="2725" y="6523"/>
                </a:lnTo>
                <a:lnTo>
                  <a:pt x="2727" y="6520"/>
                </a:lnTo>
                <a:lnTo>
                  <a:pt x="2732" y="6519"/>
                </a:lnTo>
                <a:lnTo>
                  <a:pt x="2746" y="6517"/>
                </a:lnTo>
                <a:lnTo>
                  <a:pt x="2764" y="6517"/>
                </a:lnTo>
                <a:lnTo>
                  <a:pt x="2777" y="6517"/>
                </a:lnTo>
                <a:lnTo>
                  <a:pt x="2785" y="6517"/>
                </a:lnTo>
                <a:close/>
                <a:moveTo>
                  <a:pt x="2740" y="6539"/>
                </a:moveTo>
                <a:lnTo>
                  <a:pt x="2750" y="6550"/>
                </a:lnTo>
                <a:lnTo>
                  <a:pt x="2766" y="6571"/>
                </a:lnTo>
                <a:lnTo>
                  <a:pt x="2782" y="6590"/>
                </a:lnTo>
                <a:lnTo>
                  <a:pt x="2798" y="6605"/>
                </a:lnTo>
                <a:lnTo>
                  <a:pt x="2811" y="6617"/>
                </a:lnTo>
                <a:lnTo>
                  <a:pt x="2822" y="6628"/>
                </a:lnTo>
                <a:lnTo>
                  <a:pt x="2832" y="6638"/>
                </a:lnTo>
                <a:lnTo>
                  <a:pt x="2842" y="6647"/>
                </a:lnTo>
                <a:lnTo>
                  <a:pt x="2846" y="6654"/>
                </a:lnTo>
                <a:lnTo>
                  <a:pt x="2851" y="6660"/>
                </a:lnTo>
                <a:lnTo>
                  <a:pt x="2854" y="6668"/>
                </a:lnTo>
                <a:lnTo>
                  <a:pt x="2858" y="6677"/>
                </a:lnTo>
                <a:lnTo>
                  <a:pt x="2870" y="6702"/>
                </a:lnTo>
                <a:lnTo>
                  <a:pt x="2882" y="6725"/>
                </a:lnTo>
                <a:lnTo>
                  <a:pt x="2888" y="6736"/>
                </a:lnTo>
                <a:lnTo>
                  <a:pt x="2896" y="6745"/>
                </a:lnTo>
                <a:lnTo>
                  <a:pt x="2902" y="6751"/>
                </a:lnTo>
                <a:lnTo>
                  <a:pt x="2910" y="6756"/>
                </a:lnTo>
                <a:lnTo>
                  <a:pt x="2572" y="6952"/>
                </a:lnTo>
                <a:lnTo>
                  <a:pt x="2579" y="6942"/>
                </a:lnTo>
                <a:lnTo>
                  <a:pt x="2586" y="6933"/>
                </a:lnTo>
                <a:lnTo>
                  <a:pt x="2595" y="6921"/>
                </a:lnTo>
                <a:lnTo>
                  <a:pt x="2603" y="6909"/>
                </a:lnTo>
                <a:lnTo>
                  <a:pt x="2606" y="6903"/>
                </a:lnTo>
                <a:lnTo>
                  <a:pt x="2607" y="6896"/>
                </a:lnTo>
                <a:lnTo>
                  <a:pt x="2606" y="6893"/>
                </a:lnTo>
                <a:lnTo>
                  <a:pt x="2605" y="6889"/>
                </a:lnTo>
                <a:lnTo>
                  <a:pt x="2604" y="6885"/>
                </a:lnTo>
                <a:lnTo>
                  <a:pt x="2602" y="6882"/>
                </a:lnTo>
                <a:lnTo>
                  <a:pt x="2591" y="6866"/>
                </a:lnTo>
                <a:lnTo>
                  <a:pt x="2580" y="6849"/>
                </a:lnTo>
                <a:lnTo>
                  <a:pt x="2567" y="6833"/>
                </a:lnTo>
                <a:lnTo>
                  <a:pt x="2550" y="6814"/>
                </a:lnTo>
                <a:lnTo>
                  <a:pt x="2527" y="6794"/>
                </a:lnTo>
                <a:lnTo>
                  <a:pt x="2504" y="6774"/>
                </a:lnTo>
                <a:lnTo>
                  <a:pt x="2493" y="6764"/>
                </a:lnTo>
                <a:lnTo>
                  <a:pt x="2483" y="6753"/>
                </a:lnTo>
                <a:lnTo>
                  <a:pt x="2479" y="6747"/>
                </a:lnTo>
                <a:lnTo>
                  <a:pt x="2477" y="6741"/>
                </a:lnTo>
                <a:lnTo>
                  <a:pt x="2474" y="6736"/>
                </a:lnTo>
                <a:lnTo>
                  <a:pt x="2472" y="6729"/>
                </a:lnTo>
                <a:lnTo>
                  <a:pt x="2472" y="6714"/>
                </a:lnTo>
                <a:lnTo>
                  <a:pt x="2472" y="6704"/>
                </a:lnTo>
                <a:lnTo>
                  <a:pt x="2473" y="6693"/>
                </a:lnTo>
                <a:lnTo>
                  <a:pt x="2473" y="6674"/>
                </a:lnTo>
                <a:lnTo>
                  <a:pt x="2506" y="6658"/>
                </a:lnTo>
                <a:lnTo>
                  <a:pt x="2539" y="6641"/>
                </a:lnTo>
                <a:lnTo>
                  <a:pt x="2573" y="6625"/>
                </a:lnTo>
                <a:lnTo>
                  <a:pt x="2606" y="6607"/>
                </a:lnTo>
                <a:lnTo>
                  <a:pt x="2640" y="6590"/>
                </a:lnTo>
                <a:lnTo>
                  <a:pt x="2673" y="6574"/>
                </a:lnTo>
                <a:lnTo>
                  <a:pt x="2707" y="6557"/>
                </a:lnTo>
                <a:lnTo>
                  <a:pt x="2740" y="6539"/>
                </a:lnTo>
                <a:close/>
                <a:moveTo>
                  <a:pt x="2910" y="6756"/>
                </a:moveTo>
                <a:lnTo>
                  <a:pt x="3206" y="6586"/>
                </a:lnTo>
                <a:lnTo>
                  <a:pt x="3207" y="6600"/>
                </a:lnTo>
                <a:lnTo>
                  <a:pt x="3207" y="6615"/>
                </a:lnTo>
                <a:lnTo>
                  <a:pt x="3209" y="6644"/>
                </a:lnTo>
                <a:lnTo>
                  <a:pt x="3213" y="6681"/>
                </a:lnTo>
                <a:lnTo>
                  <a:pt x="3215" y="6700"/>
                </a:lnTo>
                <a:lnTo>
                  <a:pt x="3217" y="6722"/>
                </a:lnTo>
                <a:lnTo>
                  <a:pt x="3220" y="6744"/>
                </a:lnTo>
                <a:lnTo>
                  <a:pt x="3225" y="6766"/>
                </a:lnTo>
                <a:lnTo>
                  <a:pt x="3233" y="6809"/>
                </a:lnTo>
                <a:lnTo>
                  <a:pt x="3241" y="6845"/>
                </a:lnTo>
                <a:lnTo>
                  <a:pt x="3246" y="6874"/>
                </a:lnTo>
                <a:lnTo>
                  <a:pt x="3251" y="6896"/>
                </a:lnTo>
                <a:lnTo>
                  <a:pt x="3253" y="6903"/>
                </a:lnTo>
                <a:lnTo>
                  <a:pt x="3253" y="6910"/>
                </a:lnTo>
                <a:lnTo>
                  <a:pt x="3253" y="6915"/>
                </a:lnTo>
                <a:lnTo>
                  <a:pt x="3252" y="6922"/>
                </a:lnTo>
                <a:lnTo>
                  <a:pt x="3248" y="6935"/>
                </a:lnTo>
                <a:lnTo>
                  <a:pt x="3243" y="6955"/>
                </a:lnTo>
                <a:lnTo>
                  <a:pt x="3242" y="6962"/>
                </a:lnTo>
                <a:lnTo>
                  <a:pt x="3241" y="6965"/>
                </a:lnTo>
                <a:lnTo>
                  <a:pt x="3239" y="6968"/>
                </a:lnTo>
                <a:lnTo>
                  <a:pt x="3238" y="6970"/>
                </a:lnTo>
                <a:lnTo>
                  <a:pt x="3235" y="6970"/>
                </a:lnTo>
                <a:lnTo>
                  <a:pt x="3233" y="6970"/>
                </a:lnTo>
                <a:lnTo>
                  <a:pt x="3231" y="6969"/>
                </a:lnTo>
                <a:lnTo>
                  <a:pt x="3229" y="6968"/>
                </a:lnTo>
                <a:lnTo>
                  <a:pt x="3222" y="6960"/>
                </a:lnTo>
                <a:lnTo>
                  <a:pt x="3219" y="6954"/>
                </a:lnTo>
                <a:lnTo>
                  <a:pt x="3217" y="6952"/>
                </a:lnTo>
                <a:lnTo>
                  <a:pt x="3212" y="6944"/>
                </a:lnTo>
                <a:lnTo>
                  <a:pt x="3203" y="6931"/>
                </a:lnTo>
                <a:lnTo>
                  <a:pt x="3189" y="6913"/>
                </a:lnTo>
                <a:lnTo>
                  <a:pt x="3182" y="6903"/>
                </a:lnTo>
                <a:lnTo>
                  <a:pt x="3178" y="6896"/>
                </a:lnTo>
                <a:lnTo>
                  <a:pt x="3177" y="6891"/>
                </a:lnTo>
                <a:lnTo>
                  <a:pt x="3176" y="6888"/>
                </a:lnTo>
                <a:lnTo>
                  <a:pt x="3178" y="6883"/>
                </a:lnTo>
                <a:lnTo>
                  <a:pt x="3178" y="6875"/>
                </a:lnTo>
                <a:lnTo>
                  <a:pt x="3175" y="6870"/>
                </a:lnTo>
                <a:lnTo>
                  <a:pt x="3168" y="6862"/>
                </a:lnTo>
                <a:lnTo>
                  <a:pt x="3161" y="6855"/>
                </a:lnTo>
                <a:lnTo>
                  <a:pt x="3151" y="6847"/>
                </a:lnTo>
                <a:lnTo>
                  <a:pt x="3131" y="6832"/>
                </a:lnTo>
                <a:lnTo>
                  <a:pt x="3113" y="6822"/>
                </a:lnTo>
                <a:lnTo>
                  <a:pt x="3107" y="6820"/>
                </a:lnTo>
                <a:lnTo>
                  <a:pt x="3099" y="6819"/>
                </a:lnTo>
                <a:lnTo>
                  <a:pt x="3091" y="6820"/>
                </a:lnTo>
                <a:lnTo>
                  <a:pt x="3083" y="6821"/>
                </a:lnTo>
                <a:lnTo>
                  <a:pt x="3067" y="6828"/>
                </a:lnTo>
                <a:lnTo>
                  <a:pt x="3053" y="6834"/>
                </a:lnTo>
                <a:lnTo>
                  <a:pt x="3038" y="6842"/>
                </a:lnTo>
                <a:lnTo>
                  <a:pt x="3017" y="6850"/>
                </a:lnTo>
                <a:lnTo>
                  <a:pt x="3005" y="6855"/>
                </a:lnTo>
                <a:lnTo>
                  <a:pt x="2993" y="6857"/>
                </a:lnTo>
                <a:lnTo>
                  <a:pt x="2981" y="6858"/>
                </a:lnTo>
                <a:lnTo>
                  <a:pt x="2969" y="6857"/>
                </a:lnTo>
                <a:lnTo>
                  <a:pt x="2965" y="6856"/>
                </a:lnTo>
                <a:lnTo>
                  <a:pt x="2962" y="6854"/>
                </a:lnTo>
                <a:lnTo>
                  <a:pt x="2960" y="6852"/>
                </a:lnTo>
                <a:lnTo>
                  <a:pt x="2959" y="6849"/>
                </a:lnTo>
                <a:lnTo>
                  <a:pt x="2961" y="6844"/>
                </a:lnTo>
                <a:lnTo>
                  <a:pt x="2966" y="6835"/>
                </a:lnTo>
                <a:lnTo>
                  <a:pt x="2974" y="6826"/>
                </a:lnTo>
                <a:lnTo>
                  <a:pt x="2981" y="6813"/>
                </a:lnTo>
                <a:lnTo>
                  <a:pt x="2985" y="6805"/>
                </a:lnTo>
                <a:lnTo>
                  <a:pt x="2988" y="6798"/>
                </a:lnTo>
                <a:lnTo>
                  <a:pt x="2991" y="6789"/>
                </a:lnTo>
                <a:lnTo>
                  <a:pt x="2993" y="6779"/>
                </a:lnTo>
                <a:lnTo>
                  <a:pt x="2994" y="6771"/>
                </a:lnTo>
                <a:lnTo>
                  <a:pt x="2994" y="6763"/>
                </a:lnTo>
                <a:lnTo>
                  <a:pt x="2993" y="6758"/>
                </a:lnTo>
                <a:lnTo>
                  <a:pt x="2992" y="6753"/>
                </a:lnTo>
                <a:lnTo>
                  <a:pt x="2990" y="6750"/>
                </a:lnTo>
                <a:lnTo>
                  <a:pt x="2987" y="6748"/>
                </a:lnTo>
                <a:lnTo>
                  <a:pt x="2984" y="6747"/>
                </a:lnTo>
                <a:lnTo>
                  <a:pt x="2979" y="6746"/>
                </a:lnTo>
                <a:lnTo>
                  <a:pt x="2969" y="6747"/>
                </a:lnTo>
                <a:lnTo>
                  <a:pt x="2959" y="6751"/>
                </a:lnTo>
                <a:lnTo>
                  <a:pt x="2948" y="6755"/>
                </a:lnTo>
                <a:lnTo>
                  <a:pt x="2936" y="6760"/>
                </a:lnTo>
                <a:lnTo>
                  <a:pt x="2929" y="6761"/>
                </a:lnTo>
                <a:lnTo>
                  <a:pt x="2923" y="6761"/>
                </a:lnTo>
                <a:lnTo>
                  <a:pt x="2916" y="6760"/>
                </a:lnTo>
                <a:lnTo>
                  <a:pt x="2910" y="6756"/>
                </a:lnTo>
                <a:close/>
                <a:moveTo>
                  <a:pt x="3206" y="6586"/>
                </a:moveTo>
                <a:lnTo>
                  <a:pt x="3206" y="6572"/>
                </a:lnTo>
                <a:lnTo>
                  <a:pt x="3205" y="6558"/>
                </a:lnTo>
                <a:lnTo>
                  <a:pt x="3204" y="6551"/>
                </a:lnTo>
                <a:lnTo>
                  <a:pt x="3202" y="6544"/>
                </a:lnTo>
                <a:lnTo>
                  <a:pt x="3200" y="6537"/>
                </a:lnTo>
                <a:lnTo>
                  <a:pt x="3196" y="6529"/>
                </a:lnTo>
                <a:lnTo>
                  <a:pt x="3191" y="6517"/>
                </a:lnTo>
                <a:lnTo>
                  <a:pt x="3188" y="6505"/>
                </a:lnTo>
                <a:lnTo>
                  <a:pt x="3185" y="6492"/>
                </a:lnTo>
                <a:lnTo>
                  <a:pt x="3182" y="6479"/>
                </a:lnTo>
                <a:lnTo>
                  <a:pt x="3180" y="6456"/>
                </a:lnTo>
                <a:lnTo>
                  <a:pt x="3179" y="6440"/>
                </a:lnTo>
                <a:lnTo>
                  <a:pt x="3179" y="6430"/>
                </a:lnTo>
                <a:lnTo>
                  <a:pt x="3181" y="6421"/>
                </a:lnTo>
                <a:lnTo>
                  <a:pt x="3183" y="6414"/>
                </a:lnTo>
                <a:lnTo>
                  <a:pt x="3185" y="6412"/>
                </a:lnTo>
                <a:lnTo>
                  <a:pt x="3194" y="6408"/>
                </a:lnTo>
                <a:lnTo>
                  <a:pt x="3217" y="6399"/>
                </a:lnTo>
                <a:lnTo>
                  <a:pt x="3246" y="6387"/>
                </a:lnTo>
                <a:lnTo>
                  <a:pt x="3275" y="6376"/>
                </a:lnTo>
                <a:lnTo>
                  <a:pt x="3299" y="6368"/>
                </a:lnTo>
                <a:lnTo>
                  <a:pt x="3320" y="6359"/>
                </a:lnTo>
                <a:lnTo>
                  <a:pt x="3328" y="6355"/>
                </a:lnTo>
                <a:lnTo>
                  <a:pt x="3338" y="6349"/>
                </a:lnTo>
                <a:lnTo>
                  <a:pt x="3347" y="6342"/>
                </a:lnTo>
                <a:lnTo>
                  <a:pt x="3355" y="6333"/>
                </a:lnTo>
                <a:lnTo>
                  <a:pt x="3373" y="6312"/>
                </a:lnTo>
                <a:lnTo>
                  <a:pt x="3389" y="6289"/>
                </a:lnTo>
                <a:lnTo>
                  <a:pt x="3401" y="6272"/>
                </a:lnTo>
                <a:lnTo>
                  <a:pt x="3405" y="6264"/>
                </a:lnTo>
                <a:lnTo>
                  <a:pt x="3410" y="6266"/>
                </a:lnTo>
                <a:lnTo>
                  <a:pt x="3420" y="6267"/>
                </a:lnTo>
                <a:lnTo>
                  <a:pt x="3427" y="6268"/>
                </a:lnTo>
                <a:lnTo>
                  <a:pt x="3432" y="6267"/>
                </a:lnTo>
                <a:lnTo>
                  <a:pt x="3435" y="6266"/>
                </a:lnTo>
                <a:lnTo>
                  <a:pt x="3438" y="6265"/>
                </a:lnTo>
                <a:lnTo>
                  <a:pt x="3440" y="6264"/>
                </a:lnTo>
                <a:lnTo>
                  <a:pt x="3441" y="6262"/>
                </a:lnTo>
                <a:lnTo>
                  <a:pt x="3442" y="6259"/>
                </a:lnTo>
                <a:lnTo>
                  <a:pt x="3442" y="6256"/>
                </a:lnTo>
                <a:lnTo>
                  <a:pt x="3442" y="6254"/>
                </a:lnTo>
                <a:lnTo>
                  <a:pt x="3441" y="6251"/>
                </a:lnTo>
                <a:lnTo>
                  <a:pt x="3439" y="6247"/>
                </a:lnTo>
                <a:lnTo>
                  <a:pt x="3435" y="6241"/>
                </a:lnTo>
                <a:lnTo>
                  <a:pt x="3433" y="6236"/>
                </a:lnTo>
                <a:lnTo>
                  <a:pt x="3434" y="6231"/>
                </a:lnTo>
                <a:lnTo>
                  <a:pt x="3435" y="6228"/>
                </a:lnTo>
                <a:lnTo>
                  <a:pt x="3438" y="6225"/>
                </a:lnTo>
                <a:lnTo>
                  <a:pt x="3441" y="6223"/>
                </a:lnTo>
                <a:lnTo>
                  <a:pt x="3445" y="6220"/>
                </a:lnTo>
                <a:lnTo>
                  <a:pt x="3463" y="6210"/>
                </a:lnTo>
                <a:lnTo>
                  <a:pt x="3474" y="6202"/>
                </a:lnTo>
                <a:lnTo>
                  <a:pt x="3480" y="6197"/>
                </a:lnTo>
                <a:lnTo>
                  <a:pt x="3482" y="6196"/>
                </a:lnTo>
                <a:lnTo>
                  <a:pt x="3482" y="6191"/>
                </a:lnTo>
                <a:lnTo>
                  <a:pt x="3486" y="6180"/>
                </a:lnTo>
                <a:lnTo>
                  <a:pt x="3489" y="6173"/>
                </a:lnTo>
                <a:lnTo>
                  <a:pt x="3494" y="6167"/>
                </a:lnTo>
                <a:lnTo>
                  <a:pt x="3499" y="6162"/>
                </a:lnTo>
                <a:lnTo>
                  <a:pt x="3506" y="6158"/>
                </a:lnTo>
                <a:lnTo>
                  <a:pt x="3519" y="6152"/>
                </a:lnTo>
                <a:lnTo>
                  <a:pt x="3529" y="6145"/>
                </a:lnTo>
                <a:lnTo>
                  <a:pt x="3532" y="6144"/>
                </a:lnTo>
                <a:lnTo>
                  <a:pt x="3534" y="6144"/>
                </a:lnTo>
                <a:lnTo>
                  <a:pt x="3536" y="6145"/>
                </a:lnTo>
                <a:lnTo>
                  <a:pt x="3539" y="6146"/>
                </a:lnTo>
                <a:lnTo>
                  <a:pt x="3545" y="6151"/>
                </a:lnTo>
                <a:lnTo>
                  <a:pt x="3550" y="6160"/>
                </a:lnTo>
                <a:lnTo>
                  <a:pt x="3561" y="6179"/>
                </a:lnTo>
                <a:lnTo>
                  <a:pt x="3568" y="6191"/>
                </a:lnTo>
                <a:lnTo>
                  <a:pt x="3570" y="6193"/>
                </a:lnTo>
                <a:lnTo>
                  <a:pt x="3573" y="6194"/>
                </a:lnTo>
                <a:lnTo>
                  <a:pt x="3576" y="6195"/>
                </a:lnTo>
                <a:lnTo>
                  <a:pt x="3578" y="6195"/>
                </a:lnTo>
                <a:lnTo>
                  <a:pt x="3586" y="6194"/>
                </a:lnTo>
                <a:lnTo>
                  <a:pt x="3596" y="6189"/>
                </a:lnTo>
                <a:lnTo>
                  <a:pt x="3602" y="6187"/>
                </a:lnTo>
                <a:lnTo>
                  <a:pt x="3606" y="6184"/>
                </a:lnTo>
                <a:lnTo>
                  <a:pt x="3612" y="6180"/>
                </a:lnTo>
                <a:lnTo>
                  <a:pt x="3616" y="6175"/>
                </a:lnTo>
                <a:lnTo>
                  <a:pt x="3623" y="6168"/>
                </a:lnTo>
                <a:lnTo>
                  <a:pt x="3630" y="6161"/>
                </a:lnTo>
                <a:lnTo>
                  <a:pt x="3633" y="6159"/>
                </a:lnTo>
                <a:lnTo>
                  <a:pt x="3635" y="6159"/>
                </a:lnTo>
                <a:lnTo>
                  <a:pt x="3636" y="6159"/>
                </a:lnTo>
                <a:lnTo>
                  <a:pt x="3638" y="6161"/>
                </a:lnTo>
                <a:lnTo>
                  <a:pt x="3639" y="6171"/>
                </a:lnTo>
                <a:lnTo>
                  <a:pt x="3638" y="6189"/>
                </a:lnTo>
                <a:lnTo>
                  <a:pt x="3636" y="6201"/>
                </a:lnTo>
                <a:lnTo>
                  <a:pt x="3633" y="6212"/>
                </a:lnTo>
                <a:lnTo>
                  <a:pt x="3630" y="6222"/>
                </a:lnTo>
                <a:lnTo>
                  <a:pt x="3626" y="6231"/>
                </a:lnTo>
                <a:lnTo>
                  <a:pt x="3621" y="6238"/>
                </a:lnTo>
                <a:lnTo>
                  <a:pt x="3616" y="6246"/>
                </a:lnTo>
                <a:lnTo>
                  <a:pt x="3610" y="6252"/>
                </a:lnTo>
                <a:lnTo>
                  <a:pt x="3604" y="6258"/>
                </a:lnTo>
                <a:lnTo>
                  <a:pt x="3599" y="6262"/>
                </a:lnTo>
                <a:lnTo>
                  <a:pt x="3592" y="6266"/>
                </a:lnTo>
                <a:lnTo>
                  <a:pt x="3586" y="6269"/>
                </a:lnTo>
                <a:lnTo>
                  <a:pt x="3579" y="6272"/>
                </a:lnTo>
                <a:lnTo>
                  <a:pt x="3574" y="6273"/>
                </a:lnTo>
                <a:lnTo>
                  <a:pt x="3567" y="6273"/>
                </a:lnTo>
                <a:lnTo>
                  <a:pt x="3562" y="6273"/>
                </a:lnTo>
                <a:lnTo>
                  <a:pt x="3558" y="6272"/>
                </a:lnTo>
                <a:lnTo>
                  <a:pt x="3540" y="6266"/>
                </a:lnTo>
                <a:lnTo>
                  <a:pt x="3526" y="6263"/>
                </a:lnTo>
                <a:lnTo>
                  <a:pt x="3520" y="6263"/>
                </a:lnTo>
                <a:lnTo>
                  <a:pt x="3514" y="6263"/>
                </a:lnTo>
                <a:lnTo>
                  <a:pt x="3508" y="6263"/>
                </a:lnTo>
                <a:lnTo>
                  <a:pt x="3501" y="6264"/>
                </a:lnTo>
                <a:lnTo>
                  <a:pt x="3495" y="6267"/>
                </a:lnTo>
                <a:lnTo>
                  <a:pt x="3488" y="6272"/>
                </a:lnTo>
                <a:lnTo>
                  <a:pt x="3483" y="6278"/>
                </a:lnTo>
                <a:lnTo>
                  <a:pt x="3478" y="6285"/>
                </a:lnTo>
                <a:lnTo>
                  <a:pt x="3468" y="6300"/>
                </a:lnTo>
                <a:lnTo>
                  <a:pt x="3461" y="6310"/>
                </a:lnTo>
                <a:lnTo>
                  <a:pt x="3456" y="6318"/>
                </a:lnTo>
                <a:lnTo>
                  <a:pt x="3452" y="6328"/>
                </a:lnTo>
                <a:lnTo>
                  <a:pt x="3449" y="6333"/>
                </a:lnTo>
                <a:lnTo>
                  <a:pt x="3450" y="6339"/>
                </a:lnTo>
                <a:lnTo>
                  <a:pt x="3453" y="6344"/>
                </a:lnTo>
                <a:lnTo>
                  <a:pt x="3457" y="6350"/>
                </a:lnTo>
                <a:lnTo>
                  <a:pt x="3469" y="6361"/>
                </a:lnTo>
                <a:lnTo>
                  <a:pt x="3481" y="6370"/>
                </a:lnTo>
                <a:lnTo>
                  <a:pt x="3492" y="6377"/>
                </a:lnTo>
                <a:lnTo>
                  <a:pt x="3500" y="6385"/>
                </a:lnTo>
                <a:lnTo>
                  <a:pt x="3510" y="6395"/>
                </a:lnTo>
                <a:lnTo>
                  <a:pt x="3520" y="6405"/>
                </a:lnTo>
                <a:lnTo>
                  <a:pt x="3206" y="6586"/>
                </a:lnTo>
                <a:close/>
                <a:moveTo>
                  <a:pt x="3520" y="6405"/>
                </a:moveTo>
                <a:lnTo>
                  <a:pt x="4985" y="5561"/>
                </a:lnTo>
                <a:lnTo>
                  <a:pt x="4987" y="5563"/>
                </a:lnTo>
                <a:lnTo>
                  <a:pt x="4993" y="5572"/>
                </a:lnTo>
                <a:lnTo>
                  <a:pt x="5000" y="5579"/>
                </a:lnTo>
                <a:lnTo>
                  <a:pt x="5007" y="5587"/>
                </a:lnTo>
                <a:lnTo>
                  <a:pt x="5018" y="5597"/>
                </a:lnTo>
                <a:lnTo>
                  <a:pt x="5024" y="5602"/>
                </a:lnTo>
                <a:lnTo>
                  <a:pt x="5030" y="5605"/>
                </a:lnTo>
                <a:lnTo>
                  <a:pt x="5035" y="5607"/>
                </a:lnTo>
                <a:lnTo>
                  <a:pt x="5040" y="5607"/>
                </a:lnTo>
                <a:lnTo>
                  <a:pt x="5044" y="5607"/>
                </a:lnTo>
                <a:lnTo>
                  <a:pt x="5048" y="5605"/>
                </a:lnTo>
                <a:lnTo>
                  <a:pt x="5051" y="5603"/>
                </a:lnTo>
                <a:lnTo>
                  <a:pt x="5055" y="5600"/>
                </a:lnTo>
                <a:lnTo>
                  <a:pt x="5060" y="5591"/>
                </a:lnTo>
                <a:lnTo>
                  <a:pt x="5062" y="5583"/>
                </a:lnTo>
                <a:lnTo>
                  <a:pt x="5064" y="5577"/>
                </a:lnTo>
                <a:lnTo>
                  <a:pt x="5068" y="5572"/>
                </a:lnTo>
                <a:lnTo>
                  <a:pt x="5070" y="5566"/>
                </a:lnTo>
                <a:lnTo>
                  <a:pt x="5071" y="5561"/>
                </a:lnTo>
                <a:lnTo>
                  <a:pt x="5072" y="5554"/>
                </a:lnTo>
                <a:lnTo>
                  <a:pt x="5075" y="5544"/>
                </a:lnTo>
                <a:lnTo>
                  <a:pt x="5078" y="5536"/>
                </a:lnTo>
                <a:lnTo>
                  <a:pt x="5080" y="5534"/>
                </a:lnTo>
                <a:lnTo>
                  <a:pt x="5080" y="5534"/>
                </a:lnTo>
                <a:lnTo>
                  <a:pt x="5085" y="5536"/>
                </a:lnTo>
                <a:lnTo>
                  <a:pt x="5094" y="5543"/>
                </a:lnTo>
                <a:lnTo>
                  <a:pt x="5098" y="5545"/>
                </a:lnTo>
                <a:lnTo>
                  <a:pt x="5100" y="5548"/>
                </a:lnTo>
                <a:lnTo>
                  <a:pt x="5103" y="5552"/>
                </a:lnTo>
                <a:lnTo>
                  <a:pt x="5105" y="5556"/>
                </a:lnTo>
                <a:lnTo>
                  <a:pt x="5109" y="5563"/>
                </a:lnTo>
                <a:lnTo>
                  <a:pt x="5114" y="5571"/>
                </a:lnTo>
                <a:lnTo>
                  <a:pt x="5122" y="5578"/>
                </a:lnTo>
                <a:lnTo>
                  <a:pt x="5132" y="5587"/>
                </a:lnTo>
                <a:lnTo>
                  <a:pt x="5141" y="5591"/>
                </a:lnTo>
                <a:lnTo>
                  <a:pt x="5149" y="5595"/>
                </a:lnTo>
                <a:lnTo>
                  <a:pt x="5156" y="5598"/>
                </a:lnTo>
                <a:lnTo>
                  <a:pt x="5165" y="5599"/>
                </a:lnTo>
                <a:lnTo>
                  <a:pt x="5182" y="5599"/>
                </a:lnTo>
                <a:lnTo>
                  <a:pt x="5205" y="5598"/>
                </a:lnTo>
                <a:lnTo>
                  <a:pt x="5214" y="5597"/>
                </a:lnTo>
                <a:lnTo>
                  <a:pt x="5222" y="5595"/>
                </a:lnTo>
                <a:lnTo>
                  <a:pt x="5233" y="5595"/>
                </a:lnTo>
                <a:lnTo>
                  <a:pt x="5244" y="5594"/>
                </a:lnTo>
                <a:lnTo>
                  <a:pt x="5264" y="5593"/>
                </a:lnTo>
                <a:lnTo>
                  <a:pt x="5278" y="5590"/>
                </a:lnTo>
                <a:lnTo>
                  <a:pt x="5288" y="5588"/>
                </a:lnTo>
                <a:lnTo>
                  <a:pt x="5295" y="5585"/>
                </a:lnTo>
                <a:lnTo>
                  <a:pt x="5297" y="5584"/>
                </a:lnTo>
                <a:lnTo>
                  <a:pt x="5301" y="5584"/>
                </a:lnTo>
                <a:lnTo>
                  <a:pt x="5307" y="5584"/>
                </a:lnTo>
                <a:lnTo>
                  <a:pt x="5315" y="5586"/>
                </a:lnTo>
                <a:lnTo>
                  <a:pt x="5322" y="5588"/>
                </a:lnTo>
                <a:lnTo>
                  <a:pt x="5328" y="5590"/>
                </a:lnTo>
                <a:lnTo>
                  <a:pt x="5334" y="5594"/>
                </a:lnTo>
                <a:lnTo>
                  <a:pt x="5340" y="5598"/>
                </a:lnTo>
                <a:lnTo>
                  <a:pt x="5351" y="5608"/>
                </a:lnTo>
                <a:lnTo>
                  <a:pt x="5363" y="5620"/>
                </a:lnTo>
                <a:lnTo>
                  <a:pt x="5371" y="5629"/>
                </a:lnTo>
                <a:lnTo>
                  <a:pt x="5382" y="5640"/>
                </a:lnTo>
                <a:lnTo>
                  <a:pt x="5394" y="5649"/>
                </a:lnTo>
                <a:lnTo>
                  <a:pt x="5407" y="5660"/>
                </a:lnTo>
                <a:lnTo>
                  <a:pt x="5415" y="5667"/>
                </a:lnTo>
                <a:lnTo>
                  <a:pt x="5421" y="5672"/>
                </a:lnTo>
                <a:lnTo>
                  <a:pt x="5427" y="5678"/>
                </a:lnTo>
                <a:lnTo>
                  <a:pt x="5430" y="5682"/>
                </a:lnTo>
                <a:lnTo>
                  <a:pt x="5436" y="5693"/>
                </a:lnTo>
                <a:lnTo>
                  <a:pt x="5442" y="5702"/>
                </a:lnTo>
                <a:lnTo>
                  <a:pt x="5448" y="5713"/>
                </a:lnTo>
                <a:lnTo>
                  <a:pt x="5456" y="5725"/>
                </a:lnTo>
                <a:lnTo>
                  <a:pt x="5465" y="5740"/>
                </a:lnTo>
                <a:lnTo>
                  <a:pt x="5479" y="5756"/>
                </a:lnTo>
                <a:lnTo>
                  <a:pt x="5492" y="5768"/>
                </a:lnTo>
                <a:lnTo>
                  <a:pt x="5502" y="5778"/>
                </a:lnTo>
                <a:lnTo>
                  <a:pt x="5511" y="5783"/>
                </a:lnTo>
                <a:lnTo>
                  <a:pt x="5518" y="5786"/>
                </a:lnTo>
                <a:lnTo>
                  <a:pt x="5526" y="5786"/>
                </a:lnTo>
                <a:lnTo>
                  <a:pt x="5532" y="5784"/>
                </a:lnTo>
                <a:lnTo>
                  <a:pt x="5540" y="5781"/>
                </a:lnTo>
                <a:lnTo>
                  <a:pt x="5549" y="5777"/>
                </a:lnTo>
                <a:lnTo>
                  <a:pt x="5556" y="5773"/>
                </a:lnTo>
                <a:lnTo>
                  <a:pt x="5566" y="5768"/>
                </a:lnTo>
                <a:lnTo>
                  <a:pt x="5578" y="5764"/>
                </a:lnTo>
                <a:lnTo>
                  <a:pt x="5592" y="5761"/>
                </a:lnTo>
                <a:lnTo>
                  <a:pt x="5608" y="5757"/>
                </a:lnTo>
                <a:lnTo>
                  <a:pt x="5617" y="5757"/>
                </a:lnTo>
                <a:lnTo>
                  <a:pt x="5620" y="5757"/>
                </a:lnTo>
                <a:lnTo>
                  <a:pt x="5621" y="5759"/>
                </a:lnTo>
                <a:lnTo>
                  <a:pt x="5622" y="5766"/>
                </a:lnTo>
                <a:lnTo>
                  <a:pt x="5624" y="5775"/>
                </a:lnTo>
                <a:lnTo>
                  <a:pt x="5627" y="5779"/>
                </a:lnTo>
                <a:lnTo>
                  <a:pt x="5630" y="5783"/>
                </a:lnTo>
                <a:lnTo>
                  <a:pt x="5633" y="5789"/>
                </a:lnTo>
                <a:lnTo>
                  <a:pt x="5637" y="5794"/>
                </a:lnTo>
                <a:lnTo>
                  <a:pt x="5645" y="5801"/>
                </a:lnTo>
                <a:lnTo>
                  <a:pt x="5654" y="5807"/>
                </a:lnTo>
                <a:lnTo>
                  <a:pt x="5662" y="5814"/>
                </a:lnTo>
                <a:lnTo>
                  <a:pt x="5671" y="5821"/>
                </a:lnTo>
                <a:lnTo>
                  <a:pt x="5665" y="5832"/>
                </a:lnTo>
                <a:lnTo>
                  <a:pt x="5662" y="5843"/>
                </a:lnTo>
                <a:lnTo>
                  <a:pt x="5661" y="5848"/>
                </a:lnTo>
                <a:lnTo>
                  <a:pt x="5661" y="5854"/>
                </a:lnTo>
                <a:lnTo>
                  <a:pt x="5661" y="5859"/>
                </a:lnTo>
                <a:lnTo>
                  <a:pt x="5662" y="5863"/>
                </a:lnTo>
                <a:lnTo>
                  <a:pt x="5665" y="5876"/>
                </a:lnTo>
                <a:lnTo>
                  <a:pt x="5667" y="5886"/>
                </a:lnTo>
                <a:lnTo>
                  <a:pt x="5667" y="5889"/>
                </a:lnTo>
                <a:lnTo>
                  <a:pt x="5665" y="5892"/>
                </a:lnTo>
                <a:lnTo>
                  <a:pt x="5664" y="5895"/>
                </a:lnTo>
                <a:lnTo>
                  <a:pt x="5662" y="5897"/>
                </a:lnTo>
                <a:lnTo>
                  <a:pt x="5657" y="5900"/>
                </a:lnTo>
                <a:lnTo>
                  <a:pt x="5648" y="5903"/>
                </a:lnTo>
                <a:lnTo>
                  <a:pt x="5636" y="5905"/>
                </a:lnTo>
                <a:lnTo>
                  <a:pt x="5622" y="5909"/>
                </a:lnTo>
                <a:lnTo>
                  <a:pt x="5615" y="5912"/>
                </a:lnTo>
                <a:lnTo>
                  <a:pt x="5609" y="5915"/>
                </a:lnTo>
                <a:lnTo>
                  <a:pt x="5604" y="5918"/>
                </a:lnTo>
                <a:lnTo>
                  <a:pt x="5601" y="5924"/>
                </a:lnTo>
                <a:lnTo>
                  <a:pt x="5597" y="5928"/>
                </a:lnTo>
                <a:lnTo>
                  <a:pt x="5595" y="5935"/>
                </a:lnTo>
                <a:lnTo>
                  <a:pt x="5595" y="5941"/>
                </a:lnTo>
                <a:lnTo>
                  <a:pt x="5594" y="5948"/>
                </a:lnTo>
                <a:lnTo>
                  <a:pt x="5596" y="5964"/>
                </a:lnTo>
                <a:lnTo>
                  <a:pt x="5599" y="5981"/>
                </a:lnTo>
                <a:lnTo>
                  <a:pt x="5604" y="6000"/>
                </a:lnTo>
                <a:lnTo>
                  <a:pt x="5608" y="6021"/>
                </a:lnTo>
                <a:lnTo>
                  <a:pt x="5611" y="6035"/>
                </a:lnTo>
                <a:lnTo>
                  <a:pt x="5614" y="6048"/>
                </a:lnTo>
                <a:lnTo>
                  <a:pt x="5617" y="6060"/>
                </a:lnTo>
                <a:lnTo>
                  <a:pt x="5620" y="6069"/>
                </a:lnTo>
                <a:lnTo>
                  <a:pt x="5557" y="6135"/>
                </a:lnTo>
                <a:lnTo>
                  <a:pt x="5544" y="6137"/>
                </a:lnTo>
                <a:lnTo>
                  <a:pt x="5534" y="6137"/>
                </a:lnTo>
                <a:lnTo>
                  <a:pt x="5526" y="6137"/>
                </a:lnTo>
                <a:lnTo>
                  <a:pt x="5523" y="6137"/>
                </a:lnTo>
                <a:lnTo>
                  <a:pt x="5515" y="6134"/>
                </a:lnTo>
                <a:lnTo>
                  <a:pt x="5494" y="6128"/>
                </a:lnTo>
                <a:lnTo>
                  <a:pt x="5481" y="6124"/>
                </a:lnTo>
                <a:lnTo>
                  <a:pt x="5468" y="6118"/>
                </a:lnTo>
                <a:lnTo>
                  <a:pt x="5455" y="6112"/>
                </a:lnTo>
                <a:lnTo>
                  <a:pt x="5443" y="6104"/>
                </a:lnTo>
                <a:lnTo>
                  <a:pt x="5437" y="6101"/>
                </a:lnTo>
                <a:lnTo>
                  <a:pt x="5433" y="6098"/>
                </a:lnTo>
                <a:lnTo>
                  <a:pt x="5430" y="6097"/>
                </a:lnTo>
                <a:lnTo>
                  <a:pt x="5425" y="6097"/>
                </a:lnTo>
                <a:lnTo>
                  <a:pt x="5422" y="6097"/>
                </a:lnTo>
                <a:lnTo>
                  <a:pt x="5420" y="6098"/>
                </a:lnTo>
                <a:lnTo>
                  <a:pt x="5418" y="6099"/>
                </a:lnTo>
                <a:lnTo>
                  <a:pt x="5416" y="6100"/>
                </a:lnTo>
                <a:lnTo>
                  <a:pt x="5411" y="6108"/>
                </a:lnTo>
                <a:lnTo>
                  <a:pt x="5410" y="6113"/>
                </a:lnTo>
                <a:lnTo>
                  <a:pt x="5410" y="6117"/>
                </a:lnTo>
                <a:lnTo>
                  <a:pt x="5410" y="6130"/>
                </a:lnTo>
                <a:lnTo>
                  <a:pt x="5410" y="6151"/>
                </a:lnTo>
                <a:lnTo>
                  <a:pt x="5411" y="6175"/>
                </a:lnTo>
                <a:lnTo>
                  <a:pt x="5411" y="6204"/>
                </a:lnTo>
                <a:lnTo>
                  <a:pt x="5412" y="6233"/>
                </a:lnTo>
                <a:lnTo>
                  <a:pt x="5412" y="6263"/>
                </a:lnTo>
                <a:lnTo>
                  <a:pt x="5412" y="6291"/>
                </a:lnTo>
                <a:lnTo>
                  <a:pt x="5322" y="6388"/>
                </a:lnTo>
                <a:lnTo>
                  <a:pt x="5322" y="6388"/>
                </a:lnTo>
                <a:lnTo>
                  <a:pt x="5307" y="6398"/>
                </a:lnTo>
                <a:lnTo>
                  <a:pt x="5290" y="6409"/>
                </a:lnTo>
                <a:lnTo>
                  <a:pt x="5281" y="6414"/>
                </a:lnTo>
                <a:lnTo>
                  <a:pt x="5271" y="6418"/>
                </a:lnTo>
                <a:lnTo>
                  <a:pt x="5260" y="6424"/>
                </a:lnTo>
                <a:lnTo>
                  <a:pt x="5248" y="6427"/>
                </a:lnTo>
                <a:lnTo>
                  <a:pt x="5241" y="6430"/>
                </a:lnTo>
                <a:lnTo>
                  <a:pt x="5234" y="6432"/>
                </a:lnTo>
                <a:lnTo>
                  <a:pt x="5229" y="6436"/>
                </a:lnTo>
                <a:lnTo>
                  <a:pt x="5224" y="6440"/>
                </a:lnTo>
                <a:lnTo>
                  <a:pt x="5222" y="6443"/>
                </a:lnTo>
                <a:lnTo>
                  <a:pt x="5219" y="6447"/>
                </a:lnTo>
                <a:lnTo>
                  <a:pt x="5218" y="6451"/>
                </a:lnTo>
                <a:lnTo>
                  <a:pt x="5217" y="6454"/>
                </a:lnTo>
                <a:lnTo>
                  <a:pt x="5218" y="6467"/>
                </a:lnTo>
                <a:lnTo>
                  <a:pt x="5219" y="6471"/>
                </a:lnTo>
                <a:lnTo>
                  <a:pt x="5233" y="6484"/>
                </a:lnTo>
                <a:lnTo>
                  <a:pt x="4995" y="6740"/>
                </a:lnTo>
                <a:lnTo>
                  <a:pt x="4954" y="6738"/>
                </a:lnTo>
                <a:lnTo>
                  <a:pt x="4917" y="6736"/>
                </a:lnTo>
                <a:lnTo>
                  <a:pt x="4891" y="6734"/>
                </a:lnTo>
                <a:lnTo>
                  <a:pt x="4877" y="6733"/>
                </a:lnTo>
                <a:lnTo>
                  <a:pt x="4868" y="6728"/>
                </a:lnTo>
                <a:lnTo>
                  <a:pt x="4858" y="6724"/>
                </a:lnTo>
                <a:lnTo>
                  <a:pt x="4845" y="6717"/>
                </a:lnTo>
                <a:lnTo>
                  <a:pt x="4828" y="6705"/>
                </a:lnTo>
                <a:lnTo>
                  <a:pt x="4818" y="6699"/>
                </a:lnTo>
                <a:lnTo>
                  <a:pt x="4810" y="6696"/>
                </a:lnTo>
                <a:lnTo>
                  <a:pt x="4804" y="6695"/>
                </a:lnTo>
                <a:lnTo>
                  <a:pt x="4800" y="6694"/>
                </a:lnTo>
                <a:lnTo>
                  <a:pt x="4791" y="6696"/>
                </a:lnTo>
                <a:lnTo>
                  <a:pt x="4780" y="6696"/>
                </a:lnTo>
                <a:lnTo>
                  <a:pt x="4775" y="6696"/>
                </a:lnTo>
                <a:lnTo>
                  <a:pt x="4769" y="6696"/>
                </a:lnTo>
                <a:lnTo>
                  <a:pt x="4766" y="6697"/>
                </a:lnTo>
                <a:lnTo>
                  <a:pt x="4762" y="6699"/>
                </a:lnTo>
                <a:lnTo>
                  <a:pt x="4755" y="6705"/>
                </a:lnTo>
                <a:lnTo>
                  <a:pt x="4750" y="6710"/>
                </a:lnTo>
                <a:lnTo>
                  <a:pt x="4747" y="6713"/>
                </a:lnTo>
                <a:lnTo>
                  <a:pt x="4744" y="6719"/>
                </a:lnTo>
                <a:lnTo>
                  <a:pt x="4742" y="6725"/>
                </a:lnTo>
                <a:lnTo>
                  <a:pt x="4741" y="6734"/>
                </a:lnTo>
                <a:lnTo>
                  <a:pt x="4738" y="6754"/>
                </a:lnTo>
                <a:lnTo>
                  <a:pt x="4736" y="6779"/>
                </a:lnTo>
                <a:lnTo>
                  <a:pt x="4735" y="6785"/>
                </a:lnTo>
                <a:lnTo>
                  <a:pt x="4734" y="6789"/>
                </a:lnTo>
                <a:lnTo>
                  <a:pt x="4733" y="6792"/>
                </a:lnTo>
                <a:lnTo>
                  <a:pt x="4731" y="6795"/>
                </a:lnTo>
                <a:lnTo>
                  <a:pt x="4729" y="6796"/>
                </a:lnTo>
                <a:lnTo>
                  <a:pt x="4727" y="6798"/>
                </a:lnTo>
                <a:lnTo>
                  <a:pt x="4726" y="6798"/>
                </a:lnTo>
                <a:lnTo>
                  <a:pt x="4724" y="6798"/>
                </a:lnTo>
                <a:lnTo>
                  <a:pt x="4720" y="6795"/>
                </a:lnTo>
                <a:lnTo>
                  <a:pt x="4715" y="6793"/>
                </a:lnTo>
                <a:lnTo>
                  <a:pt x="4711" y="6792"/>
                </a:lnTo>
                <a:lnTo>
                  <a:pt x="4707" y="6792"/>
                </a:lnTo>
                <a:lnTo>
                  <a:pt x="4702" y="6793"/>
                </a:lnTo>
                <a:lnTo>
                  <a:pt x="4699" y="6792"/>
                </a:lnTo>
                <a:lnTo>
                  <a:pt x="4695" y="6790"/>
                </a:lnTo>
                <a:lnTo>
                  <a:pt x="4690" y="6787"/>
                </a:lnTo>
                <a:lnTo>
                  <a:pt x="4681" y="6778"/>
                </a:lnTo>
                <a:lnTo>
                  <a:pt x="4669" y="6766"/>
                </a:lnTo>
                <a:lnTo>
                  <a:pt x="4662" y="6762"/>
                </a:lnTo>
                <a:lnTo>
                  <a:pt x="4656" y="6759"/>
                </a:lnTo>
                <a:lnTo>
                  <a:pt x="4648" y="6756"/>
                </a:lnTo>
                <a:lnTo>
                  <a:pt x="4640" y="6755"/>
                </a:lnTo>
                <a:lnTo>
                  <a:pt x="4621" y="6756"/>
                </a:lnTo>
                <a:lnTo>
                  <a:pt x="4603" y="6758"/>
                </a:lnTo>
                <a:lnTo>
                  <a:pt x="4597" y="6758"/>
                </a:lnTo>
                <a:lnTo>
                  <a:pt x="4592" y="6760"/>
                </a:lnTo>
                <a:lnTo>
                  <a:pt x="4587" y="6762"/>
                </a:lnTo>
                <a:lnTo>
                  <a:pt x="4580" y="6764"/>
                </a:lnTo>
                <a:lnTo>
                  <a:pt x="4568" y="6772"/>
                </a:lnTo>
                <a:lnTo>
                  <a:pt x="4556" y="6779"/>
                </a:lnTo>
                <a:lnTo>
                  <a:pt x="4537" y="6794"/>
                </a:lnTo>
                <a:lnTo>
                  <a:pt x="4529" y="6802"/>
                </a:lnTo>
                <a:lnTo>
                  <a:pt x="4528" y="6806"/>
                </a:lnTo>
                <a:lnTo>
                  <a:pt x="4527" y="6818"/>
                </a:lnTo>
                <a:lnTo>
                  <a:pt x="4525" y="6831"/>
                </a:lnTo>
                <a:lnTo>
                  <a:pt x="4525" y="6842"/>
                </a:lnTo>
                <a:lnTo>
                  <a:pt x="4524" y="6846"/>
                </a:lnTo>
                <a:lnTo>
                  <a:pt x="4522" y="6850"/>
                </a:lnTo>
                <a:lnTo>
                  <a:pt x="4520" y="6855"/>
                </a:lnTo>
                <a:lnTo>
                  <a:pt x="4516" y="6859"/>
                </a:lnTo>
                <a:lnTo>
                  <a:pt x="4508" y="6870"/>
                </a:lnTo>
                <a:lnTo>
                  <a:pt x="4499" y="6883"/>
                </a:lnTo>
                <a:lnTo>
                  <a:pt x="4493" y="6890"/>
                </a:lnTo>
                <a:lnTo>
                  <a:pt x="4484" y="6898"/>
                </a:lnTo>
                <a:lnTo>
                  <a:pt x="4473" y="6904"/>
                </a:lnTo>
                <a:lnTo>
                  <a:pt x="4461" y="6911"/>
                </a:lnTo>
                <a:lnTo>
                  <a:pt x="4442" y="6920"/>
                </a:lnTo>
                <a:lnTo>
                  <a:pt x="4433" y="6923"/>
                </a:lnTo>
                <a:lnTo>
                  <a:pt x="4431" y="6927"/>
                </a:lnTo>
                <a:lnTo>
                  <a:pt x="4426" y="6937"/>
                </a:lnTo>
                <a:lnTo>
                  <a:pt x="4419" y="6949"/>
                </a:lnTo>
                <a:lnTo>
                  <a:pt x="4415" y="6961"/>
                </a:lnTo>
                <a:lnTo>
                  <a:pt x="4413" y="6971"/>
                </a:lnTo>
                <a:lnTo>
                  <a:pt x="4410" y="6983"/>
                </a:lnTo>
                <a:lnTo>
                  <a:pt x="4409" y="6993"/>
                </a:lnTo>
                <a:lnTo>
                  <a:pt x="4408" y="6999"/>
                </a:lnTo>
                <a:lnTo>
                  <a:pt x="4407" y="7005"/>
                </a:lnTo>
                <a:lnTo>
                  <a:pt x="4403" y="7014"/>
                </a:lnTo>
                <a:lnTo>
                  <a:pt x="4399" y="7019"/>
                </a:lnTo>
                <a:lnTo>
                  <a:pt x="4393" y="7025"/>
                </a:lnTo>
                <a:lnTo>
                  <a:pt x="4383" y="7033"/>
                </a:lnTo>
                <a:lnTo>
                  <a:pt x="4373" y="7042"/>
                </a:lnTo>
                <a:lnTo>
                  <a:pt x="4367" y="7045"/>
                </a:lnTo>
                <a:lnTo>
                  <a:pt x="4362" y="7047"/>
                </a:lnTo>
                <a:lnTo>
                  <a:pt x="4359" y="7048"/>
                </a:lnTo>
                <a:lnTo>
                  <a:pt x="4356" y="7048"/>
                </a:lnTo>
                <a:lnTo>
                  <a:pt x="4355" y="7046"/>
                </a:lnTo>
                <a:lnTo>
                  <a:pt x="4354" y="7044"/>
                </a:lnTo>
                <a:lnTo>
                  <a:pt x="4354" y="7041"/>
                </a:lnTo>
                <a:lnTo>
                  <a:pt x="4354" y="7036"/>
                </a:lnTo>
                <a:lnTo>
                  <a:pt x="4354" y="7026"/>
                </a:lnTo>
                <a:lnTo>
                  <a:pt x="4354" y="7016"/>
                </a:lnTo>
                <a:lnTo>
                  <a:pt x="4353" y="7010"/>
                </a:lnTo>
                <a:lnTo>
                  <a:pt x="4352" y="7004"/>
                </a:lnTo>
                <a:lnTo>
                  <a:pt x="4350" y="6998"/>
                </a:lnTo>
                <a:lnTo>
                  <a:pt x="4347" y="6993"/>
                </a:lnTo>
                <a:lnTo>
                  <a:pt x="4342" y="6988"/>
                </a:lnTo>
                <a:lnTo>
                  <a:pt x="4339" y="6984"/>
                </a:lnTo>
                <a:lnTo>
                  <a:pt x="4335" y="6982"/>
                </a:lnTo>
                <a:lnTo>
                  <a:pt x="4330" y="6980"/>
                </a:lnTo>
                <a:lnTo>
                  <a:pt x="4326" y="6979"/>
                </a:lnTo>
                <a:lnTo>
                  <a:pt x="4323" y="6979"/>
                </a:lnTo>
                <a:lnTo>
                  <a:pt x="4319" y="6980"/>
                </a:lnTo>
                <a:lnTo>
                  <a:pt x="4315" y="6981"/>
                </a:lnTo>
                <a:lnTo>
                  <a:pt x="4302" y="6987"/>
                </a:lnTo>
                <a:lnTo>
                  <a:pt x="4298" y="6990"/>
                </a:lnTo>
                <a:lnTo>
                  <a:pt x="4229" y="6962"/>
                </a:lnTo>
                <a:lnTo>
                  <a:pt x="4228" y="6956"/>
                </a:lnTo>
                <a:lnTo>
                  <a:pt x="4224" y="6941"/>
                </a:lnTo>
                <a:lnTo>
                  <a:pt x="4219" y="6922"/>
                </a:lnTo>
                <a:lnTo>
                  <a:pt x="4212" y="6898"/>
                </a:lnTo>
                <a:lnTo>
                  <a:pt x="4208" y="6889"/>
                </a:lnTo>
                <a:lnTo>
                  <a:pt x="4205" y="6884"/>
                </a:lnTo>
                <a:lnTo>
                  <a:pt x="4202" y="6881"/>
                </a:lnTo>
                <a:lnTo>
                  <a:pt x="4200" y="6881"/>
                </a:lnTo>
                <a:lnTo>
                  <a:pt x="4195" y="6882"/>
                </a:lnTo>
                <a:lnTo>
                  <a:pt x="4191" y="6882"/>
                </a:lnTo>
                <a:lnTo>
                  <a:pt x="4186" y="6881"/>
                </a:lnTo>
                <a:lnTo>
                  <a:pt x="4178" y="6879"/>
                </a:lnTo>
                <a:lnTo>
                  <a:pt x="4169" y="6873"/>
                </a:lnTo>
                <a:lnTo>
                  <a:pt x="4162" y="6867"/>
                </a:lnTo>
                <a:lnTo>
                  <a:pt x="4155" y="6858"/>
                </a:lnTo>
                <a:lnTo>
                  <a:pt x="4150" y="6847"/>
                </a:lnTo>
                <a:lnTo>
                  <a:pt x="4146" y="6835"/>
                </a:lnTo>
                <a:lnTo>
                  <a:pt x="4141" y="6821"/>
                </a:lnTo>
                <a:lnTo>
                  <a:pt x="4139" y="6805"/>
                </a:lnTo>
                <a:lnTo>
                  <a:pt x="4138" y="6787"/>
                </a:lnTo>
                <a:lnTo>
                  <a:pt x="4136" y="6771"/>
                </a:lnTo>
                <a:lnTo>
                  <a:pt x="4135" y="6759"/>
                </a:lnTo>
                <a:lnTo>
                  <a:pt x="4133" y="6751"/>
                </a:lnTo>
                <a:lnTo>
                  <a:pt x="4129" y="6745"/>
                </a:lnTo>
                <a:lnTo>
                  <a:pt x="4125" y="6738"/>
                </a:lnTo>
                <a:lnTo>
                  <a:pt x="4121" y="6728"/>
                </a:lnTo>
                <a:lnTo>
                  <a:pt x="4114" y="6717"/>
                </a:lnTo>
                <a:lnTo>
                  <a:pt x="4106" y="6698"/>
                </a:lnTo>
                <a:lnTo>
                  <a:pt x="4101" y="6688"/>
                </a:lnTo>
                <a:lnTo>
                  <a:pt x="4097" y="6680"/>
                </a:lnTo>
                <a:lnTo>
                  <a:pt x="4093" y="6672"/>
                </a:lnTo>
                <a:lnTo>
                  <a:pt x="4087" y="6667"/>
                </a:lnTo>
                <a:lnTo>
                  <a:pt x="4082" y="6661"/>
                </a:lnTo>
                <a:lnTo>
                  <a:pt x="4076" y="6657"/>
                </a:lnTo>
                <a:lnTo>
                  <a:pt x="4071" y="6654"/>
                </a:lnTo>
                <a:lnTo>
                  <a:pt x="4066" y="6650"/>
                </a:lnTo>
                <a:lnTo>
                  <a:pt x="4055" y="6644"/>
                </a:lnTo>
                <a:lnTo>
                  <a:pt x="4043" y="6637"/>
                </a:lnTo>
                <a:lnTo>
                  <a:pt x="4036" y="6632"/>
                </a:lnTo>
                <a:lnTo>
                  <a:pt x="4030" y="6628"/>
                </a:lnTo>
                <a:lnTo>
                  <a:pt x="4023" y="6621"/>
                </a:lnTo>
                <a:lnTo>
                  <a:pt x="4017" y="6615"/>
                </a:lnTo>
                <a:lnTo>
                  <a:pt x="4010" y="6609"/>
                </a:lnTo>
                <a:lnTo>
                  <a:pt x="4004" y="6604"/>
                </a:lnTo>
                <a:lnTo>
                  <a:pt x="3996" y="6601"/>
                </a:lnTo>
                <a:lnTo>
                  <a:pt x="3990" y="6600"/>
                </a:lnTo>
                <a:lnTo>
                  <a:pt x="3981" y="6600"/>
                </a:lnTo>
                <a:lnTo>
                  <a:pt x="3974" y="6601"/>
                </a:lnTo>
                <a:lnTo>
                  <a:pt x="3965" y="6602"/>
                </a:lnTo>
                <a:lnTo>
                  <a:pt x="3956" y="6605"/>
                </a:lnTo>
                <a:lnTo>
                  <a:pt x="3937" y="6613"/>
                </a:lnTo>
                <a:lnTo>
                  <a:pt x="3915" y="6620"/>
                </a:lnTo>
                <a:lnTo>
                  <a:pt x="3905" y="6624"/>
                </a:lnTo>
                <a:lnTo>
                  <a:pt x="3892" y="6627"/>
                </a:lnTo>
                <a:lnTo>
                  <a:pt x="3879" y="6630"/>
                </a:lnTo>
                <a:lnTo>
                  <a:pt x="3866" y="6632"/>
                </a:lnTo>
                <a:lnTo>
                  <a:pt x="3840" y="6634"/>
                </a:lnTo>
                <a:lnTo>
                  <a:pt x="3818" y="6636"/>
                </a:lnTo>
                <a:lnTo>
                  <a:pt x="3800" y="6634"/>
                </a:lnTo>
                <a:lnTo>
                  <a:pt x="3785" y="6632"/>
                </a:lnTo>
                <a:lnTo>
                  <a:pt x="3772" y="6628"/>
                </a:lnTo>
                <a:lnTo>
                  <a:pt x="3760" y="6623"/>
                </a:lnTo>
                <a:lnTo>
                  <a:pt x="3748" y="6615"/>
                </a:lnTo>
                <a:lnTo>
                  <a:pt x="3736" y="6606"/>
                </a:lnTo>
                <a:lnTo>
                  <a:pt x="3719" y="6590"/>
                </a:lnTo>
                <a:lnTo>
                  <a:pt x="3690" y="6565"/>
                </a:lnTo>
                <a:lnTo>
                  <a:pt x="3656" y="6533"/>
                </a:lnTo>
                <a:lnTo>
                  <a:pt x="3618" y="6499"/>
                </a:lnTo>
                <a:lnTo>
                  <a:pt x="3583" y="6467"/>
                </a:lnTo>
                <a:lnTo>
                  <a:pt x="3553" y="6439"/>
                </a:lnTo>
                <a:lnTo>
                  <a:pt x="3533" y="6420"/>
                </a:lnTo>
                <a:lnTo>
                  <a:pt x="3524" y="6412"/>
                </a:lnTo>
                <a:lnTo>
                  <a:pt x="3523" y="6410"/>
                </a:lnTo>
                <a:lnTo>
                  <a:pt x="3520" y="6405"/>
                </a:lnTo>
                <a:close/>
                <a:moveTo>
                  <a:pt x="4909" y="5438"/>
                </a:moveTo>
                <a:lnTo>
                  <a:pt x="4793" y="5497"/>
                </a:lnTo>
                <a:lnTo>
                  <a:pt x="4677" y="5557"/>
                </a:lnTo>
                <a:lnTo>
                  <a:pt x="4562" y="5616"/>
                </a:lnTo>
                <a:lnTo>
                  <a:pt x="4446" y="5675"/>
                </a:lnTo>
                <a:lnTo>
                  <a:pt x="4330" y="5735"/>
                </a:lnTo>
                <a:lnTo>
                  <a:pt x="4215" y="5793"/>
                </a:lnTo>
                <a:lnTo>
                  <a:pt x="4099" y="5853"/>
                </a:lnTo>
                <a:lnTo>
                  <a:pt x="3983" y="5911"/>
                </a:lnTo>
                <a:lnTo>
                  <a:pt x="3868" y="5969"/>
                </a:lnTo>
                <a:lnTo>
                  <a:pt x="3752" y="6029"/>
                </a:lnTo>
                <a:lnTo>
                  <a:pt x="3636" y="6087"/>
                </a:lnTo>
                <a:lnTo>
                  <a:pt x="3521" y="6145"/>
                </a:lnTo>
                <a:lnTo>
                  <a:pt x="3405" y="6204"/>
                </a:lnTo>
                <a:lnTo>
                  <a:pt x="3289" y="6262"/>
                </a:lnTo>
                <a:lnTo>
                  <a:pt x="3174" y="6321"/>
                </a:lnTo>
                <a:lnTo>
                  <a:pt x="3058" y="6380"/>
                </a:lnTo>
                <a:lnTo>
                  <a:pt x="3057" y="6376"/>
                </a:lnTo>
                <a:lnTo>
                  <a:pt x="3056" y="6373"/>
                </a:lnTo>
                <a:lnTo>
                  <a:pt x="3054" y="6368"/>
                </a:lnTo>
                <a:lnTo>
                  <a:pt x="3051" y="6363"/>
                </a:lnTo>
                <a:lnTo>
                  <a:pt x="3048" y="6359"/>
                </a:lnTo>
                <a:lnTo>
                  <a:pt x="3045" y="6356"/>
                </a:lnTo>
                <a:lnTo>
                  <a:pt x="3041" y="6354"/>
                </a:lnTo>
                <a:lnTo>
                  <a:pt x="3038" y="6353"/>
                </a:lnTo>
                <a:lnTo>
                  <a:pt x="3033" y="6351"/>
                </a:lnTo>
                <a:lnTo>
                  <a:pt x="3029" y="6350"/>
                </a:lnTo>
                <a:lnTo>
                  <a:pt x="3009" y="6350"/>
                </a:lnTo>
                <a:lnTo>
                  <a:pt x="2987" y="6353"/>
                </a:lnTo>
                <a:lnTo>
                  <a:pt x="2981" y="6354"/>
                </a:lnTo>
                <a:lnTo>
                  <a:pt x="2976" y="6353"/>
                </a:lnTo>
                <a:lnTo>
                  <a:pt x="2971" y="6350"/>
                </a:lnTo>
                <a:lnTo>
                  <a:pt x="2966" y="6348"/>
                </a:lnTo>
                <a:lnTo>
                  <a:pt x="2961" y="6345"/>
                </a:lnTo>
                <a:lnTo>
                  <a:pt x="2956" y="6341"/>
                </a:lnTo>
                <a:lnTo>
                  <a:pt x="2953" y="6336"/>
                </a:lnTo>
                <a:lnTo>
                  <a:pt x="2949" y="6331"/>
                </a:lnTo>
                <a:lnTo>
                  <a:pt x="2942" y="6318"/>
                </a:lnTo>
                <a:lnTo>
                  <a:pt x="2936" y="6303"/>
                </a:lnTo>
                <a:lnTo>
                  <a:pt x="2929" y="6286"/>
                </a:lnTo>
                <a:lnTo>
                  <a:pt x="2924" y="6267"/>
                </a:lnTo>
                <a:lnTo>
                  <a:pt x="2920" y="6251"/>
                </a:lnTo>
                <a:lnTo>
                  <a:pt x="2918" y="6240"/>
                </a:lnTo>
                <a:lnTo>
                  <a:pt x="2918" y="6232"/>
                </a:lnTo>
                <a:lnTo>
                  <a:pt x="2919" y="6226"/>
                </a:lnTo>
                <a:lnTo>
                  <a:pt x="2920" y="6220"/>
                </a:lnTo>
                <a:lnTo>
                  <a:pt x="2921" y="6212"/>
                </a:lnTo>
                <a:lnTo>
                  <a:pt x="2922" y="6200"/>
                </a:lnTo>
                <a:lnTo>
                  <a:pt x="2921" y="6184"/>
                </a:lnTo>
                <a:lnTo>
                  <a:pt x="2920" y="6175"/>
                </a:lnTo>
                <a:lnTo>
                  <a:pt x="2919" y="6167"/>
                </a:lnTo>
                <a:lnTo>
                  <a:pt x="2915" y="6160"/>
                </a:lnTo>
                <a:lnTo>
                  <a:pt x="2912" y="6154"/>
                </a:lnTo>
                <a:lnTo>
                  <a:pt x="2909" y="6148"/>
                </a:lnTo>
                <a:lnTo>
                  <a:pt x="2904" y="6144"/>
                </a:lnTo>
                <a:lnTo>
                  <a:pt x="2898" y="6140"/>
                </a:lnTo>
                <a:lnTo>
                  <a:pt x="2893" y="6137"/>
                </a:lnTo>
                <a:lnTo>
                  <a:pt x="2880" y="6132"/>
                </a:lnTo>
                <a:lnTo>
                  <a:pt x="2866" y="6129"/>
                </a:lnTo>
                <a:lnTo>
                  <a:pt x="2849" y="6126"/>
                </a:lnTo>
                <a:lnTo>
                  <a:pt x="2832" y="6124"/>
                </a:lnTo>
                <a:lnTo>
                  <a:pt x="2793" y="6119"/>
                </a:lnTo>
                <a:lnTo>
                  <a:pt x="2751" y="6115"/>
                </a:lnTo>
                <a:lnTo>
                  <a:pt x="2732" y="6114"/>
                </a:lnTo>
                <a:lnTo>
                  <a:pt x="2713" y="6114"/>
                </a:lnTo>
                <a:lnTo>
                  <a:pt x="2699" y="6114"/>
                </a:lnTo>
                <a:lnTo>
                  <a:pt x="2689" y="6115"/>
                </a:lnTo>
                <a:lnTo>
                  <a:pt x="2681" y="6119"/>
                </a:lnTo>
                <a:lnTo>
                  <a:pt x="2672" y="6125"/>
                </a:lnTo>
                <a:lnTo>
                  <a:pt x="2662" y="6132"/>
                </a:lnTo>
                <a:lnTo>
                  <a:pt x="2653" y="6141"/>
                </a:lnTo>
                <a:lnTo>
                  <a:pt x="2642" y="6150"/>
                </a:lnTo>
                <a:lnTo>
                  <a:pt x="2632" y="6158"/>
                </a:lnTo>
                <a:lnTo>
                  <a:pt x="2621" y="6167"/>
                </a:lnTo>
                <a:lnTo>
                  <a:pt x="2612" y="6172"/>
                </a:lnTo>
                <a:lnTo>
                  <a:pt x="2606" y="6174"/>
                </a:lnTo>
                <a:lnTo>
                  <a:pt x="2602" y="6175"/>
                </a:lnTo>
                <a:lnTo>
                  <a:pt x="2597" y="6174"/>
                </a:lnTo>
                <a:lnTo>
                  <a:pt x="2590" y="6172"/>
                </a:lnTo>
                <a:lnTo>
                  <a:pt x="2579" y="6166"/>
                </a:lnTo>
                <a:lnTo>
                  <a:pt x="2569" y="6157"/>
                </a:lnTo>
                <a:lnTo>
                  <a:pt x="2552" y="6139"/>
                </a:lnTo>
                <a:lnTo>
                  <a:pt x="2546" y="6130"/>
                </a:lnTo>
                <a:lnTo>
                  <a:pt x="2541" y="6132"/>
                </a:lnTo>
                <a:lnTo>
                  <a:pt x="2537" y="6124"/>
                </a:lnTo>
                <a:lnTo>
                  <a:pt x="2532" y="6116"/>
                </a:lnTo>
                <a:lnTo>
                  <a:pt x="2526" y="6107"/>
                </a:lnTo>
                <a:lnTo>
                  <a:pt x="2521" y="6098"/>
                </a:lnTo>
                <a:lnTo>
                  <a:pt x="2518" y="6093"/>
                </a:lnTo>
                <a:lnTo>
                  <a:pt x="2509" y="6080"/>
                </a:lnTo>
                <a:lnTo>
                  <a:pt x="2499" y="6067"/>
                </a:lnTo>
                <a:lnTo>
                  <a:pt x="2488" y="6056"/>
                </a:lnTo>
                <a:lnTo>
                  <a:pt x="2477" y="6040"/>
                </a:lnTo>
                <a:lnTo>
                  <a:pt x="2468" y="6031"/>
                </a:lnTo>
                <a:lnTo>
                  <a:pt x="2460" y="6022"/>
                </a:lnTo>
                <a:lnTo>
                  <a:pt x="2454" y="6016"/>
                </a:lnTo>
                <a:lnTo>
                  <a:pt x="2447" y="6011"/>
                </a:lnTo>
                <a:lnTo>
                  <a:pt x="2441" y="6008"/>
                </a:lnTo>
                <a:lnTo>
                  <a:pt x="2435" y="6007"/>
                </a:lnTo>
                <a:lnTo>
                  <a:pt x="2429" y="6006"/>
                </a:lnTo>
                <a:lnTo>
                  <a:pt x="2424" y="6006"/>
                </a:lnTo>
                <a:lnTo>
                  <a:pt x="2417" y="6006"/>
                </a:lnTo>
                <a:lnTo>
                  <a:pt x="2411" y="6006"/>
                </a:lnTo>
                <a:lnTo>
                  <a:pt x="2404" y="6006"/>
                </a:lnTo>
                <a:lnTo>
                  <a:pt x="2393" y="6006"/>
                </a:lnTo>
                <a:lnTo>
                  <a:pt x="2387" y="6006"/>
                </a:lnTo>
                <a:lnTo>
                  <a:pt x="2381" y="6004"/>
                </a:lnTo>
                <a:lnTo>
                  <a:pt x="2377" y="6000"/>
                </a:lnTo>
                <a:lnTo>
                  <a:pt x="2371" y="5994"/>
                </a:lnTo>
                <a:lnTo>
                  <a:pt x="2360" y="5981"/>
                </a:lnTo>
                <a:lnTo>
                  <a:pt x="2352" y="5970"/>
                </a:lnTo>
                <a:lnTo>
                  <a:pt x="2342" y="5958"/>
                </a:lnTo>
                <a:lnTo>
                  <a:pt x="2333" y="5944"/>
                </a:lnTo>
                <a:lnTo>
                  <a:pt x="2322" y="5926"/>
                </a:lnTo>
                <a:lnTo>
                  <a:pt x="2317" y="5916"/>
                </a:lnTo>
                <a:lnTo>
                  <a:pt x="2313" y="5908"/>
                </a:lnTo>
                <a:lnTo>
                  <a:pt x="2311" y="5901"/>
                </a:lnTo>
                <a:lnTo>
                  <a:pt x="2310" y="5896"/>
                </a:lnTo>
                <a:lnTo>
                  <a:pt x="2309" y="5886"/>
                </a:lnTo>
                <a:lnTo>
                  <a:pt x="2310" y="5878"/>
                </a:lnTo>
                <a:lnTo>
                  <a:pt x="2312" y="5870"/>
                </a:lnTo>
                <a:lnTo>
                  <a:pt x="2314" y="5863"/>
                </a:lnTo>
                <a:lnTo>
                  <a:pt x="2317" y="5858"/>
                </a:lnTo>
                <a:lnTo>
                  <a:pt x="2319" y="5853"/>
                </a:lnTo>
                <a:lnTo>
                  <a:pt x="2322" y="5845"/>
                </a:lnTo>
                <a:lnTo>
                  <a:pt x="2324" y="5834"/>
                </a:lnTo>
                <a:lnTo>
                  <a:pt x="2328" y="5819"/>
                </a:lnTo>
                <a:lnTo>
                  <a:pt x="2330" y="5809"/>
                </a:lnTo>
                <a:lnTo>
                  <a:pt x="2330" y="5801"/>
                </a:lnTo>
                <a:lnTo>
                  <a:pt x="2330" y="5794"/>
                </a:lnTo>
                <a:lnTo>
                  <a:pt x="2327" y="5789"/>
                </a:lnTo>
                <a:lnTo>
                  <a:pt x="2325" y="5783"/>
                </a:lnTo>
                <a:lnTo>
                  <a:pt x="2323" y="5780"/>
                </a:lnTo>
                <a:lnTo>
                  <a:pt x="2320" y="5777"/>
                </a:lnTo>
                <a:lnTo>
                  <a:pt x="2315" y="5773"/>
                </a:lnTo>
                <a:lnTo>
                  <a:pt x="2312" y="5770"/>
                </a:lnTo>
                <a:lnTo>
                  <a:pt x="2310" y="5766"/>
                </a:lnTo>
                <a:lnTo>
                  <a:pt x="2307" y="5762"/>
                </a:lnTo>
                <a:lnTo>
                  <a:pt x="2305" y="5756"/>
                </a:lnTo>
                <a:lnTo>
                  <a:pt x="2302" y="5750"/>
                </a:lnTo>
                <a:lnTo>
                  <a:pt x="2302" y="5745"/>
                </a:lnTo>
                <a:lnTo>
                  <a:pt x="2305" y="5741"/>
                </a:lnTo>
                <a:lnTo>
                  <a:pt x="2309" y="5738"/>
                </a:lnTo>
                <a:lnTo>
                  <a:pt x="2321" y="5728"/>
                </a:lnTo>
                <a:lnTo>
                  <a:pt x="2336" y="5712"/>
                </a:lnTo>
                <a:lnTo>
                  <a:pt x="2345" y="5702"/>
                </a:lnTo>
                <a:lnTo>
                  <a:pt x="2351" y="5693"/>
                </a:lnTo>
                <a:lnTo>
                  <a:pt x="2354" y="5686"/>
                </a:lnTo>
                <a:lnTo>
                  <a:pt x="2355" y="5680"/>
                </a:lnTo>
                <a:lnTo>
                  <a:pt x="2355" y="5674"/>
                </a:lnTo>
                <a:lnTo>
                  <a:pt x="2353" y="5669"/>
                </a:lnTo>
                <a:lnTo>
                  <a:pt x="2350" y="5665"/>
                </a:lnTo>
                <a:lnTo>
                  <a:pt x="2347" y="5660"/>
                </a:lnTo>
                <a:lnTo>
                  <a:pt x="2345" y="5657"/>
                </a:lnTo>
                <a:lnTo>
                  <a:pt x="2344" y="5655"/>
                </a:lnTo>
                <a:lnTo>
                  <a:pt x="2342" y="5651"/>
                </a:lnTo>
                <a:lnTo>
                  <a:pt x="2342" y="5646"/>
                </a:lnTo>
                <a:lnTo>
                  <a:pt x="2340" y="5645"/>
                </a:lnTo>
                <a:lnTo>
                  <a:pt x="2340" y="5645"/>
                </a:lnTo>
                <a:lnTo>
                  <a:pt x="2349" y="5648"/>
                </a:lnTo>
                <a:lnTo>
                  <a:pt x="2360" y="5656"/>
                </a:lnTo>
                <a:lnTo>
                  <a:pt x="2364" y="5659"/>
                </a:lnTo>
                <a:lnTo>
                  <a:pt x="2368" y="5662"/>
                </a:lnTo>
                <a:lnTo>
                  <a:pt x="2376" y="5668"/>
                </a:lnTo>
                <a:lnTo>
                  <a:pt x="2387" y="5679"/>
                </a:lnTo>
                <a:lnTo>
                  <a:pt x="2395" y="5689"/>
                </a:lnTo>
                <a:lnTo>
                  <a:pt x="2401" y="5699"/>
                </a:lnTo>
                <a:lnTo>
                  <a:pt x="2404" y="5705"/>
                </a:lnTo>
                <a:lnTo>
                  <a:pt x="2408" y="5710"/>
                </a:lnTo>
                <a:lnTo>
                  <a:pt x="2413" y="5712"/>
                </a:lnTo>
                <a:lnTo>
                  <a:pt x="2417" y="5714"/>
                </a:lnTo>
                <a:lnTo>
                  <a:pt x="2421" y="5716"/>
                </a:lnTo>
                <a:lnTo>
                  <a:pt x="2426" y="5718"/>
                </a:lnTo>
                <a:lnTo>
                  <a:pt x="2430" y="5718"/>
                </a:lnTo>
                <a:lnTo>
                  <a:pt x="2435" y="5718"/>
                </a:lnTo>
                <a:lnTo>
                  <a:pt x="2440" y="5716"/>
                </a:lnTo>
                <a:lnTo>
                  <a:pt x="2445" y="5714"/>
                </a:lnTo>
                <a:lnTo>
                  <a:pt x="2453" y="5710"/>
                </a:lnTo>
                <a:lnTo>
                  <a:pt x="2460" y="5702"/>
                </a:lnTo>
                <a:lnTo>
                  <a:pt x="2466" y="5696"/>
                </a:lnTo>
                <a:lnTo>
                  <a:pt x="2470" y="5689"/>
                </a:lnTo>
                <a:lnTo>
                  <a:pt x="2472" y="5684"/>
                </a:lnTo>
                <a:lnTo>
                  <a:pt x="2472" y="5679"/>
                </a:lnTo>
                <a:lnTo>
                  <a:pt x="2472" y="5673"/>
                </a:lnTo>
                <a:lnTo>
                  <a:pt x="2470" y="5667"/>
                </a:lnTo>
                <a:lnTo>
                  <a:pt x="2467" y="5660"/>
                </a:lnTo>
                <a:lnTo>
                  <a:pt x="2464" y="5652"/>
                </a:lnTo>
                <a:lnTo>
                  <a:pt x="2459" y="5644"/>
                </a:lnTo>
                <a:lnTo>
                  <a:pt x="2456" y="5635"/>
                </a:lnTo>
                <a:lnTo>
                  <a:pt x="2448" y="5617"/>
                </a:lnTo>
                <a:lnTo>
                  <a:pt x="2446" y="5613"/>
                </a:lnTo>
                <a:lnTo>
                  <a:pt x="2444" y="5610"/>
                </a:lnTo>
                <a:lnTo>
                  <a:pt x="2452" y="5606"/>
                </a:lnTo>
                <a:lnTo>
                  <a:pt x="2458" y="5601"/>
                </a:lnTo>
                <a:lnTo>
                  <a:pt x="2469" y="5589"/>
                </a:lnTo>
                <a:lnTo>
                  <a:pt x="2480" y="5576"/>
                </a:lnTo>
                <a:lnTo>
                  <a:pt x="2492" y="5562"/>
                </a:lnTo>
                <a:lnTo>
                  <a:pt x="2506" y="5549"/>
                </a:lnTo>
                <a:lnTo>
                  <a:pt x="2513" y="5541"/>
                </a:lnTo>
                <a:lnTo>
                  <a:pt x="2522" y="5535"/>
                </a:lnTo>
                <a:lnTo>
                  <a:pt x="2531" y="5527"/>
                </a:lnTo>
                <a:lnTo>
                  <a:pt x="2539" y="5521"/>
                </a:lnTo>
                <a:lnTo>
                  <a:pt x="2545" y="5516"/>
                </a:lnTo>
                <a:lnTo>
                  <a:pt x="2550" y="5511"/>
                </a:lnTo>
                <a:lnTo>
                  <a:pt x="2554" y="5505"/>
                </a:lnTo>
                <a:lnTo>
                  <a:pt x="2559" y="5499"/>
                </a:lnTo>
                <a:lnTo>
                  <a:pt x="2566" y="5486"/>
                </a:lnTo>
                <a:lnTo>
                  <a:pt x="2573" y="5475"/>
                </a:lnTo>
                <a:lnTo>
                  <a:pt x="2576" y="5467"/>
                </a:lnTo>
                <a:lnTo>
                  <a:pt x="2580" y="5459"/>
                </a:lnTo>
                <a:lnTo>
                  <a:pt x="2585" y="5453"/>
                </a:lnTo>
                <a:lnTo>
                  <a:pt x="2589" y="5449"/>
                </a:lnTo>
                <a:lnTo>
                  <a:pt x="2592" y="5450"/>
                </a:lnTo>
                <a:lnTo>
                  <a:pt x="2598" y="5453"/>
                </a:lnTo>
                <a:lnTo>
                  <a:pt x="2605" y="5458"/>
                </a:lnTo>
                <a:lnTo>
                  <a:pt x="2614" y="5465"/>
                </a:lnTo>
                <a:lnTo>
                  <a:pt x="2625" y="5472"/>
                </a:lnTo>
                <a:lnTo>
                  <a:pt x="2634" y="5480"/>
                </a:lnTo>
                <a:lnTo>
                  <a:pt x="2640" y="5482"/>
                </a:lnTo>
                <a:lnTo>
                  <a:pt x="2645" y="5485"/>
                </a:lnTo>
                <a:lnTo>
                  <a:pt x="2651" y="5486"/>
                </a:lnTo>
                <a:lnTo>
                  <a:pt x="2656" y="5487"/>
                </a:lnTo>
                <a:lnTo>
                  <a:pt x="2664" y="5489"/>
                </a:lnTo>
                <a:lnTo>
                  <a:pt x="2670" y="5487"/>
                </a:lnTo>
                <a:lnTo>
                  <a:pt x="2675" y="5485"/>
                </a:lnTo>
                <a:lnTo>
                  <a:pt x="2679" y="5482"/>
                </a:lnTo>
                <a:lnTo>
                  <a:pt x="2682" y="5478"/>
                </a:lnTo>
                <a:lnTo>
                  <a:pt x="2684" y="5473"/>
                </a:lnTo>
                <a:lnTo>
                  <a:pt x="2686" y="5468"/>
                </a:lnTo>
                <a:lnTo>
                  <a:pt x="2688" y="5463"/>
                </a:lnTo>
                <a:lnTo>
                  <a:pt x="2691" y="5457"/>
                </a:lnTo>
                <a:lnTo>
                  <a:pt x="2693" y="5452"/>
                </a:lnTo>
                <a:lnTo>
                  <a:pt x="2696" y="5446"/>
                </a:lnTo>
                <a:lnTo>
                  <a:pt x="2700" y="5442"/>
                </a:lnTo>
                <a:lnTo>
                  <a:pt x="2699" y="5462"/>
                </a:lnTo>
                <a:lnTo>
                  <a:pt x="2705" y="5467"/>
                </a:lnTo>
                <a:lnTo>
                  <a:pt x="2708" y="5469"/>
                </a:lnTo>
                <a:lnTo>
                  <a:pt x="2720" y="5473"/>
                </a:lnTo>
                <a:lnTo>
                  <a:pt x="2727" y="5476"/>
                </a:lnTo>
                <a:lnTo>
                  <a:pt x="2738" y="5478"/>
                </a:lnTo>
                <a:lnTo>
                  <a:pt x="2751" y="5479"/>
                </a:lnTo>
                <a:lnTo>
                  <a:pt x="2766" y="5479"/>
                </a:lnTo>
                <a:lnTo>
                  <a:pt x="2780" y="5480"/>
                </a:lnTo>
                <a:lnTo>
                  <a:pt x="2790" y="5481"/>
                </a:lnTo>
                <a:lnTo>
                  <a:pt x="2796" y="5484"/>
                </a:lnTo>
                <a:lnTo>
                  <a:pt x="2802" y="5487"/>
                </a:lnTo>
                <a:lnTo>
                  <a:pt x="2808" y="5492"/>
                </a:lnTo>
                <a:lnTo>
                  <a:pt x="2817" y="5496"/>
                </a:lnTo>
                <a:lnTo>
                  <a:pt x="2824" y="5502"/>
                </a:lnTo>
                <a:lnTo>
                  <a:pt x="2832" y="5511"/>
                </a:lnTo>
                <a:lnTo>
                  <a:pt x="2843" y="5523"/>
                </a:lnTo>
                <a:lnTo>
                  <a:pt x="2854" y="5537"/>
                </a:lnTo>
                <a:lnTo>
                  <a:pt x="2866" y="5556"/>
                </a:lnTo>
                <a:lnTo>
                  <a:pt x="2878" y="5574"/>
                </a:lnTo>
                <a:lnTo>
                  <a:pt x="2886" y="5590"/>
                </a:lnTo>
                <a:lnTo>
                  <a:pt x="2892" y="5602"/>
                </a:lnTo>
                <a:lnTo>
                  <a:pt x="2895" y="5607"/>
                </a:lnTo>
                <a:lnTo>
                  <a:pt x="2897" y="5612"/>
                </a:lnTo>
                <a:lnTo>
                  <a:pt x="2900" y="5616"/>
                </a:lnTo>
                <a:lnTo>
                  <a:pt x="2902" y="5618"/>
                </a:lnTo>
                <a:lnTo>
                  <a:pt x="2906" y="5619"/>
                </a:lnTo>
                <a:lnTo>
                  <a:pt x="2910" y="5620"/>
                </a:lnTo>
                <a:lnTo>
                  <a:pt x="2913" y="5620"/>
                </a:lnTo>
                <a:lnTo>
                  <a:pt x="2918" y="5619"/>
                </a:lnTo>
                <a:lnTo>
                  <a:pt x="2923" y="5616"/>
                </a:lnTo>
                <a:lnTo>
                  <a:pt x="2928" y="5610"/>
                </a:lnTo>
                <a:lnTo>
                  <a:pt x="2933" y="5603"/>
                </a:lnTo>
                <a:lnTo>
                  <a:pt x="2937" y="5594"/>
                </a:lnTo>
                <a:lnTo>
                  <a:pt x="2941" y="5587"/>
                </a:lnTo>
                <a:lnTo>
                  <a:pt x="2947" y="5578"/>
                </a:lnTo>
                <a:lnTo>
                  <a:pt x="2952" y="5570"/>
                </a:lnTo>
                <a:lnTo>
                  <a:pt x="2959" y="5562"/>
                </a:lnTo>
                <a:lnTo>
                  <a:pt x="2960" y="5560"/>
                </a:lnTo>
                <a:lnTo>
                  <a:pt x="2962" y="5560"/>
                </a:lnTo>
                <a:lnTo>
                  <a:pt x="2963" y="5561"/>
                </a:lnTo>
                <a:lnTo>
                  <a:pt x="2965" y="5562"/>
                </a:lnTo>
                <a:lnTo>
                  <a:pt x="2969" y="5566"/>
                </a:lnTo>
                <a:lnTo>
                  <a:pt x="2974" y="5570"/>
                </a:lnTo>
                <a:lnTo>
                  <a:pt x="2980" y="5576"/>
                </a:lnTo>
                <a:lnTo>
                  <a:pt x="2987" y="5583"/>
                </a:lnTo>
                <a:lnTo>
                  <a:pt x="2994" y="5588"/>
                </a:lnTo>
                <a:lnTo>
                  <a:pt x="3003" y="5592"/>
                </a:lnTo>
                <a:lnTo>
                  <a:pt x="3012" y="5595"/>
                </a:lnTo>
                <a:lnTo>
                  <a:pt x="3022" y="5597"/>
                </a:lnTo>
                <a:lnTo>
                  <a:pt x="3027" y="5597"/>
                </a:lnTo>
                <a:lnTo>
                  <a:pt x="3033" y="5595"/>
                </a:lnTo>
                <a:lnTo>
                  <a:pt x="3039" y="5593"/>
                </a:lnTo>
                <a:lnTo>
                  <a:pt x="3045" y="5591"/>
                </a:lnTo>
                <a:lnTo>
                  <a:pt x="3056" y="5586"/>
                </a:lnTo>
                <a:lnTo>
                  <a:pt x="3066" y="5580"/>
                </a:lnTo>
                <a:lnTo>
                  <a:pt x="3072" y="5576"/>
                </a:lnTo>
                <a:lnTo>
                  <a:pt x="3078" y="5572"/>
                </a:lnTo>
                <a:lnTo>
                  <a:pt x="3084" y="5564"/>
                </a:lnTo>
                <a:lnTo>
                  <a:pt x="3087" y="5557"/>
                </a:lnTo>
                <a:lnTo>
                  <a:pt x="3089" y="5553"/>
                </a:lnTo>
                <a:lnTo>
                  <a:pt x="3091" y="5551"/>
                </a:lnTo>
                <a:lnTo>
                  <a:pt x="3093" y="5549"/>
                </a:lnTo>
                <a:lnTo>
                  <a:pt x="3097" y="5546"/>
                </a:lnTo>
                <a:lnTo>
                  <a:pt x="3099" y="5545"/>
                </a:lnTo>
                <a:lnTo>
                  <a:pt x="3100" y="5545"/>
                </a:lnTo>
                <a:lnTo>
                  <a:pt x="3102" y="5546"/>
                </a:lnTo>
                <a:lnTo>
                  <a:pt x="3105" y="5547"/>
                </a:lnTo>
                <a:lnTo>
                  <a:pt x="3109" y="5551"/>
                </a:lnTo>
                <a:lnTo>
                  <a:pt x="3113" y="5556"/>
                </a:lnTo>
                <a:lnTo>
                  <a:pt x="3120" y="5562"/>
                </a:lnTo>
                <a:lnTo>
                  <a:pt x="3126" y="5568"/>
                </a:lnTo>
                <a:lnTo>
                  <a:pt x="3135" y="5574"/>
                </a:lnTo>
                <a:lnTo>
                  <a:pt x="3143" y="5577"/>
                </a:lnTo>
                <a:lnTo>
                  <a:pt x="3151" y="5579"/>
                </a:lnTo>
                <a:lnTo>
                  <a:pt x="3156" y="5579"/>
                </a:lnTo>
                <a:lnTo>
                  <a:pt x="3162" y="5578"/>
                </a:lnTo>
                <a:lnTo>
                  <a:pt x="3166" y="5576"/>
                </a:lnTo>
                <a:lnTo>
                  <a:pt x="3174" y="5571"/>
                </a:lnTo>
                <a:lnTo>
                  <a:pt x="3181" y="5562"/>
                </a:lnTo>
                <a:lnTo>
                  <a:pt x="3187" y="5557"/>
                </a:lnTo>
                <a:lnTo>
                  <a:pt x="3192" y="5552"/>
                </a:lnTo>
                <a:lnTo>
                  <a:pt x="3199" y="5547"/>
                </a:lnTo>
                <a:lnTo>
                  <a:pt x="3207" y="5543"/>
                </a:lnTo>
                <a:lnTo>
                  <a:pt x="3214" y="5541"/>
                </a:lnTo>
                <a:lnTo>
                  <a:pt x="3219" y="5543"/>
                </a:lnTo>
                <a:lnTo>
                  <a:pt x="3225" y="5545"/>
                </a:lnTo>
                <a:lnTo>
                  <a:pt x="3230" y="5548"/>
                </a:lnTo>
                <a:lnTo>
                  <a:pt x="3241" y="5560"/>
                </a:lnTo>
                <a:lnTo>
                  <a:pt x="3253" y="5574"/>
                </a:lnTo>
                <a:lnTo>
                  <a:pt x="3263" y="5587"/>
                </a:lnTo>
                <a:lnTo>
                  <a:pt x="3274" y="5600"/>
                </a:lnTo>
                <a:lnTo>
                  <a:pt x="3282" y="5606"/>
                </a:lnTo>
                <a:lnTo>
                  <a:pt x="3287" y="5612"/>
                </a:lnTo>
                <a:lnTo>
                  <a:pt x="3294" y="5616"/>
                </a:lnTo>
                <a:lnTo>
                  <a:pt x="3300" y="5619"/>
                </a:lnTo>
                <a:lnTo>
                  <a:pt x="3306" y="5622"/>
                </a:lnTo>
                <a:lnTo>
                  <a:pt x="3311" y="5624"/>
                </a:lnTo>
                <a:lnTo>
                  <a:pt x="3318" y="5625"/>
                </a:lnTo>
                <a:lnTo>
                  <a:pt x="3323" y="5625"/>
                </a:lnTo>
                <a:lnTo>
                  <a:pt x="3328" y="5624"/>
                </a:lnTo>
                <a:lnTo>
                  <a:pt x="3334" y="5622"/>
                </a:lnTo>
                <a:lnTo>
                  <a:pt x="3339" y="5620"/>
                </a:lnTo>
                <a:lnTo>
                  <a:pt x="3343" y="5617"/>
                </a:lnTo>
                <a:lnTo>
                  <a:pt x="3354" y="5610"/>
                </a:lnTo>
                <a:lnTo>
                  <a:pt x="3364" y="5600"/>
                </a:lnTo>
                <a:lnTo>
                  <a:pt x="3374" y="5588"/>
                </a:lnTo>
                <a:lnTo>
                  <a:pt x="3375" y="5586"/>
                </a:lnTo>
                <a:lnTo>
                  <a:pt x="3379" y="5589"/>
                </a:lnTo>
                <a:lnTo>
                  <a:pt x="3386" y="5591"/>
                </a:lnTo>
                <a:lnTo>
                  <a:pt x="3396" y="5593"/>
                </a:lnTo>
                <a:lnTo>
                  <a:pt x="3409" y="5593"/>
                </a:lnTo>
                <a:lnTo>
                  <a:pt x="3423" y="5593"/>
                </a:lnTo>
                <a:lnTo>
                  <a:pt x="3439" y="5592"/>
                </a:lnTo>
                <a:lnTo>
                  <a:pt x="3455" y="5590"/>
                </a:lnTo>
                <a:lnTo>
                  <a:pt x="3468" y="5588"/>
                </a:lnTo>
                <a:lnTo>
                  <a:pt x="3479" y="5586"/>
                </a:lnTo>
                <a:lnTo>
                  <a:pt x="3483" y="5585"/>
                </a:lnTo>
                <a:lnTo>
                  <a:pt x="3487" y="5583"/>
                </a:lnTo>
                <a:lnTo>
                  <a:pt x="3492" y="5579"/>
                </a:lnTo>
                <a:lnTo>
                  <a:pt x="3494" y="5576"/>
                </a:lnTo>
                <a:lnTo>
                  <a:pt x="3499" y="5568"/>
                </a:lnTo>
                <a:lnTo>
                  <a:pt x="3502" y="5559"/>
                </a:lnTo>
                <a:lnTo>
                  <a:pt x="3503" y="5548"/>
                </a:lnTo>
                <a:lnTo>
                  <a:pt x="3505" y="5537"/>
                </a:lnTo>
                <a:lnTo>
                  <a:pt x="3505" y="5525"/>
                </a:lnTo>
                <a:lnTo>
                  <a:pt x="3505" y="5512"/>
                </a:lnTo>
                <a:lnTo>
                  <a:pt x="3505" y="5498"/>
                </a:lnTo>
                <a:lnTo>
                  <a:pt x="3503" y="5493"/>
                </a:lnTo>
                <a:lnTo>
                  <a:pt x="3502" y="5489"/>
                </a:lnTo>
                <a:lnTo>
                  <a:pt x="3500" y="5484"/>
                </a:lnTo>
                <a:lnTo>
                  <a:pt x="3498" y="5480"/>
                </a:lnTo>
                <a:lnTo>
                  <a:pt x="3495" y="5476"/>
                </a:lnTo>
                <a:lnTo>
                  <a:pt x="3490" y="5472"/>
                </a:lnTo>
                <a:lnTo>
                  <a:pt x="3486" y="5469"/>
                </a:lnTo>
                <a:lnTo>
                  <a:pt x="3481" y="5466"/>
                </a:lnTo>
                <a:lnTo>
                  <a:pt x="3470" y="5460"/>
                </a:lnTo>
                <a:lnTo>
                  <a:pt x="3457" y="5456"/>
                </a:lnTo>
                <a:lnTo>
                  <a:pt x="3444" y="5452"/>
                </a:lnTo>
                <a:lnTo>
                  <a:pt x="3430" y="5448"/>
                </a:lnTo>
                <a:lnTo>
                  <a:pt x="3414" y="5442"/>
                </a:lnTo>
                <a:lnTo>
                  <a:pt x="3400" y="5438"/>
                </a:lnTo>
                <a:lnTo>
                  <a:pt x="3386" y="5432"/>
                </a:lnTo>
                <a:lnTo>
                  <a:pt x="3375" y="5426"/>
                </a:lnTo>
                <a:lnTo>
                  <a:pt x="3369" y="5422"/>
                </a:lnTo>
                <a:lnTo>
                  <a:pt x="3365" y="5417"/>
                </a:lnTo>
                <a:lnTo>
                  <a:pt x="3362" y="5414"/>
                </a:lnTo>
                <a:lnTo>
                  <a:pt x="3360" y="5411"/>
                </a:lnTo>
                <a:lnTo>
                  <a:pt x="3359" y="5409"/>
                </a:lnTo>
                <a:lnTo>
                  <a:pt x="3359" y="5408"/>
                </a:lnTo>
                <a:lnTo>
                  <a:pt x="3359" y="5406"/>
                </a:lnTo>
                <a:lnTo>
                  <a:pt x="3360" y="5404"/>
                </a:lnTo>
                <a:lnTo>
                  <a:pt x="3364" y="5400"/>
                </a:lnTo>
                <a:lnTo>
                  <a:pt x="3370" y="5396"/>
                </a:lnTo>
                <a:lnTo>
                  <a:pt x="3381" y="5390"/>
                </a:lnTo>
                <a:lnTo>
                  <a:pt x="3390" y="5384"/>
                </a:lnTo>
                <a:lnTo>
                  <a:pt x="3395" y="5379"/>
                </a:lnTo>
                <a:lnTo>
                  <a:pt x="3400" y="5375"/>
                </a:lnTo>
                <a:lnTo>
                  <a:pt x="3403" y="5370"/>
                </a:lnTo>
                <a:lnTo>
                  <a:pt x="3406" y="5364"/>
                </a:lnTo>
                <a:lnTo>
                  <a:pt x="3408" y="5358"/>
                </a:lnTo>
                <a:lnTo>
                  <a:pt x="3409" y="5351"/>
                </a:lnTo>
                <a:lnTo>
                  <a:pt x="3408" y="5345"/>
                </a:lnTo>
                <a:lnTo>
                  <a:pt x="3406" y="5337"/>
                </a:lnTo>
                <a:lnTo>
                  <a:pt x="3404" y="5334"/>
                </a:lnTo>
                <a:lnTo>
                  <a:pt x="3402" y="5331"/>
                </a:lnTo>
                <a:lnTo>
                  <a:pt x="3399" y="5325"/>
                </a:lnTo>
                <a:lnTo>
                  <a:pt x="3394" y="5318"/>
                </a:lnTo>
                <a:lnTo>
                  <a:pt x="3392" y="5309"/>
                </a:lnTo>
                <a:lnTo>
                  <a:pt x="3391" y="5301"/>
                </a:lnTo>
                <a:lnTo>
                  <a:pt x="3392" y="5294"/>
                </a:lnTo>
                <a:lnTo>
                  <a:pt x="3393" y="5289"/>
                </a:lnTo>
                <a:lnTo>
                  <a:pt x="3396" y="5283"/>
                </a:lnTo>
                <a:lnTo>
                  <a:pt x="3401" y="5278"/>
                </a:lnTo>
                <a:lnTo>
                  <a:pt x="3406" y="5275"/>
                </a:lnTo>
                <a:lnTo>
                  <a:pt x="3410" y="5275"/>
                </a:lnTo>
                <a:lnTo>
                  <a:pt x="3415" y="5275"/>
                </a:lnTo>
                <a:lnTo>
                  <a:pt x="3418" y="5277"/>
                </a:lnTo>
                <a:lnTo>
                  <a:pt x="3426" y="5280"/>
                </a:lnTo>
                <a:lnTo>
                  <a:pt x="3434" y="5281"/>
                </a:lnTo>
                <a:lnTo>
                  <a:pt x="3438" y="5281"/>
                </a:lnTo>
                <a:lnTo>
                  <a:pt x="3442" y="5280"/>
                </a:lnTo>
                <a:lnTo>
                  <a:pt x="3446" y="5278"/>
                </a:lnTo>
                <a:lnTo>
                  <a:pt x="3452" y="5274"/>
                </a:lnTo>
                <a:lnTo>
                  <a:pt x="3454" y="5271"/>
                </a:lnTo>
                <a:lnTo>
                  <a:pt x="3456" y="5268"/>
                </a:lnTo>
                <a:lnTo>
                  <a:pt x="3457" y="5265"/>
                </a:lnTo>
                <a:lnTo>
                  <a:pt x="3458" y="5262"/>
                </a:lnTo>
                <a:lnTo>
                  <a:pt x="3458" y="5255"/>
                </a:lnTo>
                <a:lnTo>
                  <a:pt x="3456" y="5248"/>
                </a:lnTo>
                <a:lnTo>
                  <a:pt x="3452" y="5239"/>
                </a:lnTo>
                <a:lnTo>
                  <a:pt x="3445" y="5230"/>
                </a:lnTo>
                <a:lnTo>
                  <a:pt x="3438" y="5220"/>
                </a:lnTo>
                <a:lnTo>
                  <a:pt x="3429" y="5209"/>
                </a:lnTo>
                <a:lnTo>
                  <a:pt x="3415" y="5190"/>
                </a:lnTo>
                <a:lnTo>
                  <a:pt x="3400" y="5170"/>
                </a:lnTo>
                <a:lnTo>
                  <a:pt x="3382" y="5146"/>
                </a:lnTo>
                <a:lnTo>
                  <a:pt x="3366" y="5118"/>
                </a:lnTo>
                <a:lnTo>
                  <a:pt x="3352" y="5102"/>
                </a:lnTo>
                <a:lnTo>
                  <a:pt x="3349" y="5098"/>
                </a:lnTo>
                <a:lnTo>
                  <a:pt x="3354" y="5101"/>
                </a:lnTo>
                <a:lnTo>
                  <a:pt x="3365" y="5109"/>
                </a:lnTo>
                <a:lnTo>
                  <a:pt x="3377" y="5116"/>
                </a:lnTo>
                <a:lnTo>
                  <a:pt x="3388" y="5121"/>
                </a:lnTo>
                <a:lnTo>
                  <a:pt x="3392" y="5122"/>
                </a:lnTo>
                <a:lnTo>
                  <a:pt x="3398" y="5124"/>
                </a:lnTo>
                <a:lnTo>
                  <a:pt x="3402" y="5122"/>
                </a:lnTo>
                <a:lnTo>
                  <a:pt x="3406" y="5121"/>
                </a:lnTo>
                <a:lnTo>
                  <a:pt x="3415" y="5118"/>
                </a:lnTo>
                <a:lnTo>
                  <a:pt x="3429" y="5115"/>
                </a:lnTo>
                <a:lnTo>
                  <a:pt x="3439" y="5114"/>
                </a:lnTo>
                <a:lnTo>
                  <a:pt x="3450" y="5114"/>
                </a:lnTo>
                <a:lnTo>
                  <a:pt x="3463" y="5113"/>
                </a:lnTo>
                <a:lnTo>
                  <a:pt x="3476" y="5113"/>
                </a:lnTo>
                <a:lnTo>
                  <a:pt x="3489" y="5113"/>
                </a:lnTo>
                <a:lnTo>
                  <a:pt x="3502" y="5111"/>
                </a:lnTo>
                <a:lnTo>
                  <a:pt x="3512" y="5108"/>
                </a:lnTo>
                <a:lnTo>
                  <a:pt x="3522" y="5105"/>
                </a:lnTo>
                <a:lnTo>
                  <a:pt x="3540" y="5095"/>
                </a:lnTo>
                <a:lnTo>
                  <a:pt x="3556" y="5085"/>
                </a:lnTo>
                <a:lnTo>
                  <a:pt x="3566" y="5079"/>
                </a:lnTo>
                <a:lnTo>
                  <a:pt x="3577" y="5075"/>
                </a:lnTo>
                <a:lnTo>
                  <a:pt x="3591" y="5071"/>
                </a:lnTo>
                <a:lnTo>
                  <a:pt x="3607" y="5066"/>
                </a:lnTo>
                <a:lnTo>
                  <a:pt x="3620" y="5063"/>
                </a:lnTo>
                <a:lnTo>
                  <a:pt x="3633" y="5059"/>
                </a:lnTo>
                <a:lnTo>
                  <a:pt x="3649" y="5054"/>
                </a:lnTo>
                <a:lnTo>
                  <a:pt x="3667" y="5049"/>
                </a:lnTo>
                <a:lnTo>
                  <a:pt x="3682" y="5044"/>
                </a:lnTo>
                <a:lnTo>
                  <a:pt x="3694" y="5039"/>
                </a:lnTo>
                <a:lnTo>
                  <a:pt x="3702" y="5036"/>
                </a:lnTo>
                <a:lnTo>
                  <a:pt x="3709" y="5033"/>
                </a:lnTo>
                <a:lnTo>
                  <a:pt x="3712" y="5030"/>
                </a:lnTo>
                <a:lnTo>
                  <a:pt x="3714" y="5026"/>
                </a:lnTo>
                <a:lnTo>
                  <a:pt x="3715" y="5024"/>
                </a:lnTo>
                <a:lnTo>
                  <a:pt x="3716" y="5022"/>
                </a:lnTo>
                <a:lnTo>
                  <a:pt x="3716" y="5023"/>
                </a:lnTo>
                <a:lnTo>
                  <a:pt x="3724" y="5025"/>
                </a:lnTo>
                <a:lnTo>
                  <a:pt x="3745" y="5019"/>
                </a:lnTo>
                <a:lnTo>
                  <a:pt x="3769" y="5011"/>
                </a:lnTo>
                <a:lnTo>
                  <a:pt x="3797" y="5003"/>
                </a:lnTo>
                <a:lnTo>
                  <a:pt x="3826" y="4994"/>
                </a:lnTo>
                <a:lnTo>
                  <a:pt x="3843" y="4987"/>
                </a:lnTo>
                <a:lnTo>
                  <a:pt x="3860" y="4982"/>
                </a:lnTo>
                <a:lnTo>
                  <a:pt x="3873" y="4977"/>
                </a:lnTo>
                <a:lnTo>
                  <a:pt x="3884" y="4973"/>
                </a:lnTo>
                <a:lnTo>
                  <a:pt x="3898" y="4967"/>
                </a:lnTo>
                <a:lnTo>
                  <a:pt x="3905" y="4964"/>
                </a:lnTo>
                <a:lnTo>
                  <a:pt x="3909" y="4960"/>
                </a:lnTo>
                <a:lnTo>
                  <a:pt x="3911" y="4956"/>
                </a:lnTo>
                <a:lnTo>
                  <a:pt x="3912" y="4955"/>
                </a:lnTo>
                <a:lnTo>
                  <a:pt x="3914" y="4953"/>
                </a:lnTo>
                <a:lnTo>
                  <a:pt x="3924" y="4944"/>
                </a:lnTo>
                <a:lnTo>
                  <a:pt x="3938" y="4935"/>
                </a:lnTo>
                <a:lnTo>
                  <a:pt x="3946" y="4929"/>
                </a:lnTo>
                <a:lnTo>
                  <a:pt x="3954" y="4926"/>
                </a:lnTo>
                <a:lnTo>
                  <a:pt x="3964" y="4923"/>
                </a:lnTo>
                <a:lnTo>
                  <a:pt x="3974" y="4920"/>
                </a:lnTo>
                <a:lnTo>
                  <a:pt x="3979" y="4920"/>
                </a:lnTo>
                <a:lnTo>
                  <a:pt x="3986" y="4922"/>
                </a:lnTo>
                <a:lnTo>
                  <a:pt x="3992" y="4924"/>
                </a:lnTo>
                <a:lnTo>
                  <a:pt x="3997" y="4926"/>
                </a:lnTo>
                <a:lnTo>
                  <a:pt x="4009" y="4931"/>
                </a:lnTo>
                <a:lnTo>
                  <a:pt x="4021" y="4937"/>
                </a:lnTo>
                <a:lnTo>
                  <a:pt x="4029" y="4941"/>
                </a:lnTo>
                <a:lnTo>
                  <a:pt x="4036" y="4944"/>
                </a:lnTo>
                <a:lnTo>
                  <a:pt x="4043" y="4946"/>
                </a:lnTo>
                <a:lnTo>
                  <a:pt x="4049" y="4949"/>
                </a:lnTo>
                <a:lnTo>
                  <a:pt x="4058" y="4949"/>
                </a:lnTo>
                <a:lnTo>
                  <a:pt x="4064" y="4946"/>
                </a:lnTo>
                <a:lnTo>
                  <a:pt x="4071" y="4943"/>
                </a:lnTo>
                <a:lnTo>
                  <a:pt x="4076" y="4940"/>
                </a:lnTo>
                <a:lnTo>
                  <a:pt x="4081" y="4937"/>
                </a:lnTo>
                <a:lnTo>
                  <a:pt x="4085" y="4935"/>
                </a:lnTo>
                <a:lnTo>
                  <a:pt x="4090" y="4933"/>
                </a:lnTo>
                <a:lnTo>
                  <a:pt x="4097" y="4932"/>
                </a:lnTo>
                <a:lnTo>
                  <a:pt x="4099" y="4935"/>
                </a:lnTo>
                <a:lnTo>
                  <a:pt x="4101" y="4940"/>
                </a:lnTo>
                <a:lnTo>
                  <a:pt x="4103" y="4947"/>
                </a:lnTo>
                <a:lnTo>
                  <a:pt x="4106" y="4956"/>
                </a:lnTo>
                <a:lnTo>
                  <a:pt x="4108" y="4967"/>
                </a:lnTo>
                <a:lnTo>
                  <a:pt x="4111" y="4979"/>
                </a:lnTo>
                <a:lnTo>
                  <a:pt x="4115" y="4991"/>
                </a:lnTo>
                <a:lnTo>
                  <a:pt x="4121" y="5003"/>
                </a:lnTo>
                <a:lnTo>
                  <a:pt x="4127" y="5014"/>
                </a:lnTo>
                <a:lnTo>
                  <a:pt x="4134" y="5022"/>
                </a:lnTo>
                <a:lnTo>
                  <a:pt x="4139" y="5027"/>
                </a:lnTo>
                <a:lnTo>
                  <a:pt x="4143" y="5030"/>
                </a:lnTo>
                <a:lnTo>
                  <a:pt x="4143" y="5038"/>
                </a:lnTo>
                <a:lnTo>
                  <a:pt x="4143" y="5046"/>
                </a:lnTo>
                <a:lnTo>
                  <a:pt x="4142" y="5058"/>
                </a:lnTo>
                <a:lnTo>
                  <a:pt x="4143" y="5067"/>
                </a:lnTo>
                <a:lnTo>
                  <a:pt x="4144" y="5072"/>
                </a:lnTo>
                <a:lnTo>
                  <a:pt x="4148" y="5076"/>
                </a:lnTo>
                <a:lnTo>
                  <a:pt x="4152" y="5080"/>
                </a:lnTo>
                <a:lnTo>
                  <a:pt x="4157" y="5084"/>
                </a:lnTo>
                <a:lnTo>
                  <a:pt x="4165" y="5086"/>
                </a:lnTo>
                <a:lnTo>
                  <a:pt x="4173" y="5087"/>
                </a:lnTo>
                <a:lnTo>
                  <a:pt x="4181" y="5087"/>
                </a:lnTo>
                <a:lnTo>
                  <a:pt x="4192" y="5086"/>
                </a:lnTo>
                <a:lnTo>
                  <a:pt x="4199" y="5085"/>
                </a:lnTo>
                <a:lnTo>
                  <a:pt x="4206" y="5085"/>
                </a:lnTo>
                <a:lnTo>
                  <a:pt x="4216" y="5084"/>
                </a:lnTo>
                <a:lnTo>
                  <a:pt x="4227" y="5082"/>
                </a:lnTo>
                <a:lnTo>
                  <a:pt x="4235" y="5082"/>
                </a:lnTo>
                <a:lnTo>
                  <a:pt x="4241" y="5082"/>
                </a:lnTo>
                <a:lnTo>
                  <a:pt x="4243" y="5084"/>
                </a:lnTo>
                <a:lnTo>
                  <a:pt x="4243" y="5086"/>
                </a:lnTo>
                <a:lnTo>
                  <a:pt x="4246" y="5094"/>
                </a:lnTo>
                <a:lnTo>
                  <a:pt x="4250" y="5105"/>
                </a:lnTo>
                <a:lnTo>
                  <a:pt x="4258" y="5117"/>
                </a:lnTo>
                <a:lnTo>
                  <a:pt x="4270" y="5132"/>
                </a:lnTo>
                <a:lnTo>
                  <a:pt x="4277" y="5142"/>
                </a:lnTo>
                <a:lnTo>
                  <a:pt x="4285" y="5148"/>
                </a:lnTo>
                <a:lnTo>
                  <a:pt x="4290" y="5153"/>
                </a:lnTo>
                <a:lnTo>
                  <a:pt x="4296" y="5156"/>
                </a:lnTo>
                <a:lnTo>
                  <a:pt x="4300" y="5157"/>
                </a:lnTo>
                <a:lnTo>
                  <a:pt x="4304" y="5157"/>
                </a:lnTo>
                <a:lnTo>
                  <a:pt x="4309" y="5155"/>
                </a:lnTo>
                <a:lnTo>
                  <a:pt x="4313" y="5153"/>
                </a:lnTo>
                <a:lnTo>
                  <a:pt x="4316" y="5148"/>
                </a:lnTo>
                <a:lnTo>
                  <a:pt x="4319" y="5144"/>
                </a:lnTo>
                <a:lnTo>
                  <a:pt x="4322" y="5140"/>
                </a:lnTo>
                <a:lnTo>
                  <a:pt x="4327" y="5134"/>
                </a:lnTo>
                <a:lnTo>
                  <a:pt x="4330" y="5132"/>
                </a:lnTo>
                <a:lnTo>
                  <a:pt x="4335" y="5130"/>
                </a:lnTo>
                <a:lnTo>
                  <a:pt x="4340" y="5128"/>
                </a:lnTo>
                <a:lnTo>
                  <a:pt x="4348" y="5127"/>
                </a:lnTo>
                <a:lnTo>
                  <a:pt x="4359" y="5121"/>
                </a:lnTo>
                <a:lnTo>
                  <a:pt x="4362" y="5120"/>
                </a:lnTo>
                <a:lnTo>
                  <a:pt x="4360" y="5124"/>
                </a:lnTo>
                <a:lnTo>
                  <a:pt x="4354" y="5130"/>
                </a:lnTo>
                <a:lnTo>
                  <a:pt x="4350" y="5138"/>
                </a:lnTo>
                <a:lnTo>
                  <a:pt x="4346" y="5145"/>
                </a:lnTo>
                <a:lnTo>
                  <a:pt x="4341" y="5154"/>
                </a:lnTo>
                <a:lnTo>
                  <a:pt x="4339" y="5162"/>
                </a:lnTo>
                <a:lnTo>
                  <a:pt x="4337" y="5170"/>
                </a:lnTo>
                <a:lnTo>
                  <a:pt x="4336" y="5178"/>
                </a:lnTo>
                <a:lnTo>
                  <a:pt x="4336" y="5183"/>
                </a:lnTo>
                <a:lnTo>
                  <a:pt x="4337" y="5188"/>
                </a:lnTo>
                <a:lnTo>
                  <a:pt x="4339" y="5192"/>
                </a:lnTo>
                <a:lnTo>
                  <a:pt x="4342" y="5195"/>
                </a:lnTo>
                <a:lnTo>
                  <a:pt x="4346" y="5197"/>
                </a:lnTo>
                <a:lnTo>
                  <a:pt x="4350" y="5198"/>
                </a:lnTo>
                <a:lnTo>
                  <a:pt x="4354" y="5199"/>
                </a:lnTo>
                <a:lnTo>
                  <a:pt x="4359" y="5198"/>
                </a:lnTo>
                <a:lnTo>
                  <a:pt x="4364" y="5197"/>
                </a:lnTo>
                <a:lnTo>
                  <a:pt x="4368" y="5196"/>
                </a:lnTo>
                <a:lnTo>
                  <a:pt x="4374" y="5194"/>
                </a:lnTo>
                <a:lnTo>
                  <a:pt x="4379" y="5193"/>
                </a:lnTo>
                <a:lnTo>
                  <a:pt x="4394" y="5189"/>
                </a:lnTo>
                <a:lnTo>
                  <a:pt x="4409" y="5187"/>
                </a:lnTo>
                <a:lnTo>
                  <a:pt x="4418" y="5186"/>
                </a:lnTo>
                <a:lnTo>
                  <a:pt x="4428" y="5185"/>
                </a:lnTo>
                <a:lnTo>
                  <a:pt x="4435" y="5184"/>
                </a:lnTo>
                <a:lnTo>
                  <a:pt x="4442" y="5183"/>
                </a:lnTo>
                <a:lnTo>
                  <a:pt x="4447" y="5182"/>
                </a:lnTo>
                <a:lnTo>
                  <a:pt x="4451" y="5181"/>
                </a:lnTo>
                <a:lnTo>
                  <a:pt x="4455" y="5180"/>
                </a:lnTo>
                <a:lnTo>
                  <a:pt x="4458" y="5178"/>
                </a:lnTo>
                <a:lnTo>
                  <a:pt x="4464" y="5171"/>
                </a:lnTo>
                <a:lnTo>
                  <a:pt x="4470" y="5163"/>
                </a:lnTo>
                <a:lnTo>
                  <a:pt x="4476" y="5156"/>
                </a:lnTo>
                <a:lnTo>
                  <a:pt x="4485" y="5146"/>
                </a:lnTo>
                <a:lnTo>
                  <a:pt x="4496" y="5136"/>
                </a:lnTo>
                <a:lnTo>
                  <a:pt x="4512" y="5126"/>
                </a:lnTo>
                <a:lnTo>
                  <a:pt x="4528" y="5117"/>
                </a:lnTo>
                <a:lnTo>
                  <a:pt x="4546" y="5107"/>
                </a:lnTo>
                <a:lnTo>
                  <a:pt x="4562" y="5100"/>
                </a:lnTo>
                <a:lnTo>
                  <a:pt x="4574" y="5092"/>
                </a:lnTo>
                <a:lnTo>
                  <a:pt x="4578" y="5090"/>
                </a:lnTo>
                <a:lnTo>
                  <a:pt x="4582" y="5090"/>
                </a:lnTo>
                <a:lnTo>
                  <a:pt x="4584" y="5091"/>
                </a:lnTo>
                <a:lnTo>
                  <a:pt x="4588" y="5094"/>
                </a:lnTo>
                <a:lnTo>
                  <a:pt x="4592" y="5098"/>
                </a:lnTo>
                <a:lnTo>
                  <a:pt x="4597" y="5102"/>
                </a:lnTo>
                <a:lnTo>
                  <a:pt x="4606" y="5109"/>
                </a:lnTo>
                <a:lnTo>
                  <a:pt x="4619" y="5122"/>
                </a:lnTo>
                <a:lnTo>
                  <a:pt x="4632" y="5136"/>
                </a:lnTo>
                <a:lnTo>
                  <a:pt x="4647" y="5152"/>
                </a:lnTo>
                <a:lnTo>
                  <a:pt x="4664" y="5168"/>
                </a:lnTo>
                <a:lnTo>
                  <a:pt x="4684" y="5184"/>
                </a:lnTo>
                <a:lnTo>
                  <a:pt x="4695" y="5193"/>
                </a:lnTo>
                <a:lnTo>
                  <a:pt x="4706" y="5203"/>
                </a:lnTo>
                <a:lnTo>
                  <a:pt x="4718" y="5216"/>
                </a:lnTo>
                <a:lnTo>
                  <a:pt x="4731" y="5230"/>
                </a:lnTo>
                <a:lnTo>
                  <a:pt x="4761" y="5262"/>
                </a:lnTo>
                <a:lnTo>
                  <a:pt x="4789" y="5293"/>
                </a:lnTo>
                <a:lnTo>
                  <a:pt x="4809" y="5316"/>
                </a:lnTo>
                <a:lnTo>
                  <a:pt x="4828" y="5336"/>
                </a:lnTo>
                <a:lnTo>
                  <a:pt x="4843" y="5352"/>
                </a:lnTo>
                <a:lnTo>
                  <a:pt x="4856" y="5364"/>
                </a:lnTo>
                <a:lnTo>
                  <a:pt x="4867" y="5375"/>
                </a:lnTo>
                <a:lnTo>
                  <a:pt x="4880" y="5392"/>
                </a:lnTo>
                <a:lnTo>
                  <a:pt x="4894" y="5414"/>
                </a:lnTo>
                <a:lnTo>
                  <a:pt x="4909" y="5438"/>
                </a:lnTo>
                <a:close/>
                <a:moveTo>
                  <a:pt x="2551" y="6979"/>
                </a:moveTo>
                <a:lnTo>
                  <a:pt x="2569" y="6954"/>
                </a:lnTo>
                <a:lnTo>
                  <a:pt x="2559" y="6969"/>
                </a:lnTo>
                <a:lnTo>
                  <a:pt x="2551" y="6979"/>
                </a:lnTo>
                <a:close/>
                <a:moveTo>
                  <a:pt x="2178" y="7179"/>
                </a:moveTo>
                <a:lnTo>
                  <a:pt x="2367" y="7070"/>
                </a:lnTo>
                <a:lnTo>
                  <a:pt x="2363" y="7080"/>
                </a:lnTo>
                <a:lnTo>
                  <a:pt x="2359" y="7087"/>
                </a:lnTo>
                <a:lnTo>
                  <a:pt x="2355" y="7093"/>
                </a:lnTo>
                <a:lnTo>
                  <a:pt x="2353" y="7100"/>
                </a:lnTo>
                <a:lnTo>
                  <a:pt x="2353" y="7105"/>
                </a:lnTo>
                <a:lnTo>
                  <a:pt x="2354" y="7112"/>
                </a:lnTo>
                <a:lnTo>
                  <a:pt x="2359" y="7117"/>
                </a:lnTo>
                <a:lnTo>
                  <a:pt x="2364" y="7123"/>
                </a:lnTo>
                <a:lnTo>
                  <a:pt x="2373" y="7127"/>
                </a:lnTo>
                <a:lnTo>
                  <a:pt x="2391" y="7136"/>
                </a:lnTo>
                <a:lnTo>
                  <a:pt x="2407" y="7143"/>
                </a:lnTo>
                <a:lnTo>
                  <a:pt x="2413" y="7146"/>
                </a:lnTo>
                <a:lnTo>
                  <a:pt x="2416" y="7151"/>
                </a:lnTo>
                <a:lnTo>
                  <a:pt x="2416" y="7153"/>
                </a:lnTo>
                <a:lnTo>
                  <a:pt x="2416" y="7155"/>
                </a:lnTo>
                <a:lnTo>
                  <a:pt x="2416" y="7157"/>
                </a:lnTo>
                <a:lnTo>
                  <a:pt x="2414" y="7160"/>
                </a:lnTo>
                <a:lnTo>
                  <a:pt x="2406" y="7168"/>
                </a:lnTo>
                <a:lnTo>
                  <a:pt x="2400" y="7173"/>
                </a:lnTo>
                <a:lnTo>
                  <a:pt x="2397" y="7177"/>
                </a:lnTo>
                <a:lnTo>
                  <a:pt x="2395" y="7182"/>
                </a:lnTo>
                <a:lnTo>
                  <a:pt x="2395" y="7191"/>
                </a:lnTo>
                <a:lnTo>
                  <a:pt x="2398" y="7201"/>
                </a:lnTo>
                <a:lnTo>
                  <a:pt x="2399" y="7208"/>
                </a:lnTo>
                <a:lnTo>
                  <a:pt x="2401" y="7213"/>
                </a:lnTo>
                <a:lnTo>
                  <a:pt x="2403" y="7218"/>
                </a:lnTo>
                <a:lnTo>
                  <a:pt x="2406" y="7221"/>
                </a:lnTo>
                <a:lnTo>
                  <a:pt x="2412" y="7225"/>
                </a:lnTo>
                <a:lnTo>
                  <a:pt x="2419" y="7230"/>
                </a:lnTo>
                <a:lnTo>
                  <a:pt x="2426" y="7232"/>
                </a:lnTo>
                <a:lnTo>
                  <a:pt x="2432" y="7236"/>
                </a:lnTo>
                <a:lnTo>
                  <a:pt x="2435" y="7238"/>
                </a:lnTo>
                <a:lnTo>
                  <a:pt x="2439" y="7241"/>
                </a:lnTo>
                <a:lnTo>
                  <a:pt x="2441" y="7245"/>
                </a:lnTo>
                <a:lnTo>
                  <a:pt x="2443" y="7249"/>
                </a:lnTo>
                <a:lnTo>
                  <a:pt x="2450" y="7267"/>
                </a:lnTo>
                <a:lnTo>
                  <a:pt x="2455" y="7285"/>
                </a:lnTo>
                <a:lnTo>
                  <a:pt x="2460" y="7302"/>
                </a:lnTo>
                <a:lnTo>
                  <a:pt x="2465" y="7320"/>
                </a:lnTo>
                <a:lnTo>
                  <a:pt x="2469" y="7340"/>
                </a:lnTo>
                <a:lnTo>
                  <a:pt x="2473" y="7357"/>
                </a:lnTo>
                <a:lnTo>
                  <a:pt x="2474" y="7363"/>
                </a:lnTo>
                <a:lnTo>
                  <a:pt x="2473" y="7370"/>
                </a:lnTo>
                <a:lnTo>
                  <a:pt x="2472" y="7372"/>
                </a:lnTo>
                <a:lnTo>
                  <a:pt x="2470" y="7374"/>
                </a:lnTo>
                <a:lnTo>
                  <a:pt x="2469" y="7375"/>
                </a:lnTo>
                <a:lnTo>
                  <a:pt x="2466" y="7376"/>
                </a:lnTo>
                <a:lnTo>
                  <a:pt x="2455" y="7382"/>
                </a:lnTo>
                <a:lnTo>
                  <a:pt x="2445" y="7386"/>
                </a:lnTo>
                <a:lnTo>
                  <a:pt x="2441" y="7387"/>
                </a:lnTo>
                <a:lnTo>
                  <a:pt x="2435" y="7385"/>
                </a:lnTo>
                <a:lnTo>
                  <a:pt x="2430" y="7381"/>
                </a:lnTo>
                <a:lnTo>
                  <a:pt x="2425" y="7373"/>
                </a:lnTo>
                <a:lnTo>
                  <a:pt x="2412" y="7355"/>
                </a:lnTo>
                <a:lnTo>
                  <a:pt x="2401" y="7336"/>
                </a:lnTo>
                <a:lnTo>
                  <a:pt x="2390" y="7320"/>
                </a:lnTo>
                <a:lnTo>
                  <a:pt x="2381" y="7306"/>
                </a:lnTo>
                <a:lnTo>
                  <a:pt x="2377" y="7301"/>
                </a:lnTo>
                <a:lnTo>
                  <a:pt x="2372" y="7296"/>
                </a:lnTo>
                <a:lnTo>
                  <a:pt x="2365" y="7293"/>
                </a:lnTo>
                <a:lnTo>
                  <a:pt x="2359" y="7290"/>
                </a:lnTo>
                <a:lnTo>
                  <a:pt x="2344" y="7284"/>
                </a:lnTo>
                <a:lnTo>
                  <a:pt x="2328" y="7276"/>
                </a:lnTo>
                <a:lnTo>
                  <a:pt x="2314" y="7267"/>
                </a:lnTo>
                <a:lnTo>
                  <a:pt x="2304" y="7260"/>
                </a:lnTo>
                <a:lnTo>
                  <a:pt x="2295" y="7253"/>
                </a:lnTo>
                <a:lnTo>
                  <a:pt x="2285" y="7246"/>
                </a:lnTo>
                <a:lnTo>
                  <a:pt x="2277" y="7238"/>
                </a:lnTo>
                <a:lnTo>
                  <a:pt x="2270" y="7230"/>
                </a:lnTo>
                <a:lnTo>
                  <a:pt x="2264" y="7221"/>
                </a:lnTo>
                <a:lnTo>
                  <a:pt x="2258" y="7213"/>
                </a:lnTo>
                <a:lnTo>
                  <a:pt x="2256" y="7210"/>
                </a:lnTo>
                <a:lnTo>
                  <a:pt x="2253" y="7208"/>
                </a:lnTo>
                <a:lnTo>
                  <a:pt x="2251" y="7207"/>
                </a:lnTo>
                <a:lnTo>
                  <a:pt x="2247" y="7205"/>
                </a:lnTo>
                <a:lnTo>
                  <a:pt x="2238" y="7203"/>
                </a:lnTo>
                <a:lnTo>
                  <a:pt x="2224" y="7200"/>
                </a:lnTo>
                <a:lnTo>
                  <a:pt x="2207" y="7197"/>
                </a:lnTo>
                <a:lnTo>
                  <a:pt x="2194" y="7193"/>
                </a:lnTo>
                <a:lnTo>
                  <a:pt x="2189" y="7190"/>
                </a:lnTo>
                <a:lnTo>
                  <a:pt x="2185" y="7187"/>
                </a:lnTo>
                <a:lnTo>
                  <a:pt x="2181" y="7184"/>
                </a:lnTo>
                <a:lnTo>
                  <a:pt x="2179" y="7180"/>
                </a:lnTo>
                <a:lnTo>
                  <a:pt x="2179" y="7180"/>
                </a:lnTo>
                <a:lnTo>
                  <a:pt x="2178" y="7179"/>
                </a:lnTo>
                <a:close/>
                <a:moveTo>
                  <a:pt x="1237" y="6250"/>
                </a:moveTo>
                <a:lnTo>
                  <a:pt x="1225" y="6236"/>
                </a:lnTo>
                <a:lnTo>
                  <a:pt x="1214" y="6223"/>
                </a:lnTo>
                <a:lnTo>
                  <a:pt x="1205" y="6212"/>
                </a:lnTo>
                <a:lnTo>
                  <a:pt x="1201" y="6202"/>
                </a:lnTo>
                <a:lnTo>
                  <a:pt x="1200" y="6199"/>
                </a:lnTo>
                <a:lnTo>
                  <a:pt x="1199" y="6195"/>
                </a:lnTo>
                <a:lnTo>
                  <a:pt x="1199" y="6191"/>
                </a:lnTo>
                <a:lnTo>
                  <a:pt x="1199" y="6186"/>
                </a:lnTo>
                <a:lnTo>
                  <a:pt x="1201" y="6183"/>
                </a:lnTo>
                <a:lnTo>
                  <a:pt x="1205" y="6180"/>
                </a:lnTo>
                <a:lnTo>
                  <a:pt x="1211" y="6178"/>
                </a:lnTo>
                <a:lnTo>
                  <a:pt x="1218" y="6177"/>
                </a:lnTo>
                <a:lnTo>
                  <a:pt x="1236" y="6177"/>
                </a:lnTo>
                <a:lnTo>
                  <a:pt x="1252" y="6177"/>
                </a:lnTo>
                <a:lnTo>
                  <a:pt x="1265" y="6178"/>
                </a:lnTo>
                <a:lnTo>
                  <a:pt x="1274" y="6180"/>
                </a:lnTo>
                <a:lnTo>
                  <a:pt x="1278" y="6182"/>
                </a:lnTo>
                <a:lnTo>
                  <a:pt x="1280" y="6184"/>
                </a:lnTo>
                <a:lnTo>
                  <a:pt x="1282" y="6187"/>
                </a:lnTo>
                <a:lnTo>
                  <a:pt x="1284" y="6191"/>
                </a:lnTo>
                <a:lnTo>
                  <a:pt x="1286" y="6196"/>
                </a:lnTo>
                <a:lnTo>
                  <a:pt x="1286" y="6198"/>
                </a:lnTo>
                <a:lnTo>
                  <a:pt x="1290" y="6197"/>
                </a:lnTo>
                <a:lnTo>
                  <a:pt x="1295" y="6193"/>
                </a:lnTo>
                <a:lnTo>
                  <a:pt x="1298" y="6191"/>
                </a:lnTo>
                <a:lnTo>
                  <a:pt x="1300" y="6187"/>
                </a:lnTo>
                <a:lnTo>
                  <a:pt x="1303" y="6183"/>
                </a:lnTo>
                <a:lnTo>
                  <a:pt x="1304" y="6180"/>
                </a:lnTo>
                <a:lnTo>
                  <a:pt x="1306" y="6166"/>
                </a:lnTo>
                <a:lnTo>
                  <a:pt x="1306" y="6159"/>
                </a:lnTo>
                <a:lnTo>
                  <a:pt x="1306" y="6159"/>
                </a:lnTo>
                <a:lnTo>
                  <a:pt x="1309" y="6159"/>
                </a:lnTo>
                <a:lnTo>
                  <a:pt x="1318" y="6164"/>
                </a:lnTo>
                <a:lnTo>
                  <a:pt x="1333" y="6175"/>
                </a:lnTo>
                <a:lnTo>
                  <a:pt x="1340" y="6183"/>
                </a:lnTo>
                <a:lnTo>
                  <a:pt x="1347" y="6188"/>
                </a:lnTo>
                <a:lnTo>
                  <a:pt x="1350" y="6194"/>
                </a:lnTo>
                <a:lnTo>
                  <a:pt x="1352" y="6198"/>
                </a:lnTo>
                <a:lnTo>
                  <a:pt x="1353" y="6210"/>
                </a:lnTo>
                <a:lnTo>
                  <a:pt x="1357" y="6228"/>
                </a:lnTo>
                <a:lnTo>
                  <a:pt x="1361" y="6251"/>
                </a:lnTo>
                <a:lnTo>
                  <a:pt x="1365" y="6270"/>
                </a:lnTo>
                <a:lnTo>
                  <a:pt x="1366" y="6279"/>
                </a:lnTo>
                <a:lnTo>
                  <a:pt x="1369" y="6287"/>
                </a:lnTo>
                <a:lnTo>
                  <a:pt x="1372" y="6294"/>
                </a:lnTo>
                <a:lnTo>
                  <a:pt x="1376" y="6300"/>
                </a:lnTo>
                <a:lnTo>
                  <a:pt x="1381" y="6312"/>
                </a:lnTo>
                <a:lnTo>
                  <a:pt x="1386" y="6320"/>
                </a:lnTo>
                <a:lnTo>
                  <a:pt x="1388" y="6324"/>
                </a:lnTo>
                <a:lnTo>
                  <a:pt x="1392" y="6328"/>
                </a:lnTo>
                <a:lnTo>
                  <a:pt x="1397" y="6331"/>
                </a:lnTo>
                <a:lnTo>
                  <a:pt x="1403" y="6334"/>
                </a:lnTo>
                <a:lnTo>
                  <a:pt x="1416" y="6339"/>
                </a:lnTo>
                <a:lnTo>
                  <a:pt x="1428" y="6341"/>
                </a:lnTo>
                <a:lnTo>
                  <a:pt x="1438" y="6343"/>
                </a:lnTo>
                <a:lnTo>
                  <a:pt x="1449" y="6347"/>
                </a:lnTo>
                <a:lnTo>
                  <a:pt x="1454" y="6349"/>
                </a:lnTo>
                <a:lnTo>
                  <a:pt x="1459" y="6349"/>
                </a:lnTo>
                <a:lnTo>
                  <a:pt x="1464" y="6349"/>
                </a:lnTo>
                <a:lnTo>
                  <a:pt x="1468" y="6349"/>
                </a:lnTo>
                <a:lnTo>
                  <a:pt x="1472" y="6349"/>
                </a:lnTo>
                <a:lnTo>
                  <a:pt x="1478" y="6350"/>
                </a:lnTo>
                <a:lnTo>
                  <a:pt x="1484" y="6353"/>
                </a:lnTo>
                <a:lnTo>
                  <a:pt x="1492" y="6356"/>
                </a:lnTo>
                <a:lnTo>
                  <a:pt x="1499" y="6361"/>
                </a:lnTo>
                <a:lnTo>
                  <a:pt x="1506" y="6366"/>
                </a:lnTo>
                <a:lnTo>
                  <a:pt x="1510" y="6371"/>
                </a:lnTo>
                <a:lnTo>
                  <a:pt x="1514" y="6375"/>
                </a:lnTo>
                <a:lnTo>
                  <a:pt x="1518" y="6383"/>
                </a:lnTo>
                <a:lnTo>
                  <a:pt x="1519" y="6386"/>
                </a:lnTo>
                <a:lnTo>
                  <a:pt x="1510" y="6387"/>
                </a:lnTo>
                <a:lnTo>
                  <a:pt x="1504" y="6387"/>
                </a:lnTo>
                <a:lnTo>
                  <a:pt x="1501" y="6388"/>
                </a:lnTo>
                <a:lnTo>
                  <a:pt x="1499" y="6390"/>
                </a:lnTo>
                <a:lnTo>
                  <a:pt x="1498" y="6394"/>
                </a:lnTo>
                <a:lnTo>
                  <a:pt x="1499" y="6399"/>
                </a:lnTo>
                <a:lnTo>
                  <a:pt x="1500" y="6410"/>
                </a:lnTo>
                <a:lnTo>
                  <a:pt x="1500" y="6417"/>
                </a:lnTo>
                <a:lnTo>
                  <a:pt x="1499" y="6420"/>
                </a:lnTo>
                <a:lnTo>
                  <a:pt x="1496" y="6421"/>
                </a:lnTo>
                <a:lnTo>
                  <a:pt x="1492" y="6421"/>
                </a:lnTo>
                <a:lnTo>
                  <a:pt x="1486" y="6418"/>
                </a:lnTo>
                <a:lnTo>
                  <a:pt x="1472" y="6415"/>
                </a:lnTo>
                <a:lnTo>
                  <a:pt x="1459" y="6411"/>
                </a:lnTo>
                <a:lnTo>
                  <a:pt x="1454" y="6409"/>
                </a:lnTo>
                <a:lnTo>
                  <a:pt x="1449" y="6405"/>
                </a:lnTo>
                <a:lnTo>
                  <a:pt x="1444" y="6401"/>
                </a:lnTo>
                <a:lnTo>
                  <a:pt x="1440" y="6396"/>
                </a:lnTo>
                <a:lnTo>
                  <a:pt x="1434" y="6385"/>
                </a:lnTo>
                <a:lnTo>
                  <a:pt x="1430" y="6377"/>
                </a:lnTo>
                <a:lnTo>
                  <a:pt x="1427" y="6374"/>
                </a:lnTo>
                <a:lnTo>
                  <a:pt x="1423" y="6372"/>
                </a:lnTo>
                <a:lnTo>
                  <a:pt x="1417" y="6371"/>
                </a:lnTo>
                <a:lnTo>
                  <a:pt x="1410" y="6370"/>
                </a:lnTo>
                <a:lnTo>
                  <a:pt x="1392" y="6371"/>
                </a:lnTo>
                <a:lnTo>
                  <a:pt x="1372" y="6371"/>
                </a:lnTo>
                <a:lnTo>
                  <a:pt x="1362" y="6371"/>
                </a:lnTo>
                <a:lnTo>
                  <a:pt x="1353" y="6371"/>
                </a:lnTo>
                <a:lnTo>
                  <a:pt x="1347" y="6370"/>
                </a:lnTo>
                <a:lnTo>
                  <a:pt x="1341" y="6369"/>
                </a:lnTo>
                <a:lnTo>
                  <a:pt x="1335" y="6366"/>
                </a:lnTo>
                <a:lnTo>
                  <a:pt x="1331" y="6361"/>
                </a:lnTo>
                <a:lnTo>
                  <a:pt x="1329" y="6359"/>
                </a:lnTo>
                <a:lnTo>
                  <a:pt x="1324" y="6358"/>
                </a:lnTo>
                <a:lnTo>
                  <a:pt x="1320" y="6357"/>
                </a:lnTo>
                <a:lnTo>
                  <a:pt x="1312" y="6356"/>
                </a:lnTo>
                <a:lnTo>
                  <a:pt x="1297" y="6356"/>
                </a:lnTo>
                <a:lnTo>
                  <a:pt x="1281" y="6356"/>
                </a:lnTo>
                <a:lnTo>
                  <a:pt x="1273" y="6356"/>
                </a:lnTo>
                <a:lnTo>
                  <a:pt x="1265" y="6356"/>
                </a:lnTo>
                <a:lnTo>
                  <a:pt x="1257" y="6355"/>
                </a:lnTo>
                <a:lnTo>
                  <a:pt x="1249" y="6353"/>
                </a:lnTo>
                <a:lnTo>
                  <a:pt x="1231" y="6349"/>
                </a:lnTo>
                <a:lnTo>
                  <a:pt x="1216" y="6344"/>
                </a:lnTo>
                <a:lnTo>
                  <a:pt x="1211" y="6342"/>
                </a:lnTo>
                <a:lnTo>
                  <a:pt x="1206" y="6339"/>
                </a:lnTo>
                <a:lnTo>
                  <a:pt x="1205" y="6337"/>
                </a:lnTo>
                <a:lnTo>
                  <a:pt x="1204" y="6335"/>
                </a:lnTo>
                <a:lnTo>
                  <a:pt x="1203" y="6333"/>
                </a:lnTo>
                <a:lnTo>
                  <a:pt x="1204" y="6332"/>
                </a:lnTo>
                <a:lnTo>
                  <a:pt x="1205" y="6327"/>
                </a:lnTo>
                <a:lnTo>
                  <a:pt x="1209" y="6322"/>
                </a:lnTo>
                <a:lnTo>
                  <a:pt x="1213" y="6318"/>
                </a:lnTo>
                <a:lnTo>
                  <a:pt x="1218" y="6314"/>
                </a:lnTo>
                <a:lnTo>
                  <a:pt x="1223" y="6308"/>
                </a:lnTo>
                <a:lnTo>
                  <a:pt x="1227" y="6303"/>
                </a:lnTo>
                <a:lnTo>
                  <a:pt x="1231" y="6299"/>
                </a:lnTo>
                <a:lnTo>
                  <a:pt x="1233" y="6293"/>
                </a:lnTo>
                <a:lnTo>
                  <a:pt x="1239" y="6282"/>
                </a:lnTo>
                <a:lnTo>
                  <a:pt x="1243" y="6273"/>
                </a:lnTo>
                <a:lnTo>
                  <a:pt x="1244" y="6268"/>
                </a:lnTo>
                <a:lnTo>
                  <a:pt x="1244" y="6263"/>
                </a:lnTo>
                <a:lnTo>
                  <a:pt x="1241" y="6256"/>
                </a:lnTo>
                <a:lnTo>
                  <a:pt x="1237" y="6250"/>
                </a:lnTo>
                <a:close/>
                <a:moveTo>
                  <a:pt x="865" y="5477"/>
                </a:moveTo>
                <a:lnTo>
                  <a:pt x="857" y="5477"/>
                </a:lnTo>
                <a:lnTo>
                  <a:pt x="847" y="5476"/>
                </a:lnTo>
                <a:lnTo>
                  <a:pt x="839" y="5473"/>
                </a:lnTo>
                <a:lnTo>
                  <a:pt x="829" y="5470"/>
                </a:lnTo>
                <a:lnTo>
                  <a:pt x="819" y="5466"/>
                </a:lnTo>
                <a:lnTo>
                  <a:pt x="811" y="5460"/>
                </a:lnTo>
                <a:lnTo>
                  <a:pt x="802" y="5454"/>
                </a:lnTo>
                <a:lnTo>
                  <a:pt x="795" y="5448"/>
                </a:lnTo>
                <a:lnTo>
                  <a:pt x="791" y="5444"/>
                </a:lnTo>
                <a:lnTo>
                  <a:pt x="787" y="5441"/>
                </a:lnTo>
                <a:lnTo>
                  <a:pt x="782" y="5439"/>
                </a:lnTo>
                <a:lnTo>
                  <a:pt x="776" y="5438"/>
                </a:lnTo>
                <a:lnTo>
                  <a:pt x="764" y="5437"/>
                </a:lnTo>
                <a:lnTo>
                  <a:pt x="753" y="5437"/>
                </a:lnTo>
                <a:lnTo>
                  <a:pt x="733" y="5440"/>
                </a:lnTo>
                <a:lnTo>
                  <a:pt x="725" y="5441"/>
                </a:lnTo>
                <a:lnTo>
                  <a:pt x="721" y="5442"/>
                </a:lnTo>
                <a:lnTo>
                  <a:pt x="711" y="5444"/>
                </a:lnTo>
                <a:lnTo>
                  <a:pt x="693" y="5445"/>
                </a:lnTo>
                <a:lnTo>
                  <a:pt x="668" y="5445"/>
                </a:lnTo>
                <a:lnTo>
                  <a:pt x="656" y="5445"/>
                </a:lnTo>
                <a:lnTo>
                  <a:pt x="650" y="5443"/>
                </a:lnTo>
                <a:lnTo>
                  <a:pt x="648" y="5442"/>
                </a:lnTo>
                <a:lnTo>
                  <a:pt x="646" y="5441"/>
                </a:lnTo>
                <a:lnTo>
                  <a:pt x="646" y="5440"/>
                </a:lnTo>
                <a:lnTo>
                  <a:pt x="646" y="5438"/>
                </a:lnTo>
                <a:lnTo>
                  <a:pt x="648" y="5435"/>
                </a:lnTo>
                <a:lnTo>
                  <a:pt x="648" y="5430"/>
                </a:lnTo>
                <a:lnTo>
                  <a:pt x="646" y="5428"/>
                </a:lnTo>
                <a:lnTo>
                  <a:pt x="645" y="5426"/>
                </a:lnTo>
                <a:lnTo>
                  <a:pt x="643" y="5423"/>
                </a:lnTo>
                <a:lnTo>
                  <a:pt x="640" y="5419"/>
                </a:lnTo>
                <a:lnTo>
                  <a:pt x="636" y="5417"/>
                </a:lnTo>
                <a:lnTo>
                  <a:pt x="627" y="5415"/>
                </a:lnTo>
                <a:lnTo>
                  <a:pt x="617" y="5413"/>
                </a:lnTo>
                <a:lnTo>
                  <a:pt x="605" y="5411"/>
                </a:lnTo>
                <a:lnTo>
                  <a:pt x="577" y="5409"/>
                </a:lnTo>
                <a:lnTo>
                  <a:pt x="546" y="5408"/>
                </a:lnTo>
                <a:lnTo>
                  <a:pt x="515" y="5406"/>
                </a:lnTo>
                <a:lnTo>
                  <a:pt x="485" y="5406"/>
                </a:lnTo>
                <a:lnTo>
                  <a:pt x="462" y="5406"/>
                </a:lnTo>
                <a:lnTo>
                  <a:pt x="446" y="5408"/>
                </a:lnTo>
                <a:lnTo>
                  <a:pt x="438" y="5409"/>
                </a:lnTo>
                <a:lnTo>
                  <a:pt x="431" y="5412"/>
                </a:lnTo>
                <a:lnTo>
                  <a:pt x="426" y="5415"/>
                </a:lnTo>
                <a:lnTo>
                  <a:pt x="422" y="5421"/>
                </a:lnTo>
                <a:lnTo>
                  <a:pt x="414" y="5431"/>
                </a:lnTo>
                <a:lnTo>
                  <a:pt x="405" y="5440"/>
                </a:lnTo>
                <a:lnTo>
                  <a:pt x="402" y="5441"/>
                </a:lnTo>
                <a:lnTo>
                  <a:pt x="400" y="5442"/>
                </a:lnTo>
                <a:lnTo>
                  <a:pt x="397" y="5442"/>
                </a:lnTo>
                <a:lnTo>
                  <a:pt x="393" y="5441"/>
                </a:lnTo>
                <a:lnTo>
                  <a:pt x="388" y="5438"/>
                </a:lnTo>
                <a:lnTo>
                  <a:pt x="383" y="5433"/>
                </a:lnTo>
                <a:lnTo>
                  <a:pt x="378" y="5427"/>
                </a:lnTo>
                <a:lnTo>
                  <a:pt x="375" y="5419"/>
                </a:lnTo>
                <a:lnTo>
                  <a:pt x="373" y="5413"/>
                </a:lnTo>
                <a:lnTo>
                  <a:pt x="373" y="5405"/>
                </a:lnTo>
                <a:lnTo>
                  <a:pt x="372" y="5400"/>
                </a:lnTo>
                <a:lnTo>
                  <a:pt x="371" y="5396"/>
                </a:lnTo>
                <a:lnTo>
                  <a:pt x="369" y="5394"/>
                </a:lnTo>
                <a:lnTo>
                  <a:pt x="365" y="5391"/>
                </a:lnTo>
                <a:lnTo>
                  <a:pt x="355" y="5388"/>
                </a:lnTo>
                <a:lnTo>
                  <a:pt x="339" y="5383"/>
                </a:lnTo>
                <a:lnTo>
                  <a:pt x="333" y="5378"/>
                </a:lnTo>
                <a:lnTo>
                  <a:pt x="329" y="5375"/>
                </a:lnTo>
                <a:lnTo>
                  <a:pt x="328" y="5371"/>
                </a:lnTo>
                <a:lnTo>
                  <a:pt x="328" y="5367"/>
                </a:lnTo>
                <a:lnTo>
                  <a:pt x="330" y="5358"/>
                </a:lnTo>
                <a:lnTo>
                  <a:pt x="332" y="5348"/>
                </a:lnTo>
                <a:lnTo>
                  <a:pt x="333" y="5344"/>
                </a:lnTo>
                <a:lnTo>
                  <a:pt x="334" y="5341"/>
                </a:lnTo>
                <a:lnTo>
                  <a:pt x="336" y="5338"/>
                </a:lnTo>
                <a:lnTo>
                  <a:pt x="339" y="5336"/>
                </a:lnTo>
                <a:lnTo>
                  <a:pt x="349" y="5332"/>
                </a:lnTo>
                <a:lnTo>
                  <a:pt x="361" y="5325"/>
                </a:lnTo>
                <a:lnTo>
                  <a:pt x="364" y="5323"/>
                </a:lnTo>
                <a:lnTo>
                  <a:pt x="368" y="5321"/>
                </a:lnTo>
                <a:lnTo>
                  <a:pt x="370" y="5318"/>
                </a:lnTo>
                <a:lnTo>
                  <a:pt x="372" y="5315"/>
                </a:lnTo>
                <a:lnTo>
                  <a:pt x="374" y="5306"/>
                </a:lnTo>
                <a:lnTo>
                  <a:pt x="376" y="5296"/>
                </a:lnTo>
                <a:lnTo>
                  <a:pt x="376" y="5283"/>
                </a:lnTo>
                <a:lnTo>
                  <a:pt x="376" y="5269"/>
                </a:lnTo>
                <a:lnTo>
                  <a:pt x="374" y="5253"/>
                </a:lnTo>
                <a:lnTo>
                  <a:pt x="373" y="5234"/>
                </a:lnTo>
                <a:lnTo>
                  <a:pt x="371" y="5225"/>
                </a:lnTo>
                <a:lnTo>
                  <a:pt x="370" y="5216"/>
                </a:lnTo>
                <a:lnTo>
                  <a:pt x="368" y="5210"/>
                </a:lnTo>
                <a:lnTo>
                  <a:pt x="365" y="5205"/>
                </a:lnTo>
                <a:lnTo>
                  <a:pt x="361" y="5196"/>
                </a:lnTo>
                <a:lnTo>
                  <a:pt x="355" y="5189"/>
                </a:lnTo>
                <a:lnTo>
                  <a:pt x="349" y="5185"/>
                </a:lnTo>
                <a:lnTo>
                  <a:pt x="343" y="5180"/>
                </a:lnTo>
                <a:lnTo>
                  <a:pt x="336" y="5173"/>
                </a:lnTo>
                <a:lnTo>
                  <a:pt x="331" y="5163"/>
                </a:lnTo>
                <a:lnTo>
                  <a:pt x="329" y="5159"/>
                </a:lnTo>
                <a:lnTo>
                  <a:pt x="328" y="5155"/>
                </a:lnTo>
                <a:lnTo>
                  <a:pt x="326" y="5151"/>
                </a:lnTo>
                <a:lnTo>
                  <a:pt x="326" y="5148"/>
                </a:lnTo>
                <a:lnTo>
                  <a:pt x="328" y="5145"/>
                </a:lnTo>
                <a:lnTo>
                  <a:pt x="329" y="5144"/>
                </a:lnTo>
                <a:lnTo>
                  <a:pt x="331" y="5142"/>
                </a:lnTo>
                <a:lnTo>
                  <a:pt x="334" y="5141"/>
                </a:lnTo>
                <a:lnTo>
                  <a:pt x="351" y="5138"/>
                </a:lnTo>
                <a:lnTo>
                  <a:pt x="376" y="5135"/>
                </a:lnTo>
                <a:lnTo>
                  <a:pt x="398" y="5132"/>
                </a:lnTo>
                <a:lnTo>
                  <a:pt x="406" y="5130"/>
                </a:lnTo>
                <a:lnTo>
                  <a:pt x="412" y="5127"/>
                </a:lnTo>
                <a:lnTo>
                  <a:pt x="419" y="5121"/>
                </a:lnTo>
                <a:lnTo>
                  <a:pt x="431" y="5113"/>
                </a:lnTo>
                <a:lnTo>
                  <a:pt x="442" y="5106"/>
                </a:lnTo>
                <a:lnTo>
                  <a:pt x="449" y="5103"/>
                </a:lnTo>
                <a:lnTo>
                  <a:pt x="456" y="5101"/>
                </a:lnTo>
                <a:lnTo>
                  <a:pt x="465" y="5100"/>
                </a:lnTo>
                <a:lnTo>
                  <a:pt x="476" y="5100"/>
                </a:lnTo>
                <a:lnTo>
                  <a:pt x="485" y="5100"/>
                </a:lnTo>
                <a:lnTo>
                  <a:pt x="491" y="5100"/>
                </a:lnTo>
                <a:lnTo>
                  <a:pt x="495" y="5099"/>
                </a:lnTo>
                <a:lnTo>
                  <a:pt x="497" y="5098"/>
                </a:lnTo>
                <a:lnTo>
                  <a:pt x="499" y="5088"/>
                </a:lnTo>
                <a:lnTo>
                  <a:pt x="504" y="5070"/>
                </a:lnTo>
                <a:lnTo>
                  <a:pt x="507" y="5058"/>
                </a:lnTo>
                <a:lnTo>
                  <a:pt x="508" y="5049"/>
                </a:lnTo>
                <a:lnTo>
                  <a:pt x="508" y="5041"/>
                </a:lnTo>
                <a:lnTo>
                  <a:pt x="507" y="5036"/>
                </a:lnTo>
                <a:lnTo>
                  <a:pt x="504" y="5026"/>
                </a:lnTo>
                <a:lnTo>
                  <a:pt x="502" y="5018"/>
                </a:lnTo>
                <a:lnTo>
                  <a:pt x="502" y="5012"/>
                </a:lnTo>
                <a:lnTo>
                  <a:pt x="503" y="5008"/>
                </a:lnTo>
                <a:lnTo>
                  <a:pt x="505" y="5003"/>
                </a:lnTo>
                <a:lnTo>
                  <a:pt x="509" y="4997"/>
                </a:lnTo>
                <a:lnTo>
                  <a:pt x="513" y="4992"/>
                </a:lnTo>
                <a:lnTo>
                  <a:pt x="519" y="4985"/>
                </a:lnTo>
                <a:lnTo>
                  <a:pt x="525" y="4980"/>
                </a:lnTo>
                <a:lnTo>
                  <a:pt x="534" y="4974"/>
                </a:lnTo>
                <a:lnTo>
                  <a:pt x="543" y="4969"/>
                </a:lnTo>
                <a:lnTo>
                  <a:pt x="551" y="4965"/>
                </a:lnTo>
                <a:lnTo>
                  <a:pt x="559" y="4959"/>
                </a:lnTo>
                <a:lnTo>
                  <a:pt x="564" y="4954"/>
                </a:lnTo>
                <a:lnTo>
                  <a:pt x="570" y="4947"/>
                </a:lnTo>
                <a:lnTo>
                  <a:pt x="573" y="4940"/>
                </a:lnTo>
                <a:lnTo>
                  <a:pt x="575" y="4931"/>
                </a:lnTo>
                <a:lnTo>
                  <a:pt x="576" y="4922"/>
                </a:lnTo>
                <a:lnTo>
                  <a:pt x="575" y="4917"/>
                </a:lnTo>
                <a:lnTo>
                  <a:pt x="574" y="4913"/>
                </a:lnTo>
                <a:lnTo>
                  <a:pt x="573" y="4910"/>
                </a:lnTo>
                <a:lnTo>
                  <a:pt x="572" y="4908"/>
                </a:lnTo>
                <a:lnTo>
                  <a:pt x="568" y="4904"/>
                </a:lnTo>
                <a:lnTo>
                  <a:pt x="563" y="4902"/>
                </a:lnTo>
                <a:lnTo>
                  <a:pt x="560" y="4900"/>
                </a:lnTo>
                <a:lnTo>
                  <a:pt x="557" y="4898"/>
                </a:lnTo>
                <a:lnTo>
                  <a:pt x="556" y="4895"/>
                </a:lnTo>
                <a:lnTo>
                  <a:pt x="556" y="4892"/>
                </a:lnTo>
                <a:lnTo>
                  <a:pt x="556" y="4888"/>
                </a:lnTo>
                <a:lnTo>
                  <a:pt x="556" y="4883"/>
                </a:lnTo>
                <a:lnTo>
                  <a:pt x="557" y="4878"/>
                </a:lnTo>
                <a:lnTo>
                  <a:pt x="559" y="4875"/>
                </a:lnTo>
                <a:lnTo>
                  <a:pt x="560" y="4872"/>
                </a:lnTo>
                <a:lnTo>
                  <a:pt x="563" y="4870"/>
                </a:lnTo>
                <a:lnTo>
                  <a:pt x="569" y="4868"/>
                </a:lnTo>
                <a:lnTo>
                  <a:pt x="576" y="4869"/>
                </a:lnTo>
                <a:lnTo>
                  <a:pt x="584" y="4870"/>
                </a:lnTo>
                <a:lnTo>
                  <a:pt x="592" y="4871"/>
                </a:lnTo>
                <a:lnTo>
                  <a:pt x="601" y="4872"/>
                </a:lnTo>
                <a:lnTo>
                  <a:pt x="610" y="4871"/>
                </a:lnTo>
                <a:lnTo>
                  <a:pt x="618" y="4869"/>
                </a:lnTo>
                <a:lnTo>
                  <a:pt x="624" y="4866"/>
                </a:lnTo>
                <a:lnTo>
                  <a:pt x="628" y="4863"/>
                </a:lnTo>
                <a:lnTo>
                  <a:pt x="632" y="4861"/>
                </a:lnTo>
                <a:lnTo>
                  <a:pt x="635" y="4857"/>
                </a:lnTo>
                <a:lnTo>
                  <a:pt x="637" y="4851"/>
                </a:lnTo>
                <a:lnTo>
                  <a:pt x="639" y="4845"/>
                </a:lnTo>
                <a:lnTo>
                  <a:pt x="642" y="4836"/>
                </a:lnTo>
                <a:lnTo>
                  <a:pt x="644" y="4829"/>
                </a:lnTo>
                <a:lnTo>
                  <a:pt x="648" y="4823"/>
                </a:lnTo>
                <a:lnTo>
                  <a:pt x="651" y="4821"/>
                </a:lnTo>
                <a:lnTo>
                  <a:pt x="654" y="4820"/>
                </a:lnTo>
                <a:lnTo>
                  <a:pt x="657" y="4819"/>
                </a:lnTo>
                <a:lnTo>
                  <a:pt x="660" y="4818"/>
                </a:lnTo>
                <a:lnTo>
                  <a:pt x="664" y="4815"/>
                </a:lnTo>
                <a:lnTo>
                  <a:pt x="666" y="4810"/>
                </a:lnTo>
                <a:lnTo>
                  <a:pt x="670" y="4802"/>
                </a:lnTo>
                <a:lnTo>
                  <a:pt x="675" y="4795"/>
                </a:lnTo>
                <a:lnTo>
                  <a:pt x="680" y="4789"/>
                </a:lnTo>
                <a:lnTo>
                  <a:pt x="684" y="4783"/>
                </a:lnTo>
                <a:lnTo>
                  <a:pt x="696" y="4788"/>
                </a:lnTo>
                <a:lnTo>
                  <a:pt x="707" y="4792"/>
                </a:lnTo>
                <a:lnTo>
                  <a:pt x="718" y="4797"/>
                </a:lnTo>
                <a:lnTo>
                  <a:pt x="729" y="4802"/>
                </a:lnTo>
                <a:lnTo>
                  <a:pt x="738" y="4808"/>
                </a:lnTo>
                <a:lnTo>
                  <a:pt x="746" y="4815"/>
                </a:lnTo>
                <a:lnTo>
                  <a:pt x="752" y="4821"/>
                </a:lnTo>
                <a:lnTo>
                  <a:pt x="758" y="4827"/>
                </a:lnTo>
                <a:lnTo>
                  <a:pt x="763" y="4833"/>
                </a:lnTo>
                <a:lnTo>
                  <a:pt x="769" y="4839"/>
                </a:lnTo>
                <a:lnTo>
                  <a:pt x="775" y="4844"/>
                </a:lnTo>
                <a:lnTo>
                  <a:pt x="784" y="4848"/>
                </a:lnTo>
                <a:lnTo>
                  <a:pt x="789" y="4850"/>
                </a:lnTo>
                <a:lnTo>
                  <a:pt x="795" y="4851"/>
                </a:lnTo>
                <a:lnTo>
                  <a:pt x="799" y="4852"/>
                </a:lnTo>
                <a:lnTo>
                  <a:pt x="803" y="4852"/>
                </a:lnTo>
                <a:lnTo>
                  <a:pt x="812" y="4850"/>
                </a:lnTo>
                <a:lnTo>
                  <a:pt x="819" y="4847"/>
                </a:lnTo>
                <a:lnTo>
                  <a:pt x="823" y="4846"/>
                </a:lnTo>
                <a:lnTo>
                  <a:pt x="827" y="4845"/>
                </a:lnTo>
                <a:lnTo>
                  <a:pt x="831" y="4844"/>
                </a:lnTo>
                <a:lnTo>
                  <a:pt x="836" y="4844"/>
                </a:lnTo>
                <a:lnTo>
                  <a:pt x="845" y="4844"/>
                </a:lnTo>
                <a:lnTo>
                  <a:pt x="853" y="4844"/>
                </a:lnTo>
                <a:lnTo>
                  <a:pt x="856" y="4843"/>
                </a:lnTo>
                <a:lnTo>
                  <a:pt x="858" y="4844"/>
                </a:lnTo>
                <a:lnTo>
                  <a:pt x="862" y="4845"/>
                </a:lnTo>
                <a:lnTo>
                  <a:pt x="864" y="4848"/>
                </a:lnTo>
                <a:lnTo>
                  <a:pt x="865" y="4852"/>
                </a:lnTo>
                <a:lnTo>
                  <a:pt x="867" y="4860"/>
                </a:lnTo>
                <a:lnTo>
                  <a:pt x="869" y="4871"/>
                </a:lnTo>
                <a:lnTo>
                  <a:pt x="870" y="4886"/>
                </a:lnTo>
                <a:lnTo>
                  <a:pt x="871" y="4900"/>
                </a:lnTo>
                <a:lnTo>
                  <a:pt x="871" y="4912"/>
                </a:lnTo>
                <a:lnTo>
                  <a:pt x="871" y="4923"/>
                </a:lnTo>
                <a:lnTo>
                  <a:pt x="871" y="4930"/>
                </a:lnTo>
                <a:lnTo>
                  <a:pt x="871" y="4940"/>
                </a:lnTo>
                <a:lnTo>
                  <a:pt x="871" y="4949"/>
                </a:lnTo>
                <a:lnTo>
                  <a:pt x="872" y="4955"/>
                </a:lnTo>
                <a:lnTo>
                  <a:pt x="875" y="4964"/>
                </a:lnTo>
                <a:lnTo>
                  <a:pt x="879" y="4971"/>
                </a:lnTo>
                <a:lnTo>
                  <a:pt x="884" y="4982"/>
                </a:lnTo>
                <a:lnTo>
                  <a:pt x="892" y="4995"/>
                </a:lnTo>
                <a:lnTo>
                  <a:pt x="903" y="5011"/>
                </a:lnTo>
                <a:lnTo>
                  <a:pt x="909" y="5022"/>
                </a:lnTo>
                <a:lnTo>
                  <a:pt x="916" y="5032"/>
                </a:lnTo>
                <a:lnTo>
                  <a:pt x="922" y="5041"/>
                </a:lnTo>
                <a:lnTo>
                  <a:pt x="927" y="5050"/>
                </a:lnTo>
                <a:lnTo>
                  <a:pt x="942" y="5072"/>
                </a:lnTo>
                <a:lnTo>
                  <a:pt x="955" y="5091"/>
                </a:lnTo>
                <a:lnTo>
                  <a:pt x="963" y="5101"/>
                </a:lnTo>
                <a:lnTo>
                  <a:pt x="972" y="5111"/>
                </a:lnTo>
                <a:lnTo>
                  <a:pt x="984" y="5120"/>
                </a:lnTo>
                <a:lnTo>
                  <a:pt x="997" y="5132"/>
                </a:lnTo>
                <a:lnTo>
                  <a:pt x="1005" y="5141"/>
                </a:lnTo>
                <a:lnTo>
                  <a:pt x="1014" y="5147"/>
                </a:lnTo>
                <a:lnTo>
                  <a:pt x="1023" y="5154"/>
                </a:lnTo>
                <a:lnTo>
                  <a:pt x="1030" y="5160"/>
                </a:lnTo>
                <a:lnTo>
                  <a:pt x="1049" y="5174"/>
                </a:lnTo>
                <a:lnTo>
                  <a:pt x="1059" y="5185"/>
                </a:lnTo>
                <a:lnTo>
                  <a:pt x="1059" y="5186"/>
                </a:lnTo>
                <a:lnTo>
                  <a:pt x="1059" y="5187"/>
                </a:lnTo>
                <a:lnTo>
                  <a:pt x="1052" y="5193"/>
                </a:lnTo>
                <a:lnTo>
                  <a:pt x="1044" y="5197"/>
                </a:lnTo>
                <a:lnTo>
                  <a:pt x="1037" y="5201"/>
                </a:lnTo>
                <a:lnTo>
                  <a:pt x="1030" y="5205"/>
                </a:lnTo>
                <a:lnTo>
                  <a:pt x="1024" y="5206"/>
                </a:lnTo>
                <a:lnTo>
                  <a:pt x="1017" y="5207"/>
                </a:lnTo>
                <a:lnTo>
                  <a:pt x="1011" y="5207"/>
                </a:lnTo>
                <a:lnTo>
                  <a:pt x="1004" y="5206"/>
                </a:lnTo>
                <a:lnTo>
                  <a:pt x="993" y="5203"/>
                </a:lnTo>
                <a:lnTo>
                  <a:pt x="984" y="5202"/>
                </a:lnTo>
                <a:lnTo>
                  <a:pt x="974" y="5203"/>
                </a:lnTo>
                <a:lnTo>
                  <a:pt x="965" y="5206"/>
                </a:lnTo>
                <a:lnTo>
                  <a:pt x="959" y="5209"/>
                </a:lnTo>
                <a:lnTo>
                  <a:pt x="953" y="5213"/>
                </a:lnTo>
                <a:lnTo>
                  <a:pt x="950" y="5216"/>
                </a:lnTo>
                <a:lnTo>
                  <a:pt x="948" y="5220"/>
                </a:lnTo>
                <a:lnTo>
                  <a:pt x="946" y="5223"/>
                </a:lnTo>
                <a:lnTo>
                  <a:pt x="945" y="5227"/>
                </a:lnTo>
                <a:lnTo>
                  <a:pt x="945" y="5232"/>
                </a:lnTo>
                <a:lnTo>
                  <a:pt x="945" y="5236"/>
                </a:lnTo>
                <a:lnTo>
                  <a:pt x="945" y="5241"/>
                </a:lnTo>
                <a:lnTo>
                  <a:pt x="947" y="5247"/>
                </a:lnTo>
                <a:lnTo>
                  <a:pt x="951" y="5259"/>
                </a:lnTo>
                <a:lnTo>
                  <a:pt x="957" y="5267"/>
                </a:lnTo>
                <a:lnTo>
                  <a:pt x="961" y="5275"/>
                </a:lnTo>
                <a:lnTo>
                  <a:pt x="965" y="5284"/>
                </a:lnTo>
                <a:lnTo>
                  <a:pt x="966" y="5291"/>
                </a:lnTo>
                <a:lnTo>
                  <a:pt x="967" y="5298"/>
                </a:lnTo>
                <a:lnTo>
                  <a:pt x="969" y="5308"/>
                </a:lnTo>
                <a:lnTo>
                  <a:pt x="969" y="5320"/>
                </a:lnTo>
                <a:lnTo>
                  <a:pt x="969" y="5356"/>
                </a:lnTo>
                <a:lnTo>
                  <a:pt x="964" y="5356"/>
                </a:lnTo>
                <a:lnTo>
                  <a:pt x="960" y="5356"/>
                </a:lnTo>
                <a:lnTo>
                  <a:pt x="953" y="5357"/>
                </a:lnTo>
                <a:lnTo>
                  <a:pt x="948" y="5359"/>
                </a:lnTo>
                <a:lnTo>
                  <a:pt x="944" y="5363"/>
                </a:lnTo>
                <a:lnTo>
                  <a:pt x="939" y="5368"/>
                </a:lnTo>
                <a:lnTo>
                  <a:pt x="936" y="5373"/>
                </a:lnTo>
                <a:lnTo>
                  <a:pt x="933" y="5378"/>
                </a:lnTo>
                <a:lnTo>
                  <a:pt x="931" y="5385"/>
                </a:lnTo>
                <a:lnTo>
                  <a:pt x="930" y="5392"/>
                </a:lnTo>
                <a:lnTo>
                  <a:pt x="926" y="5408"/>
                </a:lnTo>
                <a:lnTo>
                  <a:pt x="925" y="5424"/>
                </a:lnTo>
                <a:lnTo>
                  <a:pt x="925" y="5440"/>
                </a:lnTo>
                <a:lnTo>
                  <a:pt x="925" y="5456"/>
                </a:lnTo>
                <a:lnTo>
                  <a:pt x="925" y="5463"/>
                </a:lnTo>
                <a:lnTo>
                  <a:pt x="923" y="5468"/>
                </a:lnTo>
                <a:lnTo>
                  <a:pt x="922" y="5472"/>
                </a:lnTo>
                <a:lnTo>
                  <a:pt x="919" y="5476"/>
                </a:lnTo>
                <a:lnTo>
                  <a:pt x="916" y="5479"/>
                </a:lnTo>
                <a:lnTo>
                  <a:pt x="912" y="5480"/>
                </a:lnTo>
                <a:lnTo>
                  <a:pt x="908" y="5481"/>
                </a:lnTo>
                <a:lnTo>
                  <a:pt x="904" y="5481"/>
                </a:lnTo>
                <a:lnTo>
                  <a:pt x="883" y="5480"/>
                </a:lnTo>
                <a:lnTo>
                  <a:pt x="865" y="5477"/>
                </a:lnTo>
                <a:close/>
                <a:moveTo>
                  <a:pt x="4357" y="5171"/>
                </a:moveTo>
                <a:lnTo>
                  <a:pt x="4356" y="5172"/>
                </a:lnTo>
                <a:lnTo>
                  <a:pt x="4356" y="5172"/>
                </a:lnTo>
                <a:lnTo>
                  <a:pt x="4355" y="5171"/>
                </a:lnTo>
                <a:lnTo>
                  <a:pt x="4357" y="5171"/>
                </a:lnTo>
                <a:close/>
                <a:moveTo>
                  <a:pt x="5035" y="5580"/>
                </a:moveTo>
                <a:lnTo>
                  <a:pt x="5034" y="5583"/>
                </a:lnTo>
                <a:lnTo>
                  <a:pt x="5034" y="5583"/>
                </a:lnTo>
                <a:lnTo>
                  <a:pt x="5035" y="5580"/>
                </a:lnTo>
                <a:close/>
                <a:moveTo>
                  <a:pt x="4884" y="6171"/>
                </a:moveTo>
                <a:lnTo>
                  <a:pt x="4871" y="6152"/>
                </a:lnTo>
                <a:lnTo>
                  <a:pt x="4863" y="6141"/>
                </a:lnTo>
                <a:lnTo>
                  <a:pt x="4858" y="6145"/>
                </a:lnTo>
                <a:lnTo>
                  <a:pt x="4851" y="6148"/>
                </a:lnTo>
                <a:lnTo>
                  <a:pt x="4844" y="6152"/>
                </a:lnTo>
                <a:lnTo>
                  <a:pt x="4837" y="6154"/>
                </a:lnTo>
                <a:lnTo>
                  <a:pt x="4823" y="6156"/>
                </a:lnTo>
                <a:lnTo>
                  <a:pt x="4809" y="6157"/>
                </a:lnTo>
                <a:lnTo>
                  <a:pt x="4783" y="6157"/>
                </a:lnTo>
                <a:lnTo>
                  <a:pt x="4765" y="6155"/>
                </a:lnTo>
                <a:lnTo>
                  <a:pt x="4758" y="6154"/>
                </a:lnTo>
                <a:lnTo>
                  <a:pt x="4751" y="6154"/>
                </a:lnTo>
                <a:lnTo>
                  <a:pt x="4743" y="6153"/>
                </a:lnTo>
                <a:lnTo>
                  <a:pt x="4736" y="6155"/>
                </a:lnTo>
                <a:lnTo>
                  <a:pt x="4731" y="6156"/>
                </a:lnTo>
                <a:lnTo>
                  <a:pt x="4728" y="6158"/>
                </a:lnTo>
                <a:lnTo>
                  <a:pt x="4724" y="6161"/>
                </a:lnTo>
                <a:lnTo>
                  <a:pt x="4721" y="6165"/>
                </a:lnTo>
                <a:lnTo>
                  <a:pt x="4717" y="6170"/>
                </a:lnTo>
                <a:lnTo>
                  <a:pt x="4714" y="6175"/>
                </a:lnTo>
                <a:lnTo>
                  <a:pt x="4711" y="6183"/>
                </a:lnTo>
                <a:lnTo>
                  <a:pt x="4708" y="6191"/>
                </a:lnTo>
                <a:lnTo>
                  <a:pt x="4704" y="6199"/>
                </a:lnTo>
                <a:lnTo>
                  <a:pt x="4701" y="6206"/>
                </a:lnTo>
                <a:lnTo>
                  <a:pt x="4698" y="6211"/>
                </a:lnTo>
                <a:lnTo>
                  <a:pt x="4695" y="6215"/>
                </a:lnTo>
                <a:lnTo>
                  <a:pt x="4687" y="6223"/>
                </a:lnTo>
                <a:lnTo>
                  <a:pt x="4680" y="6229"/>
                </a:lnTo>
                <a:lnTo>
                  <a:pt x="4672" y="6237"/>
                </a:lnTo>
                <a:lnTo>
                  <a:pt x="4666" y="6247"/>
                </a:lnTo>
                <a:lnTo>
                  <a:pt x="4662" y="6253"/>
                </a:lnTo>
                <a:lnTo>
                  <a:pt x="4659" y="6261"/>
                </a:lnTo>
                <a:lnTo>
                  <a:pt x="4656" y="6269"/>
                </a:lnTo>
                <a:lnTo>
                  <a:pt x="4653" y="6281"/>
                </a:lnTo>
                <a:lnTo>
                  <a:pt x="4648" y="6303"/>
                </a:lnTo>
                <a:lnTo>
                  <a:pt x="4645" y="6319"/>
                </a:lnTo>
                <a:lnTo>
                  <a:pt x="4643" y="6332"/>
                </a:lnTo>
                <a:lnTo>
                  <a:pt x="4643" y="6343"/>
                </a:lnTo>
                <a:lnTo>
                  <a:pt x="4644" y="6353"/>
                </a:lnTo>
                <a:lnTo>
                  <a:pt x="4647" y="6360"/>
                </a:lnTo>
                <a:lnTo>
                  <a:pt x="4651" y="6370"/>
                </a:lnTo>
                <a:lnTo>
                  <a:pt x="4659" y="6380"/>
                </a:lnTo>
                <a:lnTo>
                  <a:pt x="4672" y="6400"/>
                </a:lnTo>
                <a:lnTo>
                  <a:pt x="4682" y="6416"/>
                </a:lnTo>
                <a:lnTo>
                  <a:pt x="4686" y="6425"/>
                </a:lnTo>
                <a:lnTo>
                  <a:pt x="4691" y="6432"/>
                </a:lnTo>
                <a:lnTo>
                  <a:pt x="4697" y="6440"/>
                </a:lnTo>
                <a:lnTo>
                  <a:pt x="4704" y="6449"/>
                </a:lnTo>
                <a:lnTo>
                  <a:pt x="4713" y="6457"/>
                </a:lnTo>
                <a:lnTo>
                  <a:pt x="4722" y="6465"/>
                </a:lnTo>
                <a:lnTo>
                  <a:pt x="4730" y="6472"/>
                </a:lnTo>
                <a:lnTo>
                  <a:pt x="4739" y="6478"/>
                </a:lnTo>
                <a:lnTo>
                  <a:pt x="4747" y="6482"/>
                </a:lnTo>
                <a:lnTo>
                  <a:pt x="4753" y="6484"/>
                </a:lnTo>
                <a:lnTo>
                  <a:pt x="4756" y="6485"/>
                </a:lnTo>
                <a:lnTo>
                  <a:pt x="4758" y="6484"/>
                </a:lnTo>
                <a:lnTo>
                  <a:pt x="4761" y="6483"/>
                </a:lnTo>
                <a:lnTo>
                  <a:pt x="4762" y="6481"/>
                </a:lnTo>
                <a:lnTo>
                  <a:pt x="4764" y="6476"/>
                </a:lnTo>
                <a:lnTo>
                  <a:pt x="4766" y="6469"/>
                </a:lnTo>
                <a:lnTo>
                  <a:pt x="4766" y="6463"/>
                </a:lnTo>
                <a:lnTo>
                  <a:pt x="4766" y="6455"/>
                </a:lnTo>
                <a:lnTo>
                  <a:pt x="4766" y="6448"/>
                </a:lnTo>
                <a:lnTo>
                  <a:pt x="4764" y="6440"/>
                </a:lnTo>
                <a:lnTo>
                  <a:pt x="4762" y="6432"/>
                </a:lnTo>
                <a:lnTo>
                  <a:pt x="4760" y="6426"/>
                </a:lnTo>
                <a:lnTo>
                  <a:pt x="4752" y="6412"/>
                </a:lnTo>
                <a:lnTo>
                  <a:pt x="4746" y="6399"/>
                </a:lnTo>
                <a:lnTo>
                  <a:pt x="4743" y="6393"/>
                </a:lnTo>
                <a:lnTo>
                  <a:pt x="4742" y="6386"/>
                </a:lnTo>
                <a:lnTo>
                  <a:pt x="4742" y="6381"/>
                </a:lnTo>
                <a:lnTo>
                  <a:pt x="4744" y="6375"/>
                </a:lnTo>
                <a:lnTo>
                  <a:pt x="4748" y="6372"/>
                </a:lnTo>
                <a:lnTo>
                  <a:pt x="4751" y="6370"/>
                </a:lnTo>
                <a:lnTo>
                  <a:pt x="4754" y="6370"/>
                </a:lnTo>
                <a:lnTo>
                  <a:pt x="4756" y="6369"/>
                </a:lnTo>
                <a:lnTo>
                  <a:pt x="4760" y="6367"/>
                </a:lnTo>
                <a:lnTo>
                  <a:pt x="4761" y="6362"/>
                </a:lnTo>
                <a:lnTo>
                  <a:pt x="4763" y="6355"/>
                </a:lnTo>
                <a:lnTo>
                  <a:pt x="4764" y="6343"/>
                </a:lnTo>
                <a:lnTo>
                  <a:pt x="4764" y="6318"/>
                </a:lnTo>
                <a:lnTo>
                  <a:pt x="4764" y="6301"/>
                </a:lnTo>
                <a:lnTo>
                  <a:pt x="4765" y="6293"/>
                </a:lnTo>
                <a:lnTo>
                  <a:pt x="4767" y="6287"/>
                </a:lnTo>
                <a:lnTo>
                  <a:pt x="4770" y="6279"/>
                </a:lnTo>
                <a:lnTo>
                  <a:pt x="4775" y="6273"/>
                </a:lnTo>
                <a:lnTo>
                  <a:pt x="4782" y="6260"/>
                </a:lnTo>
                <a:lnTo>
                  <a:pt x="4788" y="6250"/>
                </a:lnTo>
                <a:lnTo>
                  <a:pt x="4792" y="6247"/>
                </a:lnTo>
                <a:lnTo>
                  <a:pt x="4800" y="6245"/>
                </a:lnTo>
                <a:lnTo>
                  <a:pt x="4810" y="6242"/>
                </a:lnTo>
                <a:lnTo>
                  <a:pt x="4827" y="6242"/>
                </a:lnTo>
                <a:lnTo>
                  <a:pt x="4859" y="6240"/>
                </a:lnTo>
                <a:lnTo>
                  <a:pt x="4888" y="6237"/>
                </a:lnTo>
                <a:lnTo>
                  <a:pt x="4902" y="6236"/>
                </a:lnTo>
                <a:lnTo>
                  <a:pt x="4916" y="6236"/>
                </a:lnTo>
                <a:lnTo>
                  <a:pt x="4933" y="6239"/>
                </a:lnTo>
                <a:lnTo>
                  <a:pt x="4951" y="6243"/>
                </a:lnTo>
                <a:lnTo>
                  <a:pt x="4987" y="6258"/>
                </a:lnTo>
                <a:lnTo>
                  <a:pt x="5018" y="6270"/>
                </a:lnTo>
                <a:lnTo>
                  <a:pt x="5032" y="6276"/>
                </a:lnTo>
                <a:lnTo>
                  <a:pt x="5046" y="6279"/>
                </a:lnTo>
                <a:lnTo>
                  <a:pt x="5053" y="6279"/>
                </a:lnTo>
                <a:lnTo>
                  <a:pt x="5059" y="6279"/>
                </a:lnTo>
                <a:lnTo>
                  <a:pt x="5067" y="6278"/>
                </a:lnTo>
                <a:lnTo>
                  <a:pt x="5073" y="6277"/>
                </a:lnTo>
                <a:lnTo>
                  <a:pt x="5100" y="6269"/>
                </a:lnTo>
                <a:lnTo>
                  <a:pt x="5124" y="6261"/>
                </a:lnTo>
                <a:lnTo>
                  <a:pt x="5128" y="6259"/>
                </a:lnTo>
                <a:lnTo>
                  <a:pt x="5134" y="6255"/>
                </a:lnTo>
                <a:lnTo>
                  <a:pt x="5137" y="6252"/>
                </a:lnTo>
                <a:lnTo>
                  <a:pt x="5140" y="6249"/>
                </a:lnTo>
                <a:lnTo>
                  <a:pt x="5142" y="6243"/>
                </a:lnTo>
                <a:lnTo>
                  <a:pt x="5144" y="6239"/>
                </a:lnTo>
                <a:lnTo>
                  <a:pt x="5144" y="6233"/>
                </a:lnTo>
                <a:lnTo>
                  <a:pt x="5144" y="6226"/>
                </a:lnTo>
                <a:lnTo>
                  <a:pt x="5143" y="6204"/>
                </a:lnTo>
                <a:lnTo>
                  <a:pt x="5140" y="6188"/>
                </a:lnTo>
                <a:lnTo>
                  <a:pt x="5139" y="6185"/>
                </a:lnTo>
                <a:lnTo>
                  <a:pt x="5137" y="6183"/>
                </a:lnTo>
                <a:lnTo>
                  <a:pt x="5134" y="6181"/>
                </a:lnTo>
                <a:lnTo>
                  <a:pt x="5130" y="6179"/>
                </a:lnTo>
                <a:lnTo>
                  <a:pt x="5121" y="6175"/>
                </a:lnTo>
                <a:lnTo>
                  <a:pt x="5108" y="6172"/>
                </a:lnTo>
                <a:lnTo>
                  <a:pt x="5099" y="6170"/>
                </a:lnTo>
                <a:lnTo>
                  <a:pt x="5093" y="6168"/>
                </a:lnTo>
                <a:lnTo>
                  <a:pt x="5086" y="6165"/>
                </a:lnTo>
                <a:lnTo>
                  <a:pt x="5080" y="6160"/>
                </a:lnTo>
                <a:lnTo>
                  <a:pt x="5068" y="6152"/>
                </a:lnTo>
                <a:lnTo>
                  <a:pt x="5058" y="6144"/>
                </a:lnTo>
                <a:lnTo>
                  <a:pt x="5053" y="6141"/>
                </a:lnTo>
                <a:lnTo>
                  <a:pt x="5047" y="6139"/>
                </a:lnTo>
                <a:lnTo>
                  <a:pt x="5043" y="6137"/>
                </a:lnTo>
                <a:lnTo>
                  <a:pt x="5037" y="6137"/>
                </a:lnTo>
                <a:lnTo>
                  <a:pt x="5032" y="6137"/>
                </a:lnTo>
                <a:lnTo>
                  <a:pt x="5027" y="6139"/>
                </a:lnTo>
                <a:lnTo>
                  <a:pt x="5020" y="6143"/>
                </a:lnTo>
                <a:lnTo>
                  <a:pt x="5014" y="6150"/>
                </a:lnTo>
                <a:lnTo>
                  <a:pt x="5008" y="6156"/>
                </a:lnTo>
                <a:lnTo>
                  <a:pt x="5004" y="6162"/>
                </a:lnTo>
                <a:lnTo>
                  <a:pt x="5001" y="6168"/>
                </a:lnTo>
                <a:lnTo>
                  <a:pt x="4998" y="6172"/>
                </a:lnTo>
                <a:lnTo>
                  <a:pt x="4996" y="6181"/>
                </a:lnTo>
                <a:lnTo>
                  <a:pt x="4995" y="6187"/>
                </a:lnTo>
                <a:lnTo>
                  <a:pt x="4994" y="6189"/>
                </a:lnTo>
                <a:lnTo>
                  <a:pt x="4992" y="6192"/>
                </a:lnTo>
                <a:lnTo>
                  <a:pt x="4990" y="6193"/>
                </a:lnTo>
                <a:lnTo>
                  <a:pt x="4987" y="6193"/>
                </a:lnTo>
                <a:lnTo>
                  <a:pt x="4976" y="6193"/>
                </a:lnTo>
                <a:lnTo>
                  <a:pt x="4958" y="6191"/>
                </a:lnTo>
                <a:lnTo>
                  <a:pt x="4924" y="6185"/>
                </a:lnTo>
                <a:lnTo>
                  <a:pt x="4902" y="6181"/>
                </a:lnTo>
                <a:lnTo>
                  <a:pt x="4896" y="6179"/>
                </a:lnTo>
                <a:lnTo>
                  <a:pt x="4890" y="6177"/>
                </a:lnTo>
                <a:lnTo>
                  <a:pt x="4887" y="6174"/>
                </a:lnTo>
                <a:lnTo>
                  <a:pt x="4884" y="6171"/>
                </a:lnTo>
                <a:close/>
                <a:moveTo>
                  <a:pt x="4995" y="6740"/>
                </a:moveTo>
                <a:lnTo>
                  <a:pt x="5044" y="6742"/>
                </a:lnTo>
                <a:lnTo>
                  <a:pt x="5088" y="6744"/>
                </a:lnTo>
                <a:lnTo>
                  <a:pt x="5122" y="6745"/>
                </a:lnTo>
                <a:lnTo>
                  <a:pt x="5140" y="6745"/>
                </a:lnTo>
                <a:lnTo>
                  <a:pt x="5150" y="6745"/>
                </a:lnTo>
                <a:lnTo>
                  <a:pt x="5162" y="6744"/>
                </a:lnTo>
                <a:lnTo>
                  <a:pt x="5176" y="6741"/>
                </a:lnTo>
                <a:lnTo>
                  <a:pt x="5192" y="6740"/>
                </a:lnTo>
                <a:lnTo>
                  <a:pt x="5142" y="6798"/>
                </a:lnTo>
                <a:lnTo>
                  <a:pt x="5142" y="6798"/>
                </a:lnTo>
                <a:lnTo>
                  <a:pt x="5134" y="6793"/>
                </a:lnTo>
                <a:lnTo>
                  <a:pt x="5126" y="6788"/>
                </a:lnTo>
                <a:lnTo>
                  <a:pt x="5122" y="6786"/>
                </a:lnTo>
                <a:lnTo>
                  <a:pt x="5115" y="6785"/>
                </a:lnTo>
                <a:lnTo>
                  <a:pt x="5108" y="6782"/>
                </a:lnTo>
                <a:lnTo>
                  <a:pt x="5098" y="6781"/>
                </a:lnTo>
                <a:lnTo>
                  <a:pt x="5075" y="6781"/>
                </a:lnTo>
                <a:lnTo>
                  <a:pt x="5058" y="6781"/>
                </a:lnTo>
                <a:lnTo>
                  <a:pt x="5043" y="6782"/>
                </a:lnTo>
                <a:lnTo>
                  <a:pt x="5028" y="6785"/>
                </a:lnTo>
                <a:lnTo>
                  <a:pt x="5014" y="6787"/>
                </a:lnTo>
                <a:lnTo>
                  <a:pt x="5001" y="6789"/>
                </a:lnTo>
                <a:lnTo>
                  <a:pt x="4985" y="6790"/>
                </a:lnTo>
                <a:lnTo>
                  <a:pt x="4965" y="6790"/>
                </a:lnTo>
                <a:lnTo>
                  <a:pt x="4956" y="6790"/>
                </a:lnTo>
                <a:lnTo>
                  <a:pt x="4948" y="6790"/>
                </a:lnTo>
                <a:lnTo>
                  <a:pt x="4995" y="6740"/>
                </a:lnTo>
                <a:close/>
                <a:moveTo>
                  <a:pt x="5192" y="6740"/>
                </a:moveTo>
                <a:lnTo>
                  <a:pt x="5310" y="6605"/>
                </a:lnTo>
                <a:lnTo>
                  <a:pt x="5321" y="6633"/>
                </a:lnTo>
                <a:lnTo>
                  <a:pt x="5330" y="6658"/>
                </a:lnTo>
                <a:lnTo>
                  <a:pt x="5338" y="6680"/>
                </a:lnTo>
                <a:lnTo>
                  <a:pt x="5342" y="6695"/>
                </a:lnTo>
                <a:lnTo>
                  <a:pt x="5343" y="6700"/>
                </a:lnTo>
                <a:lnTo>
                  <a:pt x="5343" y="6706"/>
                </a:lnTo>
                <a:lnTo>
                  <a:pt x="5343" y="6710"/>
                </a:lnTo>
                <a:lnTo>
                  <a:pt x="5342" y="6713"/>
                </a:lnTo>
                <a:lnTo>
                  <a:pt x="5339" y="6720"/>
                </a:lnTo>
                <a:lnTo>
                  <a:pt x="5336" y="6725"/>
                </a:lnTo>
                <a:lnTo>
                  <a:pt x="5327" y="6731"/>
                </a:lnTo>
                <a:lnTo>
                  <a:pt x="5323" y="6733"/>
                </a:lnTo>
                <a:lnTo>
                  <a:pt x="5323" y="6746"/>
                </a:lnTo>
                <a:lnTo>
                  <a:pt x="5323" y="6775"/>
                </a:lnTo>
                <a:lnTo>
                  <a:pt x="5322" y="6791"/>
                </a:lnTo>
                <a:lnTo>
                  <a:pt x="5322" y="6806"/>
                </a:lnTo>
                <a:lnTo>
                  <a:pt x="5321" y="6817"/>
                </a:lnTo>
                <a:lnTo>
                  <a:pt x="5318" y="6823"/>
                </a:lnTo>
                <a:lnTo>
                  <a:pt x="5316" y="6827"/>
                </a:lnTo>
                <a:lnTo>
                  <a:pt x="5314" y="6828"/>
                </a:lnTo>
                <a:lnTo>
                  <a:pt x="5312" y="6828"/>
                </a:lnTo>
                <a:lnTo>
                  <a:pt x="5310" y="6827"/>
                </a:lnTo>
                <a:lnTo>
                  <a:pt x="5304" y="6823"/>
                </a:lnTo>
                <a:lnTo>
                  <a:pt x="5297" y="6819"/>
                </a:lnTo>
                <a:lnTo>
                  <a:pt x="5292" y="6817"/>
                </a:lnTo>
                <a:lnTo>
                  <a:pt x="5288" y="6812"/>
                </a:lnTo>
                <a:lnTo>
                  <a:pt x="5284" y="6804"/>
                </a:lnTo>
                <a:lnTo>
                  <a:pt x="5280" y="6795"/>
                </a:lnTo>
                <a:lnTo>
                  <a:pt x="5269" y="6776"/>
                </a:lnTo>
                <a:lnTo>
                  <a:pt x="5258" y="6755"/>
                </a:lnTo>
                <a:lnTo>
                  <a:pt x="5254" y="6750"/>
                </a:lnTo>
                <a:lnTo>
                  <a:pt x="5248" y="6746"/>
                </a:lnTo>
                <a:lnTo>
                  <a:pt x="5241" y="6744"/>
                </a:lnTo>
                <a:lnTo>
                  <a:pt x="5232" y="6741"/>
                </a:lnTo>
                <a:lnTo>
                  <a:pt x="5222" y="6740"/>
                </a:lnTo>
                <a:lnTo>
                  <a:pt x="5212" y="6740"/>
                </a:lnTo>
                <a:lnTo>
                  <a:pt x="5202" y="6740"/>
                </a:lnTo>
                <a:lnTo>
                  <a:pt x="5192" y="6740"/>
                </a:lnTo>
                <a:close/>
                <a:moveTo>
                  <a:pt x="4948" y="6790"/>
                </a:moveTo>
                <a:lnTo>
                  <a:pt x="4722" y="7033"/>
                </a:lnTo>
                <a:lnTo>
                  <a:pt x="4717" y="7031"/>
                </a:lnTo>
                <a:lnTo>
                  <a:pt x="4712" y="7028"/>
                </a:lnTo>
                <a:lnTo>
                  <a:pt x="4698" y="7018"/>
                </a:lnTo>
                <a:lnTo>
                  <a:pt x="4685" y="7008"/>
                </a:lnTo>
                <a:lnTo>
                  <a:pt x="4674" y="6997"/>
                </a:lnTo>
                <a:lnTo>
                  <a:pt x="4666" y="6988"/>
                </a:lnTo>
                <a:lnTo>
                  <a:pt x="4659" y="6978"/>
                </a:lnTo>
                <a:lnTo>
                  <a:pt x="4654" y="6968"/>
                </a:lnTo>
                <a:lnTo>
                  <a:pt x="4650" y="6960"/>
                </a:lnTo>
                <a:lnTo>
                  <a:pt x="4648" y="6952"/>
                </a:lnTo>
                <a:lnTo>
                  <a:pt x="4646" y="6947"/>
                </a:lnTo>
                <a:lnTo>
                  <a:pt x="4644" y="6944"/>
                </a:lnTo>
                <a:lnTo>
                  <a:pt x="4642" y="6943"/>
                </a:lnTo>
                <a:lnTo>
                  <a:pt x="4638" y="6945"/>
                </a:lnTo>
                <a:lnTo>
                  <a:pt x="4632" y="6951"/>
                </a:lnTo>
                <a:lnTo>
                  <a:pt x="4626" y="6960"/>
                </a:lnTo>
                <a:lnTo>
                  <a:pt x="4618" y="6967"/>
                </a:lnTo>
                <a:lnTo>
                  <a:pt x="4611" y="6977"/>
                </a:lnTo>
                <a:lnTo>
                  <a:pt x="4603" y="6988"/>
                </a:lnTo>
                <a:lnTo>
                  <a:pt x="4592" y="7001"/>
                </a:lnTo>
                <a:lnTo>
                  <a:pt x="4587" y="7006"/>
                </a:lnTo>
                <a:lnTo>
                  <a:pt x="4583" y="7009"/>
                </a:lnTo>
                <a:lnTo>
                  <a:pt x="4580" y="7009"/>
                </a:lnTo>
                <a:lnTo>
                  <a:pt x="4578" y="7007"/>
                </a:lnTo>
                <a:lnTo>
                  <a:pt x="4574" y="6999"/>
                </a:lnTo>
                <a:lnTo>
                  <a:pt x="4566" y="6990"/>
                </a:lnTo>
                <a:lnTo>
                  <a:pt x="4562" y="6984"/>
                </a:lnTo>
                <a:lnTo>
                  <a:pt x="4557" y="6979"/>
                </a:lnTo>
                <a:lnTo>
                  <a:pt x="4554" y="6972"/>
                </a:lnTo>
                <a:lnTo>
                  <a:pt x="4551" y="6967"/>
                </a:lnTo>
                <a:lnTo>
                  <a:pt x="4550" y="6960"/>
                </a:lnTo>
                <a:lnTo>
                  <a:pt x="4549" y="6952"/>
                </a:lnTo>
                <a:lnTo>
                  <a:pt x="4549" y="6942"/>
                </a:lnTo>
                <a:lnTo>
                  <a:pt x="4549" y="6933"/>
                </a:lnTo>
                <a:lnTo>
                  <a:pt x="4551" y="6923"/>
                </a:lnTo>
                <a:lnTo>
                  <a:pt x="4553" y="6916"/>
                </a:lnTo>
                <a:lnTo>
                  <a:pt x="4557" y="6911"/>
                </a:lnTo>
                <a:lnTo>
                  <a:pt x="4562" y="6909"/>
                </a:lnTo>
                <a:lnTo>
                  <a:pt x="4571" y="6903"/>
                </a:lnTo>
                <a:lnTo>
                  <a:pt x="4582" y="6897"/>
                </a:lnTo>
                <a:lnTo>
                  <a:pt x="4587" y="6891"/>
                </a:lnTo>
                <a:lnTo>
                  <a:pt x="4590" y="6886"/>
                </a:lnTo>
                <a:lnTo>
                  <a:pt x="4591" y="6880"/>
                </a:lnTo>
                <a:lnTo>
                  <a:pt x="4592" y="6874"/>
                </a:lnTo>
                <a:lnTo>
                  <a:pt x="4591" y="6869"/>
                </a:lnTo>
                <a:lnTo>
                  <a:pt x="4589" y="6862"/>
                </a:lnTo>
                <a:lnTo>
                  <a:pt x="4586" y="6856"/>
                </a:lnTo>
                <a:lnTo>
                  <a:pt x="4582" y="6849"/>
                </a:lnTo>
                <a:lnTo>
                  <a:pt x="4579" y="6842"/>
                </a:lnTo>
                <a:lnTo>
                  <a:pt x="4578" y="6836"/>
                </a:lnTo>
                <a:lnTo>
                  <a:pt x="4578" y="6830"/>
                </a:lnTo>
                <a:lnTo>
                  <a:pt x="4580" y="6825"/>
                </a:lnTo>
                <a:lnTo>
                  <a:pt x="4583" y="6819"/>
                </a:lnTo>
                <a:lnTo>
                  <a:pt x="4588" y="6815"/>
                </a:lnTo>
                <a:lnTo>
                  <a:pt x="4593" y="6810"/>
                </a:lnTo>
                <a:lnTo>
                  <a:pt x="4600" y="6806"/>
                </a:lnTo>
                <a:lnTo>
                  <a:pt x="4615" y="6802"/>
                </a:lnTo>
                <a:lnTo>
                  <a:pt x="4621" y="6801"/>
                </a:lnTo>
                <a:lnTo>
                  <a:pt x="4630" y="6801"/>
                </a:lnTo>
                <a:lnTo>
                  <a:pt x="4638" y="6802"/>
                </a:lnTo>
                <a:lnTo>
                  <a:pt x="4648" y="6804"/>
                </a:lnTo>
                <a:lnTo>
                  <a:pt x="4659" y="6806"/>
                </a:lnTo>
                <a:lnTo>
                  <a:pt x="4670" y="6809"/>
                </a:lnTo>
                <a:lnTo>
                  <a:pt x="4682" y="6814"/>
                </a:lnTo>
                <a:lnTo>
                  <a:pt x="4694" y="6819"/>
                </a:lnTo>
                <a:lnTo>
                  <a:pt x="4706" y="6826"/>
                </a:lnTo>
                <a:lnTo>
                  <a:pt x="4716" y="6832"/>
                </a:lnTo>
                <a:lnTo>
                  <a:pt x="4726" y="6840"/>
                </a:lnTo>
                <a:lnTo>
                  <a:pt x="4736" y="6848"/>
                </a:lnTo>
                <a:lnTo>
                  <a:pt x="4752" y="6864"/>
                </a:lnTo>
                <a:lnTo>
                  <a:pt x="4767" y="6877"/>
                </a:lnTo>
                <a:lnTo>
                  <a:pt x="4770" y="6880"/>
                </a:lnTo>
                <a:lnTo>
                  <a:pt x="4773" y="6882"/>
                </a:lnTo>
                <a:lnTo>
                  <a:pt x="4776" y="6882"/>
                </a:lnTo>
                <a:lnTo>
                  <a:pt x="4777" y="6882"/>
                </a:lnTo>
                <a:lnTo>
                  <a:pt x="4780" y="6879"/>
                </a:lnTo>
                <a:lnTo>
                  <a:pt x="4782" y="6873"/>
                </a:lnTo>
                <a:lnTo>
                  <a:pt x="4784" y="6857"/>
                </a:lnTo>
                <a:lnTo>
                  <a:pt x="4787" y="6837"/>
                </a:lnTo>
                <a:lnTo>
                  <a:pt x="4788" y="6829"/>
                </a:lnTo>
                <a:lnTo>
                  <a:pt x="4788" y="6822"/>
                </a:lnTo>
                <a:lnTo>
                  <a:pt x="4787" y="6818"/>
                </a:lnTo>
                <a:lnTo>
                  <a:pt x="4784" y="6814"/>
                </a:lnTo>
                <a:lnTo>
                  <a:pt x="4780" y="6806"/>
                </a:lnTo>
                <a:lnTo>
                  <a:pt x="4774" y="6792"/>
                </a:lnTo>
                <a:lnTo>
                  <a:pt x="4773" y="6783"/>
                </a:lnTo>
                <a:lnTo>
                  <a:pt x="4771" y="6778"/>
                </a:lnTo>
                <a:lnTo>
                  <a:pt x="4771" y="6775"/>
                </a:lnTo>
                <a:lnTo>
                  <a:pt x="4774" y="6773"/>
                </a:lnTo>
                <a:lnTo>
                  <a:pt x="4779" y="6769"/>
                </a:lnTo>
                <a:lnTo>
                  <a:pt x="4786" y="6762"/>
                </a:lnTo>
                <a:lnTo>
                  <a:pt x="4789" y="6758"/>
                </a:lnTo>
                <a:lnTo>
                  <a:pt x="4792" y="6754"/>
                </a:lnTo>
                <a:lnTo>
                  <a:pt x="4795" y="6753"/>
                </a:lnTo>
                <a:lnTo>
                  <a:pt x="4800" y="6754"/>
                </a:lnTo>
                <a:lnTo>
                  <a:pt x="4809" y="6756"/>
                </a:lnTo>
                <a:lnTo>
                  <a:pt x="4824" y="6759"/>
                </a:lnTo>
                <a:lnTo>
                  <a:pt x="4833" y="6760"/>
                </a:lnTo>
                <a:lnTo>
                  <a:pt x="4841" y="6762"/>
                </a:lnTo>
                <a:lnTo>
                  <a:pt x="4848" y="6765"/>
                </a:lnTo>
                <a:lnTo>
                  <a:pt x="4856" y="6768"/>
                </a:lnTo>
                <a:lnTo>
                  <a:pt x="4871" y="6776"/>
                </a:lnTo>
                <a:lnTo>
                  <a:pt x="4886" y="6783"/>
                </a:lnTo>
                <a:lnTo>
                  <a:pt x="4899" y="6788"/>
                </a:lnTo>
                <a:lnTo>
                  <a:pt x="4914" y="6790"/>
                </a:lnTo>
                <a:lnTo>
                  <a:pt x="4930" y="6790"/>
                </a:lnTo>
                <a:lnTo>
                  <a:pt x="4948" y="6790"/>
                </a:lnTo>
                <a:close/>
                <a:moveTo>
                  <a:pt x="4722" y="7033"/>
                </a:moveTo>
                <a:lnTo>
                  <a:pt x="4736" y="7039"/>
                </a:lnTo>
                <a:lnTo>
                  <a:pt x="4748" y="7043"/>
                </a:lnTo>
                <a:lnTo>
                  <a:pt x="4758" y="7046"/>
                </a:lnTo>
                <a:lnTo>
                  <a:pt x="4767" y="7048"/>
                </a:lnTo>
                <a:lnTo>
                  <a:pt x="4775" y="7051"/>
                </a:lnTo>
                <a:lnTo>
                  <a:pt x="4780" y="7055"/>
                </a:lnTo>
                <a:lnTo>
                  <a:pt x="4782" y="7057"/>
                </a:lnTo>
                <a:lnTo>
                  <a:pt x="4784" y="7060"/>
                </a:lnTo>
                <a:lnTo>
                  <a:pt x="4786" y="7064"/>
                </a:lnTo>
                <a:lnTo>
                  <a:pt x="4786" y="7069"/>
                </a:lnTo>
                <a:lnTo>
                  <a:pt x="4788" y="7085"/>
                </a:lnTo>
                <a:lnTo>
                  <a:pt x="4789" y="7095"/>
                </a:lnTo>
                <a:lnTo>
                  <a:pt x="4788" y="7099"/>
                </a:lnTo>
                <a:lnTo>
                  <a:pt x="4786" y="7104"/>
                </a:lnTo>
                <a:lnTo>
                  <a:pt x="4782" y="7109"/>
                </a:lnTo>
                <a:lnTo>
                  <a:pt x="4776" y="7115"/>
                </a:lnTo>
                <a:lnTo>
                  <a:pt x="4764" y="7125"/>
                </a:lnTo>
                <a:lnTo>
                  <a:pt x="4757" y="7130"/>
                </a:lnTo>
                <a:lnTo>
                  <a:pt x="4754" y="7133"/>
                </a:lnTo>
                <a:lnTo>
                  <a:pt x="4750" y="7138"/>
                </a:lnTo>
                <a:lnTo>
                  <a:pt x="4746" y="7145"/>
                </a:lnTo>
                <a:lnTo>
                  <a:pt x="4740" y="7155"/>
                </a:lnTo>
                <a:lnTo>
                  <a:pt x="4726" y="7178"/>
                </a:lnTo>
                <a:lnTo>
                  <a:pt x="4714" y="7195"/>
                </a:lnTo>
                <a:lnTo>
                  <a:pt x="4702" y="7208"/>
                </a:lnTo>
                <a:lnTo>
                  <a:pt x="4693" y="7217"/>
                </a:lnTo>
                <a:lnTo>
                  <a:pt x="4685" y="7224"/>
                </a:lnTo>
                <a:lnTo>
                  <a:pt x="4678" y="7228"/>
                </a:lnTo>
                <a:lnTo>
                  <a:pt x="4675" y="7231"/>
                </a:lnTo>
                <a:lnTo>
                  <a:pt x="4671" y="7233"/>
                </a:lnTo>
                <a:lnTo>
                  <a:pt x="4666" y="7234"/>
                </a:lnTo>
                <a:lnTo>
                  <a:pt x="4658" y="7234"/>
                </a:lnTo>
                <a:lnTo>
                  <a:pt x="4650" y="7234"/>
                </a:lnTo>
                <a:lnTo>
                  <a:pt x="4644" y="7233"/>
                </a:lnTo>
                <a:lnTo>
                  <a:pt x="4638" y="7232"/>
                </a:lnTo>
                <a:lnTo>
                  <a:pt x="4634" y="7231"/>
                </a:lnTo>
                <a:lnTo>
                  <a:pt x="4630" y="7230"/>
                </a:lnTo>
                <a:lnTo>
                  <a:pt x="4626" y="7231"/>
                </a:lnTo>
                <a:lnTo>
                  <a:pt x="4622" y="7233"/>
                </a:lnTo>
                <a:lnTo>
                  <a:pt x="4618" y="7237"/>
                </a:lnTo>
                <a:lnTo>
                  <a:pt x="4613" y="7242"/>
                </a:lnTo>
                <a:lnTo>
                  <a:pt x="4605" y="7247"/>
                </a:lnTo>
                <a:lnTo>
                  <a:pt x="4598" y="7251"/>
                </a:lnTo>
                <a:lnTo>
                  <a:pt x="4592" y="7254"/>
                </a:lnTo>
                <a:lnTo>
                  <a:pt x="4590" y="7257"/>
                </a:lnTo>
                <a:lnTo>
                  <a:pt x="4588" y="7258"/>
                </a:lnTo>
                <a:lnTo>
                  <a:pt x="4588" y="7260"/>
                </a:lnTo>
                <a:lnTo>
                  <a:pt x="4588" y="7261"/>
                </a:lnTo>
                <a:lnTo>
                  <a:pt x="4593" y="7264"/>
                </a:lnTo>
                <a:lnTo>
                  <a:pt x="4604" y="7267"/>
                </a:lnTo>
                <a:lnTo>
                  <a:pt x="4618" y="7269"/>
                </a:lnTo>
                <a:lnTo>
                  <a:pt x="4632" y="7268"/>
                </a:lnTo>
                <a:lnTo>
                  <a:pt x="4645" y="7267"/>
                </a:lnTo>
                <a:lnTo>
                  <a:pt x="4656" y="7264"/>
                </a:lnTo>
                <a:lnTo>
                  <a:pt x="4673" y="7259"/>
                </a:lnTo>
                <a:lnTo>
                  <a:pt x="4680" y="7255"/>
                </a:lnTo>
                <a:lnTo>
                  <a:pt x="4700" y="7272"/>
                </a:lnTo>
                <a:lnTo>
                  <a:pt x="4706" y="7273"/>
                </a:lnTo>
                <a:lnTo>
                  <a:pt x="4722" y="7277"/>
                </a:lnTo>
                <a:lnTo>
                  <a:pt x="4683" y="7321"/>
                </a:lnTo>
                <a:lnTo>
                  <a:pt x="4682" y="7321"/>
                </a:lnTo>
                <a:lnTo>
                  <a:pt x="4680" y="7320"/>
                </a:lnTo>
                <a:lnTo>
                  <a:pt x="4673" y="7318"/>
                </a:lnTo>
                <a:lnTo>
                  <a:pt x="4669" y="7318"/>
                </a:lnTo>
                <a:lnTo>
                  <a:pt x="4664" y="7320"/>
                </a:lnTo>
                <a:lnTo>
                  <a:pt x="4660" y="7322"/>
                </a:lnTo>
                <a:lnTo>
                  <a:pt x="4656" y="7325"/>
                </a:lnTo>
                <a:lnTo>
                  <a:pt x="4649" y="7327"/>
                </a:lnTo>
                <a:lnTo>
                  <a:pt x="4641" y="7327"/>
                </a:lnTo>
                <a:lnTo>
                  <a:pt x="4630" y="7326"/>
                </a:lnTo>
                <a:lnTo>
                  <a:pt x="4619" y="7323"/>
                </a:lnTo>
                <a:lnTo>
                  <a:pt x="4613" y="7320"/>
                </a:lnTo>
                <a:lnTo>
                  <a:pt x="4609" y="7318"/>
                </a:lnTo>
                <a:lnTo>
                  <a:pt x="4607" y="7315"/>
                </a:lnTo>
                <a:lnTo>
                  <a:pt x="4605" y="7313"/>
                </a:lnTo>
                <a:lnTo>
                  <a:pt x="4602" y="7311"/>
                </a:lnTo>
                <a:lnTo>
                  <a:pt x="4596" y="7308"/>
                </a:lnTo>
                <a:lnTo>
                  <a:pt x="4587" y="7307"/>
                </a:lnTo>
                <a:lnTo>
                  <a:pt x="4563" y="7306"/>
                </a:lnTo>
                <a:lnTo>
                  <a:pt x="4539" y="7306"/>
                </a:lnTo>
                <a:lnTo>
                  <a:pt x="4527" y="7306"/>
                </a:lnTo>
                <a:lnTo>
                  <a:pt x="4515" y="7305"/>
                </a:lnTo>
                <a:lnTo>
                  <a:pt x="4503" y="7303"/>
                </a:lnTo>
                <a:lnTo>
                  <a:pt x="4491" y="7300"/>
                </a:lnTo>
                <a:lnTo>
                  <a:pt x="4485" y="7298"/>
                </a:lnTo>
                <a:lnTo>
                  <a:pt x="4479" y="7294"/>
                </a:lnTo>
                <a:lnTo>
                  <a:pt x="4518" y="7252"/>
                </a:lnTo>
                <a:lnTo>
                  <a:pt x="4526" y="7253"/>
                </a:lnTo>
                <a:lnTo>
                  <a:pt x="4534" y="7254"/>
                </a:lnTo>
                <a:lnTo>
                  <a:pt x="4537" y="7254"/>
                </a:lnTo>
                <a:lnTo>
                  <a:pt x="4540" y="7254"/>
                </a:lnTo>
                <a:lnTo>
                  <a:pt x="4543" y="7253"/>
                </a:lnTo>
                <a:lnTo>
                  <a:pt x="4546" y="7252"/>
                </a:lnTo>
                <a:lnTo>
                  <a:pt x="4553" y="7248"/>
                </a:lnTo>
                <a:lnTo>
                  <a:pt x="4558" y="7244"/>
                </a:lnTo>
                <a:lnTo>
                  <a:pt x="4561" y="7241"/>
                </a:lnTo>
                <a:lnTo>
                  <a:pt x="4562" y="7239"/>
                </a:lnTo>
                <a:lnTo>
                  <a:pt x="4562" y="7236"/>
                </a:lnTo>
                <a:lnTo>
                  <a:pt x="4561" y="7232"/>
                </a:lnTo>
                <a:lnTo>
                  <a:pt x="4556" y="7223"/>
                </a:lnTo>
                <a:lnTo>
                  <a:pt x="4553" y="7214"/>
                </a:lnTo>
                <a:lnTo>
                  <a:pt x="4722" y="7033"/>
                </a:lnTo>
                <a:close/>
                <a:moveTo>
                  <a:pt x="4722" y="7277"/>
                </a:moveTo>
                <a:lnTo>
                  <a:pt x="5142" y="6798"/>
                </a:lnTo>
                <a:lnTo>
                  <a:pt x="5142" y="6798"/>
                </a:lnTo>
                <a:lnTo>
                  <a:pt x="5144" y="6799"/>
                </a:lnTo>
                <a:lnTo>
                  <a:pt x="5148" y="6799"/>
                </a:lnTo>
                <a:lnTo>
                  <a:pt x="5165" y="6802"/>
                </a:lnTo>
                <a:lnTo>
                  <a:pt x="5184" y="6803"/>
                </a:lnTo>
                <a:lnTo>
                  <a:pt x="5205" y="6805"/>
                </a:lnTo>
                <a:lnTo>
                  <a:pt x="5225" y="6809"/>
                </a:lnTo>
                <a:lnTo>
                  <a:pt x="5234" y="6813"/>
                </a:lnTo>
                <a:lnTo>
                  <a:pt x="5241" y="6816"/>
                </a:lnTo>
                <a:lnTo>
                  <a:pt x="5246" y="6820"/>
                </a:lnTo>
                <a:lnTo>
                  <a:pt x="5251" y="6826"/>
                </a:lnTo>
                <a:lnTo>
                  <a:pt x="5256" y="6831"/>
                </a:lnTo>
                <a:lnTo>
                  <a:pt x="5260" y="6836"/>
                </a:lnTo>
                <a:lnTo>
                  <a:pt x="5267" y="6842"/>
                </a:lnTo>
                <a:lnTo>
                  <a:pt x="5275" y="6847"/>
                </a:lnTo>
                <a:lnTo>
                  <a:pt x="5284" y="6853"/>
                </a:lnTo>
                <a:lnTo>
                  <a:pt x="5291" y="6855"/>
                </a:lnTo>
                <a:lnTo>
                  <a:pt x="5298" y="6857"/>
                </a:lnTo>
                <a:lnTo>
                  <a:pt x="5303" y="6858"/>
                </a:lnTo>
                <a:lnTo>
                  <a:pt x="5315" y="6860"/>
                </a:lnTo>
                <a:lnTo>
                  <a:pt x="5328" y="6864"/>
                </a:lnTo>
                <a:lnTo>
                  <a:pt x="5336" y="6868"/>
                </a:lnTo>
                <a:lnTo>
                  <a:pt x="5341" y="6871"/>
                </a:lnTo>
                <a:lnTo>
                  <a:pt x="5344" y="6874"/>
                </a:lnTo>
                <a:lnTo>
                  <a:pt x="5347" y="6877"/>
                </a:lnTo>
                <a:lnTo>
                  <a:pt x="5347" y="6881"/>
                </a:lnTo>
                <a:lnTo>
                  <a:pt x="5344" y="6884"/>
                </a:lnTo>
                <a:lnTo>
                  <a:pt x="5341" y="6888"/>
                </a:lnTo>
                <a:lnTo>
                  <a:pt x="5336" y="6894"/>
                </a:lnTo>
                <a:lnTo>
                  <a:pt x="5322" y="6906"/>
                </a:lnTo>
                <a:lnTo>
                  <a:pt x="5305" y="6917"/>
                </a:lnTo>
                <a:lnTo>
                  <a:pt x="5297" y="6924"/>
                </a:lnTo>
                <a:lnTo>
                  <a:pt x="5288" y="6929"/>
                </a:lnTo>
                <a:lnTo>
                  <a:pt x="5280" y="6934"/>
                </a:lnTo>
                <a:lnTo>
                  <a:pt x="5271" y="6938"/>
                </a:lnTo>
                <a:lnTo>
                  <a:pt x="5263" y="6941"/>
                </a:lnTo>
                <a:lnTo>
                  <a:pt x="5256" y="6945"/>
                </a:lnTo>
                <a:lnTo>
                  <a:pt x="5248" y="6951"/>
                </a:lnTo>
                <a:lnTo>
                  <a:pt x="5242" y="6957"/>
                </a:lnTo>
                <a:lnTo>
                  <a:pt x="5235" y="6965"/>
                </a:lnTo>
                <a:lnTo>
                  <a:pt x="5229" y="6974"/>
                </a:lnTo>
                <a:lnTo>
                  <a:pt x="5222" y="6983"/>
                </a:lnTo>
                <a:lnTo>
                  <a:pt x="5216" y="6995"/>
                </a:lnTo>
                <a:lnTo>
                  <a:pt x="5208" y="7006"/>
                </a:lnTo>
                <a:lnTo>
                  <a:pt x="5201" y="7016"/>
                </a:lnTo>
                <a:lnTo>
                  <a:pt x="5193" y="7023"/>
                </a:lnTo>
                <a:lnTo>
                  <a:pt x="5184" y="7030"/>
                </a:lnTo>
                <a:lnTo>
                  <a:pt x="5170" y="7037"/>
                </a:lnTo>
                <a:lnTo>
                  <a:pt x="5161" y="7043"/>
                </a:lnTo>
                <a:lnTo>
                  <a:pt x="5157" y="7044"/>
                </a:lnTo>
                <a:lnTo>
                  <a:pt x="5154" y="7044"/>
                </a:lnTo>
                <a:lnTo>
                  <a:pt x="5150" y="7043"/>
                </a:lnTo>
                <a:lnTo>
                  <a:pt x="5145" y="7042"/>
                </a:lnTo>
                <a:lnTo>
                  <a:pt x="5134" y="7038"/>
                </a:lnTo>
                <a:lnTo>
                  <a:pt x="5116" y="7035"/>
                </a:lnTo>
                <a:lnTo>
                  <a:pt x="5108" y="7035"/>
                </a:lnTo>
                <a:lnTo>
                  <a:pt x="5100" y="7036"/>
                </a:lnTo>
                <a:lnTo>
                  <a:pt x="5095" y="7038"/>
                </a:lnTo>
                <a:lnTo>
                  <a:pt x="5090" y="7042"/>
                </a:lnTo>
                <a:lnTo>
                  <a:pt x="5087" y="7046"/>
                </a:lnTo>
                <a:lnTo>
                  <a:pt x="5085" y="7050"/>
                </a:lnTo>
                <a:lnTo>
                  <a:pt x="5083" y="7055"/>
                </a:lnTo>
                <a:lnTo>
                  <a:pt x="5081" y="7060"/>
                </a:lnTo>
                <a:lnTo>
                  <a:pt x="5080" y="7064"/>
                </a:lnTo>
                <a:lnTo>
                  <a:pt x="5080" y="7069"/>
                </a:lnTo>
                <a:lnTo>
                  <a:pt x="5080" y="7073"/>
                </a:lnTo>
                <a:lnTo>
                  <a:pt x="5081" y="7077"/>
                </a:lnTo>
                <a:lnTo>
                  <a:pt x="5083" y="7087"/>
                </a:lnTo>
                <a:lnTo>
                  <a:pt x="5085" y="7097"/>
                </a:lnTo>
                <a:lnTo>
                  <a:pt x="5086" y="7101"/>
                </a:lnTo>
                <a:lnTo>
                  <a:pt x="5085" y="7105"/>
                </a:lnTo>
                <a:lnTo>
                  <a:pt x="5084" y="7110"/>
                </a:lnTo>
                <a:lnTo>
                  <a:pt x="5083" y="7113"/>
                </a:lnTo>
                <a:lnTo>
                  <a:pt x="5078" y="7120"/>
                </a:lnTo>
                <a:lnTo>
                  <a:pt x="5072" y="7127"/>
                </a:lnTo>
                <a:lnTo>
                  <a:pt x="5069" y="7129"/>
                </a:lnTo>
                <a:lnTo>
                  <a:pt x="5067" y="7130"/>
                </a:lnTo>
                <a:lnTo>
                  <a:pt x="5064" y="7130"/>
                </a:lnTo>
                <a:lnTo>
                  <a:pt x="5062" y="7130"/>
                </a:lnTo>
                <a:lnTo>
                  <a:pt x="5058" y="7129"/>
                </a:lnTo>
                <a:lnTo>
                  <a:pt x="5053" y="7130"/>
                </a:lnTo>
                <a:lnTo>
                  <a:pt x="5048" y="7131"/>
                </a:lnTo>
                <a:lnTo>
                  <a:pt x="5046" y="7132"/>
                </a:lnTo>
                <a:lnTo>
                  <a:pt x="5045" y="7134"/>
                </a:lnTo>
                <a:lnTo>
                  <a:pt x="5043" y="7137"/>
                </a:lnTo>
                <a:lnTo>
                  <a:pt x="5042" y="7141"/>
                </a:lnTo>
                <a:lnTo>
                  <a:pt x="5042" y="7142"/>
                </a:lnTo>
                <a:lnTo>
                  <a:pt x="5032" y="7131"/>
                </a:lnTo>
                <a:lnTo>
                  <a:pt x="5032" y="7128"/>
                </a:lnTo>
                <a:lnTo>
                  <a:pt x="5029" y="7118"/>
                </a:lnTo>
                <a:lnTo>
                  <a:pt x="5027" y="7112"/>
                </a:lnTo>
                <a:lnTo>
                  <a:pt x="5022" y="7104"/>
                </a:lnTo>
                <a:lnTo>
                  <a:pt x="5017" y="7097"/>
                </a:lnTo>
                <a:lnTo>
                  <a:pt x="5009" y="7088"/>
                </a:lnTo>
                <a:lnTo>
                  <a:pt x="5005" y="7085"/>
                </a:lnTo>
                <a:lnTo>
                  <a:pt x="5002" y="7082"/>
                </a:lnTo>
                <a:lnTo>
                  <a:pt x="4998" y="7080"/>
                </a:lnTo>
                <a:lnTo>
                  <a:pt x="4996" y="7080"/>
                </a:lnTo>
                <a:lnTo>
                  <a:pt x="4994" y="7080"/>
                </a:lnTo>
                <a:lnTo>
                  <a:pt x="4992" y="7082"/>
                </a:lnTo>
                <a:lnTo>
                  <a:pt x="4991" y="7084"/>
                </a:lnTo>
                <a:lnTo>
                  <a:pt x="4989" y="7085"/>
                </a:lnTo>
                <a:lnTo>
                  <a:pt x="4987" y="7090"/>
                </a:lnTo>
                <a:lnTo>
                  <a:pt x="4984" y="7095"/>
                </a:lnTo>
                <a:lnTo>
                  <a:pt x="4982" y="7098"/>
                </a:lnTo>
                <a:lnTo>
                  <a:pt x="4979" y="7100"/>
                </a:lnTo>
                <a:lnTo>
                  <a:pt x="4975" y="7100"/>
                </a:lnTo>
                <a:lnTo>
                  <a:pt x="4968" y="7102"/>
                </a:lnTo>
                <a:lnTo>
                  <a:pt x="4962" y="7104"/>
                </a:lnTo>
                <a:lnTo>
                  <a:pt x="4955" y="7107"/>
                </a:lnTo>
                <a:lnTo>
                  <a:pt x="4949" y="7112"/>
                </a:lnTo>
                <a:lnTo>
                  <a:pt x="4942" y="7116"/>
                </a:lnTo>
                <a:lnTo>
                  <a:pt x="4936" y="7122"/>
                </a:lnTo>
                <a:lnTo>
                  <a:pt x="4931" y="7128"/>
                </a:lnTo>
                <a:lnTo>
                  <a:pt x="4926" y="7140"/>
                </a:lnTo>
                <a:lnTo>
                  <a:pt x="4922" y="7150"/>
                </a:lnTo>
                <a:lnTo>
                  <a:pt x="4916" y="7159"/>
                </a:lnTo>
                <a:lnTo>
                  <a:pt x="4909" y="7168"/>
                </a:lnTo>
                <a:lnTo>
                  <a:pt x="4897" y="7178"/>
                </a:lnTo>
                <a:lnTo>
                  <a:pt x="4884" y="7186"/>
                </a:lnTo>
                <a:lnTo>
                  <a:pt x="4877" y="7192"/>
                </a:lnTo>
                <a:lnTo>
                  <a:pt x="4872" y="7198"/>
                </a:lnTo>
                <a:lnTo>
                  <a:pt x="4869" y="7205"/>
                </a:lnTo>
                <a:lnTo>
                  <a:pt x="4865" y="7212"/>
                </a:lnTo>
                <a:lnTo>
                  <a:pt x="4863" y="7230"/>
                </a:lnTo>
                <a:lnTo>
                  <a:pt x="4863" y="7245"/>
                </a:lnTo>
                <a:lnTo>
                  <a:pt x="4862" y="7252"/>
                </a:lnTo>
                <a:lnTo>
                  <a:pt x="4861" y="7260"/>
                </a:lnTo>
                <a:lnTo>
                  <a:pt x="4860" y="7266"/>
                </a:lnTo>
                <a:lnTo>
                  <a:pt x="4857" y="7273"/>
                </a:lnTo>
                <a:lnTo>
                  <a:pt x="4854" y="7278"/>
                </a:lnTo>
                <a:lnTo>
                  <a:pt x="4850" y="7281"/>
                </a:lnTo>
                <a:lnTo>
                  <a:pt x="4846" y="7284"/>
                </a:lnTo>
                <a:lnTo>
                  <a:pt x="4842" y="7285"/>
                </a:lnTo>
                <a:lnTo>
                  <a:pt x="4830" y="7286"/>
                </a:lnTo>
                <a:lnTo>
                  <a:pt x="4813" y="7289"/>
                </a:lnTo>
                <a:lnTo>
                  <a:pt x="4805" y="7290"/>
                </a:lnTo>
                <a:lnTo>
                  <a:pt x="4795" y="7290"/>
                </a:lnTo>
                <a:lnTo>
                  <a:pt x="4783" y="7289"/>
                </a:lnTo>
                <a:lnTo>
                  <a:pt x="4770" y="7287"/>
                </a:lnTo>
                <a:lnTo>
                  <a:pt x="4746" y="7282"/>
                </a:lnTo>
                <a:lnTo>
                  <a:pt x="4722" y="7277"/>
                </a:lnTo>
                <a:close/>
                <a:moveTo>
                  <a:pt x="4553" y="7214"/>
                </a:moveTo>
                <a:lnTo>
                  <a:pt x="4518" y="7252"/>
                </a:lnTo>
                <a:lnTo>
                  <a:pt x="4510" y="7250"/>
                </a:lnTo>
                <a:lnTo>
                  <a:pt x="4501" y="7249"/>
                </a:lnTo>
                <a:lnTo>
                  <a:pt x="4496" y="7248"/>
                </a:lnTo>
                <a:lnTo>
                  <a:pt x="4493" y="7247"/>
                </a:lnTo>
                <a:lnTo>
                  <a:pt x="4491" y="7245"/>
                </a:lnTo>
                <a:lnTo>
                  <a:pt x="4491" y="7241"/>
                </a:lnTo>
                <a:lnTo>
                  <a:pt x="4495" y="7236"/>
                </a:lnTo>
                <a:lnTo>
                  <a:pt x="4498" y="7231"/>
                </a:lnTo>
                <a:lnTo>
                  <a:pt x="4502" y="7222"/>
                </a:lnTo>
                <a:lnTo>
                  <a:pt x="4510" y="7208"/>
                </a:lnTo>
                <a:lnTo>
                  <a:pt x="4517" y="7205"/>
                </a:lnTo>
                <a:lnTo>
                  <a:pt x="4522" y="7203"/>
                </a:lnTo>
                <a:lnTo>
                  <a:pt x="4533" y="7199"/>
                </a:lnTo>
                <a:lnTo>
                  <a:pt x="4538" y="7199"/>
                </a:lnTo>
                <a:lnTo>
                  <a:pt x="4540" y="7199"/>
                </a:lnTo>
                <a:lnTo>
                  <a:pt x="4542" y="7201"/>
                </a:lnTo>
                <a:lnTo>
                  <a:pt x="4546" y="7205"/>
                </a:lnTo>
                <a:lnTo>
                  <a:pt x="4550" y="7209"/>
                </a:lnTo>
                <a:lnTo>
                  <a:pt x="4553" y="7214"/>
                </a:lnTo>
                <a:close/>
                <a:moveTo>
                  <a:pt x="4479" y="7294"/>
                </a:moveTo>
                <a:lnTo>
                  <a:pt x="4381" y="7399"/>
                </a:lnTo>
                <a:lnTo>
                  <a:pt x="4380" y="7393"/>
                </a:lnTo>
                <a:lnTo>
                  <a:pt x="4378" y="7387"/>
                </a:lnTo>
                <a:lnTo>
                  <a:pt x="4376" y="7384"/>
                </a:lnTo>
                <a:lnTo>
                  <a:pt x="4374" y="7381"/>
                </a:lnTo>
                <a:lnTo>
                  <a:pt x="4370" y="7377"/>
                </a:lnTo>
                <a:lnTo>
                  <a:pt x="4368" y="7377"/>
                </a:lnTo>
                <a:lnTo>
                  <a:pt x="4363" y="7374"/>
                </a:lnTo>
                <a:lnTo>
                  <a:pt x="4348" y="7367"/>
                </a:lnTo>
                <a:lnTo>
                  <a:pt x="4339" y="7361"/>
                </a:lnTo>
                <a:lnTo>
                  <a:pt x="4328" y="7355"/>
                </a:lnTo>
                <a:lnTo>
                  <a:pt x="4319" y="7347"/>
                </a:lnTo>
                <a:lnTo>
                  <a:pt x="4309" y="7339"/>
                </a:lnTo>
                <a:lnTo>
                  <a:pt x="4304" y="7334"/>
                </a:lnTo>
                <a:lnTo>
                  <a:pt x="4301" y="7330"/>
                </a:lnTo>
                <a:lnTo>
                  <a:pt x="4299" y="7327"/>
                </a:lnTo>
                <a:lnTo>
                  <a:pt x="4297" y="7323"/>
                </a:lnTo>
                <a:lnTo>
                  <a:pt x="4296" y="7320"/>
                </a:lnTo>
                <a:lnTo>
                  <a:pt x="4296" y="7317"/>
                </a:lnTo>
                <a:lnTo>
                  <a:pt x="4297" y="7314"/>
                </a:lnTo>
                <a:lnTo>
                  <a:pt x="4298" y="7312"/>
                </a:lnTo>
                <a:lnTo>
                  <a:pt x="4304" y="7300"/>
                </a:lnTo>
                <a:lnTo>
                  <a:pt x="4311" y="7285"/>
                </a:lnTo>
                <a:lnTo>
                  <a:pt x="4314" y="7276"/>
                </a:lnTo>
                <a:lnTo>
                  <a:pt x="4320" y="7269"/>
                </a:lnTo>
                <a:lnTo>
                  <a:pt x="4325" y="7265"/>
                </a:lnTo>
                <a:lnTo>
                  <a:pt x="4330" y="7262"/>
                </a:lnTo>
                <a:lnTo>
                  <a:pt x="4341" y="7258"/>
                </a:lnTo>
                <a:lnTo>
                  <a:pt x="4350" y="7255"/>
                </a:lnTo>
                <a:lnTo>
                  <a:pt x="4361" y="7257"/>
                </a:lnTo>
                <a:lnTo>
                  <a:pt x="4377" y="7261"/>
                </a:lnTo>
                <a:lnTo>
                  <a:pt x="4384" y="7262"/>
                </a:lnTo>
                <a:lnTo>
                  <a:pt x="4392" y="7263"/>
                </a:lnTo>
                <a:lnTo>
                  <a:pt x="4394" y="7263"/>
                </a:lnTo>
                <a:lnTo>
                  <a:pt x="4397" y="7262"/>
                </a:lnTo>
                <a:lnTo>
                  <a:pt x="4399" y="7261"/>
                </a:lnTo>
                <a:lnTo>
                  <a:pt x="4401" y="7259"/>
                </a:lnTo>
                <a:lnTo>
                  <a:pt x="4403" y="7251"/>
                </a:lnTo>
                <a:lnTo>
                  <a:pt x="4405" y="7244"/>
                </a:lnTo>
                <a:lnTo>
                  <a:pt x="4405" y="7236"/>
                </a:lnTo>
                <a:lnTo>
                  <a:pt x="4405" y="7228"/>
                </a:lnTo>
                <a:lnTo>
                  <a:pt x="4403" y="7215"/>
                </a:lnTo>
                <a:lnTo>
                  <a:pt x="4400" y="7201"/>
                </a:lnTo>
                <a:lnTo>
                  <a:pt x="4396" y="7185"/>
                </a:lnTo>
                <a:lnTo>
                  <a:pt x="4393" y="7167"/>
                </a:lnTo>
                <a:lnTo>
                  <a:pt x="4392" y="7152"/>
                </a:lnTo>
                <a:lnTo>
                  <a:pt x="4391" y="7145"/>
                </a:lnTo>
                <a:lnTo>
                  <a:pt x="4394" y="7144"/>
                </a:lnTo>
                <a:lnTo>
                  <a:pt x="4396" y="7144"/>
                </a:lnTo>
                <a:lnTo>
                  <a:pt x="4399" y="7145"/>
                </a:lnTo>
                <a:lnTo>
                  <a:pt x="4402" y="7146"/>
                </a:lnTo>
                <a:lnTo>
                  <a:pt x="4408" y="7150"/>
                </a:lnTo>
                <a:lnTo>
                  <a:pt x="4416" y="7152"/>
                </a:lnTo>
                <a:lnTo>
                  <a:pt x="4421" y="7152"/>
                </a:lnTo>
                <a:lnTo>
                  <a:pt x="4427" y="7150"/>
                </a:lnTo>
                <a:lnTo>
                  <a:pt x="4433" y="7145"/>
                </a:lnTo>
                <a:lnTo>
                  <a:pt x="4441" y="7140"/>
                </a:lnTo>
                <a:lnTo>
                  <a:pt x="4444" y="7137"/>
                </a:lnTo>
                <a:lnTo>
                  <a:pt x="4447" y="7133"/>
                </a:lnTo>
                <a:lnTo>
                  <a:pt x="4448" y="7130"/>
                </a:lnTo>
                <a:lnTo>
                  <a:pt x="4449" y="7128"/>
                </a:lnTo>
                <a:lnTo>
                  <a:pt x="4448" y="7120"/>
                </a:lnTo>
                <a:lnTo>
                  <a:pt x="4447" y="7112"/>
                </a:lnTo>
                <a:lnTo>
                  <a:pt x="4446" y="7103"/>
                </a:lnTo>
                <a:lnTo>
                  <a:pt x="4446" y="7095"/>
                </a:lnTo>
                <a:lnTo>
                  <a:pt x="4447" y="7091"/>
                </a:lnTo>
                <a:lnTo>
                  <a:pt x="4449" y="7087"/>
                </a:lnTo>
                <a:lnTo>
                  <a:pt x="4453" y="7084"/>
                </a:lnTo>
                <a:lnTo>
                  <a:pt x="4458" y="7080"/>
                </a:lnTo>
                <a:lnTo>
                  <a:pt x="4463" y="7078"/>
                </a:lnTo>
                <a:lnTo>
                  <a:pt x="4469" y="7077"/>
                </a:lnTo>
                <a:lnTo>
                  <a:pt x="4473" y="7077"/>
                </a:lnTo>
                <a:lnTo>
                  <a:pt x="4479" y="7078"/>
                </a:lnTo>
                <a:lnTo>
                  <a:pt x="4484" y="7079"/>
                </a:lnTo>
                <a:lnTo>
                  <a:pt x="4489" y="7080"/>
                </a:lnTo>
                <a:lnTo>
                  <a:pt x="4495" y="7082"/>
                </a:lnTo>
                <a:lnTo>
                  <a:pt x="4501" y="7080"/>
                </a:lnTo>
                <a:lnTo>
                  <a:pt x="4508" y="7078"/>
                </a:lnTo>
                <a:lnTo>
                  <a:pt x="4511" y="7076"/>
                </a:lnTo>
                <a:lnTo>
                  <a:pt x="4514" y="7072"/>
                </a:lnTo>
                <a:lnTo>
                  <a:pt x="4516" y="7068"/>
                </a:lnTo>
                <a:lnTo>
                  <a:pt x="4521" y="7056"/>
                </a:lnTo>
                <a:lnTo>
                  <a:pt x="4527" y="7041"/>
                </a:lnTo>
                <a:lnTo>
                  <a:pt x="4561" y="7049"/>
                </a:lnTo>
                <a:lnTo>
                  <a:pt x="4564" y="7053"/>
                </a:lnTo>
                <a:lnTo>
                  <a:pt x="4571" y="7064"/>
                </a:lnTo>
                <a:lnTo>
                  <a:pt x="4581" y="7077"/>
                </a:lnTo>
                <a:lnTo>
                  <a:pt x="4592" y="7089"/>
                </a:lnTo>
                <a:lnTo>
                  <a:pt x="4596" y="7095"/>
                </a:lnTo>
                <a:lnTo>
                  <a:pt x="4598" y="7098"/>
                </a:lnTo>
                <a:lnTo>
                  <a:pt x="4598" y="7101"/>
                </a:lnTo>
                <a:lnTo>
                  <a:pt x="4596" y="7103"/>
                </a:lnTo>
                <a:lnTo>
                  <a:pt x="4593" y="7106"/>
                </a:lnTo>
                <a:lnTo>
                  <a:pt x="4591" y="7106"/>
                </a:lnTo>
                <a:lnTo>
                  <a:pt x="4566" y="7119"/>
                </a:lnTo>
                <a:lnTo>
                  <a:pt x="4567" y="7124"/>
                </a:lnTo>
                <a:lnTo>
                  <a:pt x="4569" y="7132"/>
                </a:lnTo>
                <a:lnTo>
                  <a:pt x="4574" y="7143"/>
                </a:lnTo>
                <a:lnTo>
                  <a:pt x="4579" y="7153"/>
                </a:lnTo>
                <a:lnTo>
                  <a:pt x="4581" y="7156"/>
                </a:lnTo>
                <a:lnTo>
                  <a:pt x="4581" y="7159"/>
                </a:lnTo>
                <a:lnTo>
                  <a:pt x="4580" y="7161"/>
                </a:lnTo>
                <a:lnTo>
                  <a:pt x="4578" y="7164"/>
                </a:lnTo>
                <a:lnTo>
                  <a:pt x="4574" y="7167"/>
                </a:lnTo>
                <a:lnTo>
                  <a:pt x="4570" y="7168"/>
                </a:lnTo>
                <a:lnTo>
                  <a:pt x="4568" y="7167"/>
                </a:lnTo>
                <a:lnTo>
                  <a:pt x="4560" y="7165"/>
                </a:lnTo>
                <a:lnTo>
                  <a:pt x="4544" y="7160"/>
                </a:lnTo>
                <a:lnTo>
                  <a:pt x="4524" y="7155"/>
                </a:lnTo>
                <a:lnTo>
                  <a:pt x="4517" y="7154"/>
                </a:lnTo>
                <a:lnTo>
                  <a:pt x="4512" y="7154"/>
                </a:lnTo>
                <a:lnTo>
                  <a:pt x="4507" y="7155"/>
                </a:lnTo>
                <a:lnTo>
                  <a:pt x="4502" y="7155"/>
                </a:lnTo>
                <a:lnTo>
                  <a:pt x="4494" y="7159"/>
                </a:lnTo>
                <a:lnTo>
                  <a:pt x="4486" y="7164"/>
                </a:lnTo>
                <a:lnTo>
                  <a:pt x="4473" y="7177"/>
                </a:lnTo>
                <a:lnTo>
                  <a:pt x="4462" y="7190"/>
                </a:lnTo>
                <a:lnTo>
                  <a:pt x="4457" y="7196"/>
                </a:lnTo>
                <a:lnTo>
                  <a:pt x="4454" y="7204"/>
                </a:lnTo>
                <a:lnTo>
                  <a:pt x="4450" y="7212"/>
                </a:lnTo>
                <a:lnTo>
                  <a:pt x="4448" y="7222"/>
                </a:lnTo>
                <a:lnTo>
                  <a:pt x="4447" y="7240"/>
                </a:lnTo>
                <a:lnTo>
                  <a:pt x="4447" y="7257"/>
                </a:lnTo>
                <a:lnTo>
                  <a:pt x="4448" y="7263"/>
                </a:lnTo>
                <a:lnTo>
                  <a:pt x="4449" y="7268"/>
                </a:lnTo>
                <a:lnTo>
                  <a:pt x="4453" y="7274"/>
                </a:lnTo>
                <a:lnTo>
                  <a:pt x="4456" y="7278"/>
                </a:lnTo>
                <a:lnTo>
                  <a:pt x="4459" y="7282"/>
                </a:lnTo>
                <a:lnTo>
                  <a:pt x="4464" y="7287"/>
                </a:lnTo>
                <a:lnTo>
                  <a:pt x="4471" y="7291"/>
                </a:lnTo>
                <a:lnTo>
                  <a:pt x="4479" y="7294"/>
                </a:lnTo>
                <a:close/>
                <a:moveTo>
                  <a:pt x="4401" y="7645"/>
                </a:moveTo>
                <a:lnTo>
                  <a:pt x="4683" y="7321"/>
                </a:lnTo>
                <a:lnTo>
                  <a:pt x="4691" y="7325"/>
                </a:lnTo>
                <a:lnTo>
                  <a:pt x="4701" y="7328"/>
                </a:lnTo>
                <a:lnTo>
                  <a:pt x="4711" y="7331"/>
                </a:lnTo>
                <a:lnTo>
                  <a:pt x="4722" y="7332"/>
                </a:lnTo>
                <a:lnTo>
                  <a:pt x="4733" y="7333"/>
                </a:lnTo>
                <a:lnTo>
                  <a:pt x="4744" y="7333"/>
                </a:lnTo>
                <a:lnTo>
                  <a:pt x="4754" y="7331"/>
                </a:lnTo>
                <a:lnTo>
                  <a:pt x="4764" y="7327"/>
                </a:lnTo>
                <a:lnTo>
                  <a:pt x="4774" y="7322"/>
                </a:lnTo>
                <a:lnTo>
                  <a:pt x="4783" y="7318"/>
                </a:lnTo>
                <a:lnTo>
                  <a:pt x="4795" y="7314"/>
                </a:lnTo>
                <a:lnTo>
                  <a:pt x="4807" y="7312"/>
                </a:lnTo>
                <a:lnTo>
                  <a:pt x="4820" y="7309"/>
                </a:lnTo>
                <a:lnTo>
                  <a:pt x="4835" y="7308"/>
                </a:lnTo>
                <a:lnTo>
                  <a:pt x="4853" y="7308"/>
                </a:lnTo>
                <a:lnTo>
                  <a:pt x="4873" y="7309"/>
                </a:lnTo>
                <a:lnTo>
                  <a:pt x="4883" y="7311"/>
                </a:lnTo>
                <a:lnTo>
                  <a:pt x="4890" y="7313"/>
                </a:lnTo>
                <a:lnTo>
                  <a:pt x="4896" y="7314"/>
                </a:lnTo>
                <a:lnTo>
                  <a:pt x="4900" y="7316"/>
                </a:lnTo>
                <a:lnTo>
                  <a:pt x="4902" y="7318"/>
                </a:lnTo>
                <a:lnTo>
                  <a:pt x="4904" y="7320"/>
                </a:lnTo>
                <a:lnTo>
                  <a:pt x="4904" y="7322"/>
                </a:lnTo>
                <a:lnTo>
                  <a:pt x="4903" y="7325"/>
                </a:lnTo>
                <a:lnTo>
                  <a:pt x="4896" y="7335"/>
                </a:lnTo>
                <a:lnTo>
                  <a:pt x="4890" y="7344"/>
                </a:lnTo>
                <a:lnTo>
                  <a:pt x="4889" y="7355"/>
                </a:lnTo>
                <a:lnTo>
                  <a:pt x="4889" y="7370"/>
                </a:lnTo>
                <a:lnTo>
                  <a:pt x="4890" y="7379"/>
                </a:lnTo>
                <a:lnTo>
                  <a:pt x="4891" y="7386"/>
                </a:lnTo>
                <a:lnTo>
                  <a:pt x="4894" y="7394"/>
                </a:lnTo>
                <a:lnTo>
                  <a:pt x="4897" y="7400"/>
                </a:lnTo>
                <a:lnTo>
                  <a:pt x="4901" y="7404"/>
                </a:lnTo>
                <a:lnTo>
                  <a:pt x="4904" y="7407"/>
                </a:lnTo>
                <a:lnTo>
                  <a:pt x="4908" y="7407"/>
                </a:lnTo>
                <a:lnTo>
                  <a:pt x="4912" y="7406"/>
                </a:lnTo>
                <a:lnTo>
                  <a:pt x="4917" y="7403"/>
                </a:lnTo>
                <a:lnTo>
                  <a:pt x="4925" y="7400"/>
                </a:lnTo>
                <a:lnTo>
                  <a:pt x="4934" y="7398"/>
                </a:lnTo>
                <a:lnTo>
                  <a:pt x="4944" y="7396"/>
                </a:lnTo>
                <a:lnTo>
                  <a:pt x="4951" y="7396"/>
                </a:lnTo>
                <a:lnTo>
                  <a:pt x="4956" y="7396"/>
                </a:lnTo>
                <a:lnTo>
                  <a:pt x="4962" y="7397"/>
                </a:lnTo>
                <a:lnTo>
                  <a:pt x="4967" y="7399"/>
                </a:lnTo>
                <a:lnTo>
                  <a:pt x="4978" y="7403"/>
                </a:lnTo>
                <a:lnTo>
                  <a:pt x="4987" y="7410"/>
                </a:lnTo>
                <a:lnTo>
                  <a:pt x="5003" y="7424"/>
                </a:lnTo>
                <a:lnTo>
                  <a:pt x="5014" y="7435"/>
                </a:lnTo>
                <a:lnTo>
                  <a:pt x="5017" y="7438"/>
                </a:lnTo>
                <a:lnTo>
                  <a:pt x="5018" y="7443"/>
                </a:lnTo>
                <a:lnTo>
                  <a:pt x="5018" y="7450"/>
                </a:lnTo>
                <a:lnTo>
                  <a:pt x="5018" y="7456"/>
                </a:lnTo>
                <a:lnTo>
                  <a:pt x="5016" y="7470"/>
                </a:lnTo>
                <a:lnTo>
                  <a:pt x="5015" y="7483"/>
                </a:lnTo>
                <a:lnTo>
                  <a:pt x="5016" y="7489"/>
                </a:lnTo>
                <a:lnTo>
                  <a:pt x="5018" y="7495"/>
                </a:lnTo>
                <a:lnTo>
                  <a:pt x="5020" y="7502"/>
                </a:lnTo>
                <a:lnTo>
                  <a:pt x="5024" y="7508"/>
                </a:lnTo>
                <a:lnTo>
                  <a:pt x="5032" y="7522"/>
                </a:lnTo>
                <a:lnTo>
                  <a:pt x="5041" y="7536"/>
                </a:lnTo>
                <a:lnTo>
                  <a:pt x="5044" y="7543"/>
                </a:lnTo>
                <a:lnTo>
                  <a:pt x="5046" y="7549"/>
                </a:lnTo>
                <a:lnTo>
                  <a:pt x="5048" y="7555"/>
                </a:lnTo>
                <a:lnTo>
                  <a:pt x="5049" y="7559"/>
                </a:lnTo>
                <a:lnTo>
                  <a:pt x="5050" y="7570"/>
                </a:lnTo>
                <a:lnTo>
                  <a:pt x="5053" y="7581"/>
                </a:lnTo>
                <a:lnTo>
                  <a:pt x="5056" y="7591"/>
                </a:lnTo>
                <a:lnTo>
                  <a:pt x="5061" y="7602"/>
                </a:lnTo>
                <a:lnTo>
                  <a:pt x="5063" y="7608"/>
                </a:lnTo>
                <a:lnTo>
                  <a:pt x="5064" y="7614"/>
                </a:lnTo>
                <a:lnTo>
                  <a:pt x="5065" y="7619"/>
                </a:lnTo>
                <a:lnTo>
                  <a:pt x="5067" y="7625"/>
                </a:lnTo>
                <a:lnTo>
                  <a:pt x="5065" y="7630"/>
                </a:lnTo>
                <a:lnTo>
                  <a:pt x="5063" y="7635"/>
                </a:lnTo>
                <a:lnTo>
                  <a:pt x="5060" y="7638"/>
                </a:lnTo>
                <a:lnTo>
                  <a:pt x="5057" y="7640"/>
                </a:lnTo>
                <a:lnTo>
                  <a:pt x="5053" y="7641"/>
                </a:lnTo>
                <a:lnTo>
                  <a:pt x="5047" y="7641"/>
                </a:lnTo>
                <a:lnTo>
                  <a:pt x="5043" y="7640"/>
                </a:lnTo>
                <a:lnTo>
                  <a:pt x="5040" y="7639"/>
                </a:lnTo>
                <a:lnTo>
                  <a:pt x="5029" y="7635"/>
                </a:lnTo>
                <a:lnTo>
                  <a:pt x="5015" y="7629"/>
                </a:lnTo>
                <a:lnTo>
                  <a:pt x="5006" y="7627"/>
                </a:lnTo>
                <a:lnTo>
                  <a:pt x="4996" y="7625"/>
                </a:lnTo>
                <a:lnTo>
                  <a:pt x="4987" y="7623"/>
                </a:lnTo>
                <a:lnTo>
                  <a:pt x="4976" y="7622"/>
                </a:lnTo>
                <a:lnTo>
                  <a:pt x="4967" y="7623"/>
                </a:lnTo>
                <a:lnTo>
                  <a:pt x="4961" y="7625"/>
                </a:lnTo>
                <a:lnTo>
                  <a:pt x="4956" y="7628"/>
                </a:lnTo>
                <a:lnTo>
                  <a:pt x="4953" y="7631"/>
                </a:lnTo>
                <a:lnTo>
                  <a:pt x="4951" y="7637"/>
                </a:lnTo>
                <a:lnTo>
                  <a:pt x="4949" y="7642"/>
                </a:lnTo>
                <a:lnTo>
                  <a:pt x="4947" y="7647"/>
                </a:lnTo>
                <a:lnTo>
                  <a:pt x="4941" y="7654"/>
                </a:lnTo>
                <a:lnTo>
                  <a:pt x="4939" y="7655"/>
                </a:lnTo>
                <a:lnTo>
                  <a:pt x="4936" y="7656"/>
                </a:lnTo>
                <a:lnTo>
                  <a:pt x="4934" y="7656"/>
                </a:lnTo>
                <a:lnTo>
                  <a:pt x="4930" y="7654"/>
                </a:lnTo>
                <a:lnTo>
                  <a:pt x="4925" y="7649"/>
                </a:lnTo>
                <a:lnTo>
                  <a:pt x="4920" y="7641"/>
                </a:lnTo>
                <a:lnTo>
                  <a:pt x="4911" y="7623"/>
                </a:lnTo>
                <a:lnTo>
                  <a:pt x="4904" y="7608"/>
                </a:lnTo>
                <a:lnTo>
                  <a:pt x="4903" y="7606"/>
                </a:lnTo>
                <a:lnTo>
                  <a:pt x="4901" y="7605"/>
                </a:lnTo>
                <a:lnTo>
                  <a:pt x="4899" y="7606"/>
                </a:lnTo>
                <a:lnTo>
                  <a:pt x="4897" y="7608"/>
                </a:lnTo>
                <a:lnTo>
                  <a:pt x="4890" y="7613"/>
                </a:lnTo>
                <a:lnTo>
                  <a:pt x="4884" y="7620"/>
                </a:lnTo>
                <a:lnTo>
                  <a:pt x="4871" y="7639"/>
                </a:lnTo>
                <a:lnTo>
                  <a:pt x="4860" y="7652"/>
                </a:lnTo>
                <a:lnTo>
                  <a:pt x="4846" y="7665"/>
                </a:lnTo>
                <a:lnTo>
                  <a:pt x="4822" y="7683"/>
                </a:lnTo>
                <a:lnTo>
                  <a:pt x="4809" y="7693"/>
                </a:lnTo>
                <a:lnTo>
                  <a:pt x="4796" y="7701"/>
                </a:lnTo>
                <a:lnTo>
                  <a:pt x="4783" y="7709"/>
                </a:lnTo>
                <a:lnTo>
                  <a:pt x="4773" y="7713"/>
                </a:lnTo>
                <a:lnTo>
                  <a:pt x="4764" y="7717"/>
                </a:lnTo>
                <a:lnTo>
                  <a:pt x="4758" y="7718"/>
                </a:lnTo>
                <a:lnTo>
                  <a:pt x="4754" y="7719"/>
                </a:lnTo>
                <a:lnTo>
                  <a:pt x="4751" y="7718"/>
                </a:lnTo>
                <a:lnTo>
                  <a:pt x="4747" y="7716"/>
                </a:lnTo>
                <a:lnTo>
                  <a:pt x="4740" y="7712"/>
                </a:lnTo>
                <a:lnTo>
                  <a:pt x="4737" y="7711"/>
                </a:lnTo>
                <a:lnTo>
                  <a:pt x="4735" y="7709"/>
                </a:lnTo>
                <a:lnTo>
                  <a:pt x="4733" y="7705"/>
                </a:lnTo>
                <a:lnTo>
                  <a:pt x="4730" y="7700"/>
                </a:lnTo>
                <a:lnTo>
                  <a:pt x="4726" y="7690"/>
                </a:lnTo>
                <a:lnTo>
                  <a:pt x="4723" y="7676"/>
                </a:lnTo>
                <a:lnTo>
                  <a:pt x="4720" y="7659"/>
                </a:lnTo>
                <a:lnTo>
                  <a:pt x="4717" y="7643"/>
                </a:lnTo>
                <a:lnTo>
                  <a:pt x="4716" y="7628"/>
                </a:lnTo>
                <a:lnTo>
                  <a:pt x="4715" y="7613"/>
                </a:lnTo>
                <a:lnTo>
                  <a:pt x="4714" y="7590"/>
                </a:lnTo>
                <a:lnTo>
                  <a:pt x="4714" y="7574"/>
                </a:lnTo>
                <a:lnTo>
                  <a:pt x="4713" y="7562"/>
                </a:lnTo>
                <a:lnTo>
                  <a:pt x="4710" y="7551"/>
                </a:lnTo>
                <a:lnTo>
                  <a:pt x="4702" y="7541"/>
                </a:lnTo>
                <a:lnTo>
                  <a:pt x="4691" y="7528"/>
                </a:lnTo>
                <a:lnTo>
                  <a:pt x="4686" y="7520"/>
                </a:lnTo>
                <a:lnTo>
                  <a:pt x="4681" y="7512"/>
                </a:lnTo>
                <a:lnTo>
                  <a:pt x="4677" y="7503"/>
                </a:lnTo>
                <a:lnTo>
                  <a:pt x="4676" y="7493"/>
                </a:lnTo>
                <a:lnTo>
                  <a:pt x="4675" y="7484"/>
                </a:lnTo>
                <a:lnTo>
                  <a:pt x="4673" y="7478"/>
                </a:lnTo>
                <a:lnTo>
                  <a:pt x="4670" y="7474"/>
                </a:lnTo>
                <a:lnTo>
                  <a:pt x="4664" y="7471"/>
                </a:lnTo>
                <a:lnTo>
                  <a:pt x="4653" y="7468"/>
                </a:lnTo>
                <a:lnTo>
                  <a:pt x="4640" y="7465"/>
                </a:lnTo>
                <a:lnTo>
                  <a:pt x="4636" y="7464"/>
                </a:lnTo>
                <a:lnTo>
                  <a:pt x="4634" y="7464"/>
                </a:lnTo>
                <a:lnTo>
                  <a:pt x="4633" y="7464"/>
                </a:lnTo>
                <a:lnTo>
                  <a:pt x="4631" y="7465"/>
                </a:lnTo>
                <a:lnTo>
                  <a:pt x="4630" y="7469"/>
                </a:lnTo>
                <a:lnTo>
                  <a:pt x="4630" y="7475"/>
                </a:lnTo>
                <a:lnTo>
                  <a:pt x="4630" y="7481"/>
                </a:lnTo>
                <a:lnTo>
                  <a:pt x="4629" y="7487"/>
                </a:lnTo>
                <a:lnTo>
                  <a:pt x="4628" y="7493"/>
                </a:lnTo>
                <a:lnTo>
                  <a:pt x="4626" y="7497"/>
                </a:lnTo>
                <a:lnTo>
                  <a:pt x="4622" y="7503"/>
                </a:lnTo>
                <a:lnTo>
                  <a:pt x="4619" y="7509"/>
                </a:lnTo>
                <a:lnTo>
                  <a:pt x="4618" y="7517"/>
                </a:lnTo>
                <a:lnTo>
                  <a:pt x="4617" y="7525"/>
                </a:lnTo>
                <a:lnTo>
                  <a:pt x="4617" y="7544"/>
                </a:lnTo>
                <a:lnTo>
                  <a:pt x="4617" y="7559"/>
                </a:lnTo>
                <a:lnTo>
                  <a:pt x="4616" y="7571"/>
                </a:lnTo>
                <a:lnTo>
                  <a:pt x="4614" y="7579"/>
                </a:lnTo>
                <a:lnTo>
                  <a:pt x="4611" y="7584"/>
                </a:lnTo>
                <a:lnTo>
                  <a:pt x="4609" y="7587"/>
                </a:lnTo>
                <a:lnTo>
                  <a:pt x="4607" y="7589"/>
                </a:lnTo>
                <a:lnTo>
                  <a:pt x="4604" y="7592"/>
                </a:lnTo>
                <a:lnTo>
                  <a:pt x="4601" y="7593"/>
                </a:lnTo>
                <a:lnTo>
                  <a:pt x="4596" y="7593"/>
                </a:lnTo>
                <a:lnTo>
                  <a:pt x="4593" y="7593"/>
                </a:lnTo>
                <a:lnTo>
                  <a:pt x="4589" y="7592"/>
                </a:lnTo>
                <a:lnTo>
                  <a:pt x="4580" y="7587"/>
                </a:lnTo>
                <a:lnTo>
                  <a:pt x="4573" y="7581"/>
                </a:lnTo>
                <a:lnTo>
                  <a:pt x="4568" y="7578"/>
                </a:lnTo>
                <a:lnTo>
                  <a:pt x="4565" y="7577"/>
                </a:lnTo>
                <a:lnTo>
                  <a:pt x="4562" y="7578"/>
                </a:lnTo>
                <a:lnTo>
                  <a:pt x="4558" y="7581"/>
                </a:lnTo>
                <a:lnTo>
                  <a:pt x="4555" y="7587"/>
                </a:lnTo>
                <a:lnTo>
                  <a:pt x="4553" y="7595"/>
                </a:lnTo>
                <a:lnTo>
                  <a:pt x="4554" y="7604"/>
                </a:lnTo>
                <a:lnTo>
                  <a:pt x="4556" y="7618"/>
                </a:lnTo>
                <a:lnTo>
                  <a:pt x="4557" y="7626"/>
                </a:lnTo>
                <a:lnTo>
                  <a:pt x="4557" y="7635"/>
                </a:lnTo>
                <a:lnTo>
                  <a:pt x="4557" y="7642"/>
                </a:lnTo>
                <a:lnTo>
                  <a:pt x="4556" y="7650"/>
                </a:lnTo>
                <a:lnTo>
                  <a:pt x="4554" y="7655"/>
                </a:lnTo>
                <a:lnTo>
                  <a:pt x="4551" y="7660"/>
                </a:lnTo>
                <a:lnTo>
                  <a:pt x="4548" y="7664"/>
                </a:lnTo>
                <a:lnTo>
                  <a:pt x="4543" y="7666"/>
                </a:lnTo>
                <a:lnTo>
                  <a:pt x="4537" y="7669"/>
                </a:lnTo>
                <a:lnTo>
                  <a:pt x="4534" y="7669"/>
                </a:lnTo>
                <a:lnTo>
                  <a:pt x="4531" y="7668"/>
                </a:lnTo>
                <a:lnTo>
                  <a:pt x="4526" y="7664"/>
                </a:lnTo>
                <a:lnTo>
                  <a:pt x="4520" y="7657"/>
                </a:lnTo>
                <a:lnTo>
                  <a:pt x="4513" y="7647"/>
                </a:lnTo>
                <a:lnTo>
                  <a:pt x="4508" y="7640"/>
                </a:lnTo>
                <a:lnTo>
                  <a:pt x="4503" y="7636"/>
                </a:lnTo>
                <a:lnTo>
                  <a:pt x="4498" y="7635"/>
                </a:lnTo>
                <a:lnTo>
                  <a:pt x="4487" y="7637"/>
                </a:lnTo>
                <a:lnTo>
                  <a:pt x="4482" y="7638"/>
                </a:lnTo>
                <a:lnTo>
                  <a:pt x="4476" y="7642"/>
                </a:lnTo>
                <a:lnTo>
                  <a:pt x="4472" y="7646"/>
                </a:lnTo>
                <a:lnTo>
                  <a:pt x="4469" y="7652"/>
                </a:lnTo>
                <a:lnTo>
                  <a:pt x="4461" y="7665"/>
                </a:lnTo>
                <a:lnTo>
                  <a:pt x="4451" y="7677"/>
                </a:lnTo>
                <a:lnTo>
                  <a:pt x="4446" y="7681"/>
                </a:lnTo>
                <a:lnTo>
                  <a:pt x="4442" y="7684"/>
                </a:lnTo>
                <a:lnTo>
                  <a:pt x="4436" y="7685"/>
                </a:lnTo>
                <a:lnTo>
                  <a:pt x="4432" y="7685"/>
                </a:lnTo>
                <a:lnTo>
                  <a:pt x="4427" y="7683"/>
                </a:lnTo>
                <a:lnTo>
                  <a:pt x="4422" y="7680"/>
                </a:lnTo>
                <a:lnTo>
                  <a:pt x="4417" y="7676"/>
                </a:lnTo>
                <a:lnTo>
                  <a:pt x="4411" y="7670"/>
                </a:lnTo>
                <a:lnTo>
                  <a:pt x="4408" y="7666"/>
                </a:lnTo>
                <a:lnTo>
                  <a:pt x="4405" y="7659"/>
                </a:lnTo>
                <a:lnTo>
                  <a:pt x="4402" y="7653"/>
                </a:lnTo>
                <a:lnTo>
                  <a:pt x="4401" y="7645"/>
                </a:lnTo>
                <a:close/>
              </a:path>
            </a:pathLst>
          </a:custGeom>
          <a:solidFill>
            <a:srgbClr val="0052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0" name="Рисунок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60808" y="942157"/>
            <a:ext cx="1994400" cy="1494920"/>
          </a:xfrm>
          <a:prstGeom prst="rect">
            <a:avLst/>
          </a:prstGeom>
          <a:ln>
            <a:solidFill>
              <a:schemeClr val="accent3"/>
            </a:solidFill>
          </a:ln>
        </p:spPr>
      </p:pic>
      <p:sp>
        <p:nvSpPr>
          <p:cNvPr id="22" name="Freeform 381"/>
          <p:cNvSpPr>
            <a:spLocks noEditPoints="1"/>
          </p:cNvSpPr>
          <p:nvPr userDrawn="1"/>
        </p:nvSpPr>
        <p:spPr bwMode="auto">
          <a:xfrm>
            <a:off x="247650" y="6552769"/>
            <a:ext cx="2016007" cy="206959"/>
          </a:xfrm>
          <a:custGeom>
            <a:avLst/>
            <a:gdLst>
              <a:gd name="T0" fmla="*/ 986 w 15276"/>
              <a:gd name="T1" fmla="*/ 809 h 1567"/>
              <a:gd name="T2" fmla="*/ 241 w 15276"/>
              <a:gd name="T3" fmla="*/ 786 h 1567"/>
              <a:gd name="T4" fmla="*/ 797 w 15276"/>
              <a:gd name="T5" fmla="*/ 162 h 1567"/>
              <a:gd name="T6" fmla="*/ 1500 w 15276"/>
              <a:gd name="T7" fmla="*/ 920 h 1567"/>
              <a:gd name="T8" fmla="*/ 1017 w 15276"/>
              <a:gd name="T9" fmla="*/ 90 h 1567"/>
              <a:gd name="T10" fmla="*/ 98 w 15276"/>
              <a:gd name="T11" fmla="*/ 729 h 1567"/>
              <a:gd name="T12" fmla="*/ 683 w 15276"/>
              <a:gd name="T13" fmla="*/ 1172 h 1567"/>
              <a:gd name="T14" fmla="*/ 1031 w 15276"/>
              <a:gd name="T15" fmla="*/ 616 h 1567"/>
              <a:gd name="T16" fmla="*/ 860 w 15276"/>
              <a:gd name="T17" fmla="*/ 669 h 1567"/>
              <a:gd name="T18" fmla="*/ 1294 w 15276"/>
              <a:gd name="T19" fmla="*/ 500 h 1567"/>
              <a:gd name="T20" fmla="*/ 317 w 15276"/>
              <a:gd name="T21" fmla="*/ 474 h 1567"/>
              <a:gd name="T22" fmla="*/ 433 w 15276"/>
              <a:gd name="T23" fmla="*/ 723 h 1567"/>
              <a:gd name="T24" fmla="*/ 1073 w 15276"/>
              <a:gd name="T25" fmla="*/ 1278 h 1567"/>
              <a:gd name="T26" fmla="*/ 1155 w 15276"/>
              <a:gd name="T27" fmla="*/ 699 h 1567"/>
              <a:gd name="T28" fmla="*/ 528 w 15276"/>
              <a:gd name="T29" fmla="*/ 1224 h 1567"/>
              <a:gd name="T30" fmla="*/ 996 w 15276"/>
              <a:gd name="T31" fmla="*/ 25 h 1567"/>
              <a:gd name="T32" fmla="*/ 1378 w 15276"/>
              <a:gd name="T33" fmla="*/ 1319 h 1567"/>
              <a:gd name="T34" fmla="*/ 159 w 15276"/>
              <a:gd name="T35" fmla="*/ 1252 h 1567"/>
              <a:gd name="T36" fmla="*/ 214 w 15276"/>
              <a:gd name="T37" fmla="*/ 250 h 1567"/>
              <a:gd name="T38" fmla="*/ 14982 w 15276"/>
              <a:gd name="T39" fmla="*/ 939 h 1567"/>
              <a:gd name="T40" fmla="*/ 14890 w 15276"/>
              <a:gd name="T41" fmla="*/ 751 h 1567"/>
              <a:gd name="T42" fmla="*/ 13511 w 15276"/>
              <a:gd name="T43" fmla="*/ 1012 h 1567"/>
              <a:gd name="T44" fmla="*/ 12946 w 15276"/>
              <a:gd name="T45" fmla="*/ 908 h 1567"/>
              <a:gd name="T46" fmla="*/ 13097 w 15276"/>
              <a:gd name="T47" fmla="*/ 907 h 1567"/>
              <a:gd name="T48" fmla="*/ 12620 w 15276"/>
              <a:gd name="T49" fmla="*/ 1256 h 1567"/>
              <a:gd name="T50" fmla="*/ 12076 w 15276"/>
              <a:gd name="T51" fmla="*/ 865 h 1567"/>
              <a:gd name="T52" fmla="*/ 12474 w 15276"/>
              <a:gd name="T53" fmla="*/ 959 h 1567"/>
              <a:gd name="T54" fmla="*/ 12227 w 15276"/>
              <a:gd name="T55" fmla="*/ 1263 h 1567"/>
              <a:gd name="T56" fmla="*/ 12361 w 15276"/>
              <a:gd name="T57" fmla="*/ 1107 h 1567"/>
              <a:gd name="T58" fmla="*/ 11730 w 15276"/>
              <a:gd name="T59" fmla="*/ 1171 h 1567"/>
              <a:gd name="T60" fmla="*/ 11893 w 15276"/>
              <a:gd name="T61" fmla="*/ 734 h 1567"/>
              <a:gd name="T62" fmla="*/ 11678 w 15276"/>
              <a:gd name="T63" fmla="*/ 1270 h 1567"/>
              <a:gd name="T64" fmla="*/ 11831 w 15276"/>
              <a:gd name="T65" fmla="*/ 931 h 1567"/>
              <a:gd name="T66" fmla="*/ 11280 w 15276"/>
              <a:gd name="T67" fmla="*/ 828 h 1567"/>
              <a:gd name="T68" fmla="*/ 11449 w 15276"/>
              <a:gd name="T69" fmla="*/ 648 h 1567"/>
              <a:gd name="T70" fmla="*/ 10384 w 15276"/>
              <a:gd name="T71" fmla="*/ 1014 h 1567"/>
              <a:gd name="T72" fmla="*/ 9180 w 15276"/>
              <a:gd name="T73" fmla="*/ 1169 h 1567"/>
              <a:gd name="T74" fmla="*/ 9334 w 15276"/>
              <a:gd name="T75" fmla="*/ 730 h 1567"/>
              <a:gd name="T76" fmla="*/ 9148 w 15276"/>
              <a:gd name="T77" fmla="*/ 1269 h 1567"/>
              <a:gd name="T78" fmla="*/ 9244 w 15276"/>
              <a:gd name="T79" fmla="*/ 934 h 1567"/>
              <a:gd name="T80" fmla="*/ 8695 w 15276"/>
              <a:gd name="T81" fmla="*/ 1106 h 1567"/>
              <a:gd name="T82" fmla="*/ 8840 w 15276"/>
              <a:gd name="T83" fmla="*/ 867 h 1567"/>
              <a:gd name="T84" fmla="*/ 7714 w 15276"/>
              <a:gd name="T85" fmla="*/ 1256 h 1567"/>
              <a:gd name="T86" fmla="*/ 6157 w 15276"/>
              <a:gd name="T87" fmla="*/ 879 h 1567"/>
              <a:gd name="T88" fmla="*/ 6104 w 15276"/>
              <a:gd name="T89" fmla="*/ 1151 h 1567"/>
              <a:gd name="T90" fmla="*/ 6030 w 15276"/>
              <a:gd name="T91" fmla="*/ 1265 h 1567"/>
              <a:gd name="T92" fmla="*/ 5927 w 15276"/>
              <a:gd name="T93" fmla="*/ 773 h 1567"/>
              <a:gd name="T94" fmla="*/ 5758 w 15276"/>
              <a:gd name="T95" fmla="*/ 1256 h 1567"/>
              <a:gd name="T96" fmla="*/ 4387 w 15276"/>
              <a:gd name="T97" fmla="*/ 817 h 1567"/>
              <a:gd name="T98" fmla="*/ 4566 w 15276"/>
              <a:gd name="T99" fmla="*/ 785 h 1567"/>
              <a:gd name="T100" fmla="*/ 4581 w 15276"/>
              <a:gd name="T101" fmla="*/ 1194 h 1567"/>
              <a:gd name="T102" fmla="*/ 4351 w 15276"/>
              <a:gd name="T103" fmla="*/ 1168 h 1567"/>
              <a:gd name="T104" fmla="*/ 3794 w 15276"/>
              <a:gd name="T105" fmla="*/ 1040 h 1567"/>
              <a:gd name="T106" fmla="*/ 3641 w 15276"/>
              <a:gd name="T107" fmla="*/ 813 h 1567"/>
              <a:gd name="T108" fmla="*/ 3923 w 15276"/>
              <a:gd name="T109" fmla="*/ 1226 h 1567"/>
              <a:gd name="T110" fmla="*/ 3623 w 15276"/>
              <a:gd name="T111" fmla="*/ 1031 h 1567"/>
              <a:gd name="T112" fmla="*/ 3785 w 15276"/>
              <a:gd name="T113" fmla="*/ 854 h 1567"/>
              <a:gd name="T114" fmla="*/ 3343 w 15276"/>
              <a:gd name="T115" fmla="*/ 877 h 1567"/>
              <a:gd name="T116" fmla="*/ 3314 w 15276"/>
              <a:gd name="T117" fmla="*/ 726 h 1567"/>
              <a:gd name="T118" fmla="*/ 3443 w 15276"/>
              <a:gd name="T119" fmla="*/ 1224 h 1567"/>
              <a:gd name="T120" fmla="*/ 2786 w 15276"/>
              <a:gd name="T121" fmla="*/ 1044 h 1567"/>
              <a:gd name="T122" fmla="*/ 2853 w 15276"/>
              <a:gd name="T123" fmla="*/ 743 h 1567"/>
              <a:gd name="T124" fmla="*/ 2952 w 15276"/>
              <a:gd name="T125" fmla="*/ 1062 h 15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276" h="1567">
                <a:moveTo>
                  <a:pt x="1897" y="547"/>
                </a:moveTo>
                <a:lnTo>
                  <a:pt x="2392" y="547"/>
                </a:lnTo>
                <a:lnTo>
                  <a:pt x="2392" y="670"/>
                </a:lnTo>
                <a:lnTo>
                  <a:pt x="2076" y="670"/>
                </a:lnTo>
                <a:lnTo>
                  <a:pt x="2076" y="834"/>
                </a:lnTo>
                <a:lnTo>
                  <a:pt x="2321" y="834"/>
                </a:lnTo>
                <a:lnTo>
                  <a:pt x="2321" y="957"/>
                </a:lnTo>
                <a:lnTo>
                  <a:pt x="2076" y="957"/>
                </a:lnTo>
                <a:lnTo>
                  <a:pt x="2076" y="1131"/>
                </a:lnTo>
                <a:lnTo>
                  <a:pt x="2392" y="1131"/>
                </a:lnTo>
                <a:lnTo>
                  <a:pt x="2392" y="1256"/>
                </a:lnTo>
                <a:lnTo>
                  <a:pt x="1897" y="1256"/>
                </a:lnTo>
                <a:lnTo>
                  <a:pt x="1897" y="547"/>
                </a:lnTo>
                <a:close/>
                <a:moveTo>
                  <a:pt x="139" y="427"/>
                </a:moveTo>
                <a:lnTo>
                  <a:pt x="146" y="432"/>
                </a:lnTo>
                <a:lnTo>
                  <a:pt x="150" y="430"/>
                </a:lnTo>
                <a:lnTo>
                  <a:pt x="139" y="427"/>
                </a:lnTo>
                <a:close/>
                <a:moveTo>
                  <a:pt x="937" y="603"/>
                </a:moveTo>
                <a:lnTo>
                  <a:pt x="926" y="603"/>
                </a:lnTo>
                <a:lnTo>
                  <a:pt x="911" y="603"/>
                </a:lnTo>
                <a:lnTo>
                  <a:pt x="897" y="605"/>
                </a:lnTo>
                <a:lnTo>
                  <a:pt x="883" y="606"/>
                </a:lnTo>
                <a:lnTo>
                  <a:pt x="860" y="610"/>
                </a:lnTo>
                <a:lnTo>
                  <a:pt x="879" y="618"/>
                </a:lnTo>
                <a:lnTo>
                  <a:pt x="892" y="624"/>
                </a:lnTo>
                <a:lnTo>
                  <a:pt x="896" y="625"/>
                </a:lnTo>
                <a:lnTo>
                  <a:pt x="905" y="632"/>
                </a:lnTo>
                <a:lnTo>
                  <a:pt x="916" y="640"/>
                </a:lnTo>
                <a:lnTo>
                  <a:pt x="925" y="647"/>
                </a:lnTo>
                <a:lnTo>
                  <a:pt x="934" y="655"/>
                </a:lnTo>
                <a:lnTo>
                  <a:pt x="942" y="665"/>
                </a:lnTo>
                <a:lnTo>
                  <a:pt x="949" y="674"/>
                </a:lnTo>
                <a:lnTo>
                  <a:pt x="957" y="683"/>
                </a:lnTo>
                <a:lnTo>
                  <a:pt x="963" y="694"/>
                </a:lnTo>
                <a:lnTo>
                  <a:pt x="969" y="704"/>
                </a:lnTo>
                <a:lnTo>
                  <a:pt x="974" y="715"/>
                </a:lnTo>
                <a:lnTo>
                  <a:pt x="978" y="725"/>
                </a:lnTo>
                <a:lnTo>
                  <a:pt x="982" y="736"/>
                </a:lnTo>
                <a:lnTo>
                  <a:pt x="984" y="748"/>
                </a:lnTo>
                <a:lnTo>
                  <a:pt x="986" y="759"/>
                </a:lnTo>
                <a:lnTo>
                  <a:pt x="987" y="772"/>
                </a:lnTo>
                <a:lnTo>
                  <a:pt x="988" y="784"/>
                </a:lnTo>
                <a:lnTo>
                  <a:pt x="987" y="797"/>
                </a:lnTo>
                <a:lnTo>
                  <a:pt x="986" y="809"/>
                </a:lnTo>
                <a:lnTo>
                  <a:pt x="984" y="821"/>
                </a:lnTo>
                <a:lnTo>
                  <a:pt x="982" y="832"/>
                </a:lnTo>
                <a:lnTo>
                  <a:pt x="979" y="842"/>
                </a:lnTo>
                <a:lnTo>
                  <a:pt x="975" y="854"/>
                </a:lnTo>
                <a:lnTo>
                  <a:pt x="969" y="865"/>
                </a:lnTo>
                <a:lnTo>
                  <a:pt x="962" y="877"/>
                </a:lnTo>
                <a:lnTo>
                  <a:pt x="954" y="890"/>
                </a:lnTo>
                <a:lnTo>
                  <a:pt x="944" y="904"/>
                </a:lnTo>
                <a:lnTo>
                  <a:pt x="936" y="915"/>
                </a:lnTo>
                <a:lnTo>
                  <a:pt x="931" y="920"/>
                </a:lnTo>
                <a:lnTo>
                  <a:pt x="918" y="934"/>
                </a:lnTo>
                <a:lnTo>
                  <a:pt x="904" y="946"/>
                </a:lnTo>
                <a:lnTo>
                  <a:pt x="889" y="959"/>
                </a:lnTo>
                <a:lnTo>
                  <a:pt x="872" y="971"/>
                </a:lnTo>
                <a:lnTo>
                  <a:pt x="854" y="983"/>
                </a:lnTo>
                <a:lnTo>
                  <a:pt x="834" y="993"/>
                </a:lnTo>
                <a:lnTo>
                  <a:pt x="814" y="1004"/>
                </a:lnTo>
                <a:lnTo>
                  <a:pt x="793" y="1013"/>
                </a:lnTo>
                <a:lnTo>
                  <a:pt x="773" y="1021"/>
                </a:lnTo>
                <a:lnTo>
                  <a:pt x="753" y="1029"/>
                </a:lnTo>
                <a:lnTo>
                  <a:pt x="732" y="1035"/>
                </a:lnTo>
                <a:lnTo>
                  <a:pt x="711" y="1040"/>
                </a:lnTo>
                <a:lnTo>
                  <a:pt x="689" y="1044"/>
                </a:lnTo>
                <a:lnTo>
                  <a:pt x="668" y="1047"/>
                </a:lnTo>
                <a:lnTo>
                  <a:pt x="647" y="1049"/>
                </a:lnTo>
                <a:lnTo>
                  <a:pt x="626" y="1049"/>
                </a:lnTo>
                <a:lnTo>
                  <a:pt x="569" y="1045"/>
                </a:lnTo>
                <a:lnTo>
                  <a:pt x="488" y="1027"/>
                </a:lnTo>
                <a:lnTo>
                  <a:pt x="463" y="1017"/>
                </a:lnTo>
                <a:lnTo>
                  <a:pt x="439" y="1006"/>
                </a:lnTo>
                <a:lnTo>
                  <a:pt x="416" y="993"/>
                </a:lnTo>
                <a:lnTo>
                  <a:pt x="394" y="980"/>
                </a:lnTo>
                <a:lnTo>
                  <a:pt x="373" y="964"/>
                </a:lnTo>
                <a:lnTo>
                  <a:pt x="352" y="947"/>
                </a:lnTo>
                <a:lnTo>
                  <a:pt x="333" y="929"/>
                </a:lnTo>
                <a:lnTo>
                  <a:pt x="314" y="910"/>
                </a:lnTo>
                <a:lnTo>
                  <a:pt x="303" y="895"/>
                </a:lnTo>
                <a:lnTo>
                  <a:pt x="292" y="881"/>
                </a:lnTo>
                <a:lnTo>
                  <a:pt x="282" y="866"/>
                </a:lnTo>
                <a:lnTo>
                  <a:pt x="272" y="851"/>
                </a:lnTo>
                <a:lnTo>
                  <a:pt x="263" y="835"/>
                </a:lnTo>
                <a:lnTo>
                  <a:pt x="254" y="820"/>
                </a:lnTo>
                <a:lnTo>
                  <a:pt x="247" y="803"/>
                </a:lnTo>
                <a:lnTo>
                  <a:pt x="241" y="786"/>
                </a:lnTo>
                <a:lnTo>
                  <a:pt x="234" y="770"/>
                </a:lnTo>
                <a:lnTo>
                  <a:pt x="229" y="752"/>
                </a:lnTo>
                <a:lnTo>
                  <a:pt x="225" y="734"/>
                </a:lnTo>
                <a:lnTo>
                  <a:pt x="221" y="717"/>
                </a:lnTo>
                <a:lnTo>
                  <a:pt x="218" y="699"/>
                </a:lnTo>
                <a:lnTo>
                  <a:pt x="215" y="681"/>
                </a:lnTo>
                <a:lnTo>
                  <a:pt x="214" y="664"/>
                </a:lnTo>
                <a:lnTo>
                  <a:pt x="214" y="645"/>
                </a:lnTo>
                <a:lnTo>
                  <a:pt x="214" y="630"/>
                </a:lnTo>
                <a:lnTo>
                  <a:pt x="215" y="615"/>
                </a:lnTo>
                <a:lnTo>
                  <a:pt x="217" y="600"/>
                </a:lnTo>
                <a:lnTo>
                  <a:pt x="219" y="586"/>
                </a:lnTo>
                <a:lnTo>
                  <a:pt x="221" y="571"/>
                </a:lnTo>
                <a:lnTo>
                  <a:pt x="224" y="556"/>
                </a:lnTo>
                <a:lnTo>
                  <a:pt x="227" y="542"/>
                </a:lnTo>
                <a:lnTo>
                  <a:pt x="231" y="528"/>
                </a:lnTo>
                <a:lnTo>
                  <a:pt x="236" y="514"/>
                </a:lnTo>
                <a:lnTo>
                  <a:pt x="241" y="500"/>
                </a:lnTo>
                <a:lnTo>
                  <a:pt x="247" y="487"/>
                </a:lnTo>
                <a:lnTo>
                  <a:pt x="253" y="473"/>
                </a:lnTo>
                <a:lnTo>
                  <a:pt x="260" y="460"/>
                </a:lnTo>
                <a:lnTo>
                  <a:pt x="267" y="447"/>
                </a:lnTo>
                <a:lnTo>
                  <a:pt x="274" y="434"/>
                </a:lnTo>
                <a:lnTo>
                  <a:pt x="283" y="421"/>
                </a:lnTo>
                <a:lnTo>
                  <a:pt x="293" y="407"/>
                </a:lnTo>
                <a:lnTo>
                  <a:pt x="309" y="388"/>
                </a:lnTo>
                <a:lnTo>
                  <a:pt x="325" y="370"/>
                </a:lnTo>
                <a:lnTo>
                  <a:pt x="337" y="356"/>
                </a:lnTo>
                <a:lnTo>
                  <a:pt x="360" y="334"/>
                </a:lnTo>
                <a:lnTo>
                  <a:pt x="385" y="312"/>
                </a:lnTo>
                <a:lnTo>
                  <a:pt x="410" y="292"/>
                </a:lnTo>
                <a:lnTo>
                  <a:pt x="435" y="272"/>
                </a:lnTo>
                <a:lnTo>
                  <a:pt x="462" y="256"/>
                </a:lnTo>
                <a:lnTo>
                  <a:pt x="490" y="239"/>
                </a:lnTo>
                <a:lnTo>
                  <a:pt x="518" y="226"/>
                </a:lnTo>
                <a:lnTo>
                  <a:pt x="546" y="212"/>
                </a:lnTo>
                <a:lnTo>
                  <a:pt x="576" y="201"/>
                </a:lnTo>
                <a:lnTo>
                  <a:pt x="606" y="190"/>
                </a:lnTo>
                <a:lnTo>
                  <a:pt x="637" y="182"/>
                </a:lnTo>
                <a:lnTo>
                  <a:pt x="668" y="175"/>
                </a:lnTo>
                <a:lnTo>
                  <a:pt x="700" y="169"/>
                </a:lnTo>
                <a:lnTo>
                  <a:pt x="731" y="165"/>
                </a:lnTo>
                <a:lnTo>
                  <a:pt x="764" y="163"/>
                </a:lnTo>
                <a:lnTo>
                  <a:pt x="797" y="162"/>
                </a:lnTo>
                <a:lnTo>
                  <a:pt x="827" y="162"/>
                </a:lnTo>
                <a:lnTo>
                  <a:pt x="856" y="164"/>
                </a:lnTo>
                <a:lnTo>
                  <a:pt x="884" y="167"/>
                </a:lnTo>
                <a:lnTo>
                  <a:pt x="914" y="173"/>
                </a:lnTo>
                <a:lnTo>
                  <a:pt x="941" y="178"/>
                </a:lnTo>
                <a:lnTo>
                  <a:pt x="969" y="185"/>
                </a:lnTo>
                <a:lnTo>
                  <a:pt x="998" y="193"/>
                </a:lnTo>
                <a:lnTo>
                  <a:pt x="1025" y="204"/>
                </a:lnTo>
                <a:lnTo>
                  <a:pt x="1057" y="216"/>
                </a:lnTo>
                <a:lnTo>
                  <a:pt x="1087" y="231"/>
                </a:lnTo>
                <a:lnTo>
                  <a:pt x="1116" y="247"/>
                </a:lnTo>
                <a:lnTo>
                  <a:pt x="1146" y="264"/>
                </a:lnTo>
                <a:lnTo>
                  <a:pt x="1173" y="284"/>
                </a:lnTo>
                <a:lnTo>
                  <a:pt x="1199" y="304"/>
                </a:lnTo>
                <a:lnTo>
                  <a:pt x="1225" y="325"/>
                </a:lnTo>
                <a:lnTo>
                  <a:pt x="1249" y="348"/>
                </a:lnTo>
                <a:lnTo>
                  <a:pt x="1272" y="372"/>
                </a:lnTo>
                <a:lnTo>
                  <a:pt x="1293" y="398"/>
                </a:lnTo>
                <a:lnTo>
                  <a:pt x="1313" y="424"/>
                </a:lnTo>
                <a:lnTo>
                  <a:pt x="1332" y="452"/>
                </a:lnTo>
                <a:lnTo>
                  <a:pt x="1348" y="482"/>
                </a:lnTo>
                <a:lnTo>
                  <a:pt x="1364" y="511"/>
                </a:lnTo>
                <a:lnTo>
                  <a:pt x="1379" y="541"/>
                </a:lnTo>
                <a:lnTo>
                  <a:pt x="1391" y="573"/>
                </a:lnTo>
                <a:lnTo>
                  <a:pt x="1391" y="573"/>
                </a:lnTo>
                <a:lnTo>
                  <a:pt x="1398" y="595"/>
                </a:lnTo>
                <a:lnTo>
                  <a:pt x="1403" y="614"/>
                </a:lnTo>
                <a:lnTo>
                  <a:pt x="1407" y="630"/>
                </a:lnTo>
                <a:lnTo>
                  <a:pt x="1411" y="647"/>
                </a:lnTo>
                <a:lnTo>
                  <a:pt x="1417" y="662"/>
                </a:lnTo>
                <a:lnTo>
                  <a:pt x="1426" y="679"/>
                </a:lnTo>
                <a:lnTo>
                  <a:pt x="1436" y="697"/>
                </a:lnTo>
                <a:lnTo>
                  <a:pt x="1444" y="713"/>
                </a:lnTo>
                <a:lnTo>
                  <a:pt x="1452" y="731"/>
                </a:lnTo>
                <a:lnTo>
                  <a:pt x="1460" y="750"/>
                </a:lnTo>
                <a:lnTo>
                  <a:pt x="1467" y="768"/>
                </a:lnTo>
                <a:lnTo>
                  <a:pt x="1473" y="786"/>
                </a:lnTo>
                <a:lnTo>
                  <a:pt x="1480" y="805"/>
                </a:lnTo>
                <a:lnTo>
                  <a:pt x="1485" y="824"/>
                </a:lnTo>
                <a:lnTo>
                  <a:pt x="1489" y="842"/>
                </a:lnTo>
                <a:lnTo>
                  <a:pt x="1492" y="862"/>
                </a:lnTo>
                <a:lnTo>
                  <a:pt x="1495" y="881"/>
                </a:lnTo>
                <a:lnTo>
                  <a:pt x="1499" y="901"/>
                </a:lnTo>
                <a:lnTo>
                  <a:pt x="1500" y="920"/>
                </a:lnTo>
                <a:lnTo>
                  <a:pt x="1501" y="941"/>
                </a:lnTo>
                <a:lnTo>
                  <a:pt x="1502" y="961"/>
                </a:lnTo>
                <a:lnTo>
                  <a:pt x="1502" y="970"/>
                </a:lnTo>
                <a:lnTo>
                  <a:pt x="1501" y="980"/>
                </a:lnTo>
                <a:lnTo>
                  <a:pt x="1501" y="989"/>
                </a:lnTo>
                <a:lnTo>
                  <a:pt x="1500" y="998"/>
                </a:lnTo>
                <a:lnTo>
                  <a:pt x="1504" y="984"/>
                </a:lnTo>
                <a:lnTo>
                  <a:pt x="1508" y="972"/>
                </a:lnTo>
                <a:lnTo>
                  <a:pt x="1510" y="964"/>
                </a:lnTo>
                <a:lnTo>
                  <a:pt x="1511" y="959"/>
                </a:lnTo>
                <a:lnTo>
                  <a:pt x="1516" y="938"/>
                </a:lnTo>
                <a:lnTo>
                  <a:pt x="1521" y="916"/>
                </a:lnTo>
                <a:lnTo>
                  <a:pt x="1525" y="894"/>
                </a:lnTo>
                <a:lnTo>
                  <a:pt x="1529" y="873"/>
                </a:lnTo>
                <a:lnTo>
                  <a:pt x="1531" y="851"/>
                </a:lnTo>
                <a:lnTo>
                  <a:pt x="1533" y="828"/>
                </a:lnTo>
                <a:lnTo>
                  <a:pt x="1535" y="806"/>
                </a:lnTo>
                <a:lnTo>
                  <a:pt x="1535" y="784"/>
                </a:lnTo>
                <a:lnTo>
                  <a:pt x="1534" y="747"/>
                </a:lnTo>
                <a:lnTo>
                  <a:pt x="1531" y="709"/>
                </a:lnTo>
                <a:lnTo>
                  <a:pt x="1527" y="673"/>
                </a:lnTo>
                <a:lnTo>
                  <a:pt x="1521" y="638"/>
                </a:lnTo>
                <a:lnTo>
                  <a:pt x="1512" y="602"/>
                </a:lnTo>
                <a:lnTo>
                  <a:pt x="1502" y="568"/>
                </a:lnTo>
                <a:lnTo>
                  <a:pt x="1490" y="535"/>
                </a:lnTo>
                <a:lnTo>
                  <a:pt x="1478" y="501"/>
                </a:lnTo>
                <a:lnTo>
                  <a:pt x="1463" y="469"/>
                </a:lnTo>
                <a:lnTo>
                  <a:pt x="1446" y="438"/>
                </a:lnTo>
                <a:lnTo>
                  <a:pt x="1428" y="408"/>
                </a:lnTo>
                <a:lnTo>
                  <a:pt x="1409" y="379"/>
                </a:lnTo>
                <a:lnTo>
                  <a:pt x="1388" y="349"/>
                </a:lnTo>
                <a:lnTo>
                  <a:pt x="1366" y="322"/>
                </a:lnTo>
                <a:lnTo>
                  <a:pt x="1343" y="295"/>
                </a:lnTo>
                <a:lnTo>
                  <a:pt x="1319" y="270"/>
                </a:lnTo>
                <a:lnTo>
                  <a:pt x="1293" y="246"/>
                </a:lnTo>
                <a:lnTo>
                  <a:pt x="1267" y="224"/>
                </a:lnTo>
                <a:lnTo>
                  <a:pt x="1238" y="202"/>
                </a:lnTo>
                <a:lnTo>
                  <a:pt x="1210" y="182"/>
                </a:lnTo>
                <a:lnTo>
                  <a:pt x="1179" y="163"/>
                </a:lnTo>
                <a:lnTo>
                  <a:pt x="1149" y="146"/>
                </a:lnTo>
                <a:lnTo>
                  <a:pt x="1116" y="129"/>
                </a:lnTo>
                <a:lnTo>
                  <a:pt x="1084" y="114"/>
                </a:lnTo>
                <a:lnTo>
                  <a:pt x="1050" y="102"/>
                </a:lnTo>
                <a:lnTo>
                  <a:pt x="1017" y="90"/>
                </a:lnTo>
                <a:lnTo>
                  <a:pt x="981" y="81"/>
                </a:lnTo>
                <a:lnTo>
                  <a:pt x="945" y="73"/>
                </a:lnTo>
                <a:lnTo>
                  <a:pt x="910" y="67"/>
                </a:lnTo>
                <a:lnTo>
                  <a:pt x="872" y="61"/>
                </a:lnTo>
                <a:lnTo>
                  <a:pt x="835" y="58"/>
                </a:lnTo>
                <a:lnTo>
                  <a:pt x="797" y="57"/>
                </a:lnTo>
                <a:lnTo>
                  <a:pt x="760" y="58"/>
                </a:lnTo>
                <a:lnTo>
                  <a:pt x="725" y="61"/>
                </a:lnTo>
                <a:lnTo>
                  <a:pt x="689" y="65"/>
                </a:lnTo>
                <a:lnTo>
                  <a:pt x="654" y="71"/>
                </a:lnTo>
                <a:lnTo>
                  <a:pt x="620" y="79"/>
                </a:lnTo>
                <a:lnTo>
                  <a:pt x="586" y="87"/>
                </a:lnTo>
                <a:lnTo>
                  <a:pt x="553" y="99"/>
                </a:lnTo>
                <a:lnTo>
                  <a:pt x="519" y="110"/>
                </a:lnTo>
                <a:lnTo>
                  <a:pt x="486" y="124"/>
                </a:lnTo>
                <a:lnTo>
                  <a:pt x="455" y="139"/>
                </a:lnTo>
                <a:lnTo>
                  <a:pt x="424" y="156"/>
                </a:lnTo>
                <a:lnTo>
                  <a:pt x="394" y="175"/>
                </a:lnTo>
                <a:lnTo>
                  <a:pt x="365" y="194"/>
                </a:lnTo>
                <a:lnTo>
                  <a:pt x="336" y="215"/>
                </a:lnTo>
                <a:lnTo>
                  <a:pt x="309" y="238"/>
                </a:lnTo>
                <a:lnTo>
                  <a:pt x="283" y="262"/>
                </a:lnTo>
                <a:lnTo>
                  <a:pt x="267" y="278"/>
                </a:lnTo>
                <a:lnTo>
                  <a:pt x="262" y="278"/>
                </a:lnTo>
                <a:lnTo>
                  <a:pt x="225" y="323"/>
                </a:lnTo>
                <a:lnTo>
                  <a:pt x="215" y="335"/>
                </a:lnTo>
                <a:lnTo>
                  <a:pt x="176" y="391"/>
                </a:lnTo>
                <a:lnTo>
                  <a:pt x="168" y="402"/>
                </a:lnTo>
                <a:lnTo>
                  <a:pt x="135" y="460"/>
                </a:lnTo>
                <a:lnTo>
                  <a:pt x="135" y="461"/>
                </a:lnTo>
                <a:lnTo>
                  <a:pt x="131" y="469"/>
                </a:lnTo>
                <a:lnTo>
                  <a:pt x="127" y="477"/>
                </a:lnTo>
                <a:lnTo>
                  <a:pt x="119" y="499"/>
                </a:lnTo>
                <a:lnTo>
                  <a:pt x="113" y="521"/>
                </a:lnTo>
                <a:lnTo>
                  <a:pt x="106" y="543"/>
                </a:lnTo>
                <a:lnTo>
                  <a:pt x="102" y="566"/>
                </a:lnTo>
                <a:lnTo>
                  <a:pt x="98" y="589"/>
                </a:lnTo>
                <a:lnTo>
                  <a:pt x="96" y="612"/>
                </a:lnTo>
                <a:lnTo>
                  <a:pt x="94" y="635"/>
                </a:lnTo>
                <a:lnTo>
                  <a:pt x="94" y="659"/>
                </a:lnTo>
                <a:lnTo>
                  <a:pt x="94" y="677"/>
                </a:lnTo>
                <a:lnTo>
                  <a:pt x="95" y="695"/>
                </a:lnTo>
                <a:lnTo>
                  <a:pt x="96" y="712"/>
                </a:lnTo>
                <a:lnTo>
                  <a:pt x="98" y="729"/>
                </a:lnTo>
                <a:lnTo>
                  <a:pt x="101" y="747"/>
                </a:lnTo>
                <a:lnTo>
                  <a:pt x="104" y="763"/>
                </a:lnTo>
                <a:lnTo>
                  <a:pt x="108" y="781"/>
                </a:lnTo>
                <a:lnTo>
                  <a:pt x="113" y="798"/>
                </a:lnTo>
                <a:lnTo>
                  <a:pt x="118" y="814"/>
                </a:lnTo>
                <a:lnTo>
                  <a:pt x="123" y="830"/>
                </a:lnTo>
                <a:lnTo>
                  <a:pt x="129" y="847"/>
                </a:lnTo>
                <a:lnTo>
                  <a:pt x="136" y="862"/>
                </a:lnTo>
                <a:lnTo>
                  <a:pt x="143" y="878"/>
                </a:lnTo>
                <a:lnTo>
                  <a:pt x="150" y="893"/>
                </a:lnTo>
                <a:lnTo>
                  <a:pt x="159" y="908"/>
                </a:lnTo>
                <a:lnTo>
                  <a:pt x="167" y="924"/>
                </a:lnTo>
                <a:lnTo>
                  <a:pt x="177" y="938"/>
                </a:lnTo>
                <a:lnTo>
                  <a:pt x="186" y="952"/>
                </a:lnTo>
                <a:lnTo>
                  <a:pt x="197" y="966"/>
                </a:lnTo>
                <a:lnTo>
                  <a:pt x="207" y="980"/>
                </a:lnTo>
                <a:lnTo>
                  <a:pt x="218" y="993"/>
                </a:lnTo>
                <a:lnTo>
                  <a:pt x="229" y="1006"/>
                </a:lnTo>
                <a:lnTo>
                  <a:pt x="242" y="1018"/>
                </a:lnTo>
                <a:lnTo>
                  <a:pt x="254" y="1031"/>
                </a:lnTo>
                <a:lnTo>
                  <a:pt x="267" y="1042"/>
                </a:lnTo>
                <a:lnTo>
                  <a:pt x="281" y="1054"/>
                </a:lnTo>
                <a:lnTo>
                  <a:pt x="294" y="1065"/>
                </a:lnTo>
                <a:lnTo>
                  <a:pt x="308" y="1075"/>
                </a:lnTo>
                <a:lnTo>
                  <a:pt x="323" y="1086"/>
                </a:lnTo>
                <a:lnTo>
                  <a:pt x="337" y="1095"/>
                </a:lnTo>
                <a:lnTo>
                  <a:pt x="353" y="1105"/>
                </a:lnTo>
                <a:lnTo>
                  <a:pt x="369" y="1113"/>
                </a:lnTo>
                <a:lnTo>
                  <a:pt x="369" y="1114"/>
                </a:lnTo>
                <a:lnTo>
                  <a:pt x="385" y="1122"/>
                </a:lnTo>
                <a:lnTo>
                  <a:pt x="401" y="1130"/>
                </a:lnTo>
                <a:lnTo>
                  <a:pt x="418" y="1137"/>
                </a:lnTo>
                <a:lnTo>
                  <a:pt x="436" y="1143"/>
                </a:lnTo>
                <a:lnTo>
                  <a:pt x="454" y="1148"/>
                </a:lnTo>
                <a:lnTo>
                  <a:pt x="472" y="1153"/>
                </a:lnTo>
                <a:lnTo>
                  <a:pt x="490" y="1158"/>
                </a:lnTo>
                <a:lnTo>
                  <a:pt x="507" y="1161"/>
                </a:lnTo>
                <a:lnTo>
                  <a:pt x="542" y="1167"/>
                </a:lnTo>
                <a:lnTo>
                  <a:pt x="575" y="1170"/>
                </a:lnTo>
                <a:lnTo>
                  <a:pt x="605" y="1172"/>
                </a:lnTo>
                <a:lnTo>
                  <a:pt x="631" y="1173"/>
                </a:lnTo>
                <a:lnTo>
                  <a:pt x="654" y="1173"/>
                </a:lnTo>
                <a:lnTo>
                  <a:pt x="671" y="1172"/>
                </a:lnTo>
                <a:lnTo>
                  <a:pt x="683" y="1172"/>
                </a:lnTo>
                <a:lnTo>
                  <a:pt x="687" y="1172"/>
                </a:lnTo>
                <a:lnTo>
                  <a:pt x="712" y="1168"/>
                </a:lnTo>
                <a:lnTo>
                  <a:pt x="736" y="1164"/>
                </a:lnTo>
                <a:lnTo>
                  <a:pt x="760" y="1159"/>
                </a:lnTo>
                <a:lnTo>
                  <a:pt x="784" y="1151"/>
                </a:lnTo>
                <a:lnTo>
                  <a:pt x="806" y="1145"/>
                </a:lnTo>
                <a:lnTo>
                  <a:pt x="828" y="1137"/>
                </a:lnTo>
                <a:lnTo>
                  <a:pt x="849" y="1128"/>
                </a:lnTo>
                <a:lnTo>
                  <a:pt x="870" y="1119"/>
                </a:lnTo>
                <a:lnTo>
                  <a:pt x="891" y="1108"/>
                </a:lnTo>
                <a:lnTo>
                  <a:pt x="911" y="1096"/>
                </a:lnTo>
                <a:lnTo>
                  <a:pt x="931" y="1084"/>
                </a:lnTo>
                <a:lnTo>
                  <a:pt x="948" y="1071"/>
                </a:lnTo>
                <a:lnTo>
                  <a:pt x="965" y="1059"/>
                </a:lnTo>
                <a:lnTo>
                  <a:pt x="981" y="1045"/>
                </a:lnTo>
                <a:lnTo>
                  <a:pt x="996" y="1032"/>
                </a:lnTo>
                <a:lnTo>
                  <a:pt x="1009" y="1017"/>
                </a:lnTo>
                <a:lnTo>
                  <a:pt x="1023" y="1002"/>
                </a:lnTo>
                <a:lnTo>
                  <a:pt x="1034" y="988"/>
                </a:lnTo>
                <a:lnTo>
                  <a:pt x="1044" y="976"/>
                </a:lnTo>
                <a:lnTo>
                  <a:pt x="1051" y="965"/>
                </a:lnTo>
                <a:lnTo>
                  <a:pt x="1062" y="946"/>
                </a:lnTo>
                <a:lnTo>
                  <a:pt x="1071" y="928"/>
                </a:lnTo>
                <a:lnTo>
                  <a:pt x="1075" y="920"/>
                </a:lnTo>
                <a:lnTo>
                  <a:pt x="1082" y="906"/>
                </a:lnTo>
                <a:lnTo>
                  <a:pt x="1087" y="890"/>
                </a:lnTo>
                <a:lnTo>
                  <a:pt x="1093" y="872"/>
                </a:lnTo>
                <a:lnTo>
                  <a:pt x="1099" y="852"/>
                </a:lnTo>
                <a:lnTo>
                  <a:pt x="1102" y="835"/>
                </a:lnTo>
                <a:lnTo>
                  <a:pt x="1105" y="817"/>
                </a:lnTo>
                <a:lnTo>
                  <a:pt x="1107" y="801"/>
                </a:lnTo>
                <a:lnTo>
                  <a:pt x="1108" y="783"/>
                </a:lnTo>
                <a:lnTo>
                  <a:pt x="1107" y="765"/>
                </a:lnTo>
                <a:lnTo>
                  <a:pt x="1105" y="746"/>
                </a:lnTo>
                <a:lnTo>
                  <a:pt x="1102" y="725"/>
                </a:lnTo>
                <a:lnTo>
                  <a:pt x="1096" y="703"/>
                </a:lnTo>
                <a:lnTo>
                  <a:pt x="1091" y="682"/>
                </a:lnTo>
                <a:lnTo>
                  <a:pt x="1085" y="662"/>
                </a:lnTo>
                <a:lnTo>
                  <a:pt x="1078" y="645"/>
                </a:lnTo>
                <a:lnTo>
                  <a:pt x="1071" y="629"/>
                </a:lnTo>
                <a:lnTo>
                  <a:pt x="1062" y="625"/>
                </a:lnTo>
                <a:lnTo>
                  <a:pt x="1051" y="622"/>
                </a:lnTo>
                <a:lnTo>
                  <a:pt x="1042" y="619"/>
                </a:lnTo>
                <a:lnTo>
                  <a:pt x="1031" y="616"/>
                </a:lnTo>
                <a:lnTo>
                  <a:pt x="1021" y="613"/>
                </a:lnTo>
                <a:lnTo>
                  <a:pt x="1009" y="610"/>
                </a:lnTo>
                <a:lnTo>
                  <a:pt x="998" y="608"/>
                </a:lnTo>
                <a:lnTo>
                  <a:pt x="987" y="606"/>
                </a:lnTo>
                <a:lnTo>
                  <a:pt x="975" y="604"/>
                </a:lnTo>
                <a:lnTo>
                  <a:pt x="962" y="603"/>
                </a:lnTo>
                <a:lnTo>
                  <a:pt x="949" y="603"/>
                </a:lnTo>
                <a:lnTo>
                  <a:pt x="937" y="603"/>
                </a:lnTo>
                <a:close/>
                <a:moveTo>
                  <a:pt x="703" y="876"/>
                </a:moveTo>
                <a:lnTo>
                  <a:pt x="712" y="885"/>
                </a:lnTo>
                <a:lnTo>
                  <a:pt x="723" y="892"/>
                </a:lnTo>
                <a:lnTo>
                  <a:pt x="733" y="899"/>
                </a:lnTo>
                <a:lnTo>
                  <a:pt x="745" y="904"/>
                </a:lnTo>
                <a:lnTo>
                  <a:pt x="757" y="909"/>
                </a:lnTo>
                <a:lnTo>
                  <a:pt x="770" y="912"/>
                </a:lnTo>
                <a:lnTo>
                  <a:pt x="784" y="914"/>
                </a:lnTo>
                <a:lnTo>
                  <a:pt x="797" y="914"/>
                </a:lnTo>
                <a:lnTo>
                  <a:pt x="810" y="914"/>
                </a:lnTo>
                <a:lnTo>
                  <a:pt x="821" y="912"/>
                </a:lnTo>
                <a:lnTo>
                  <a:pt x="833" y="909"/>
                </a:lnTo>
                <a:lnTo>
                  <a:pt x="844" y="906"/>
                </a:lnTo>
                <a:lnTo>
                  <a:pt x="856" y="901"/>
                </a:lnTo>
                <a:lnTo>
                  <a:pt x="866" y="894"/>
                </a:lnTo>
                <a:lnTo>
                  <a:pt x="877" y="888"/>
                </a:lnTo>
                <a:lnTo>
                  <a:pt x="886" y="881"/>
                </a:lnTo>
                <a:lnTo>
                  <a:pt x="893" y="875"/>
                </a:lnTo>
                <a:lnTo>
                  <a:pt x="899" y="867"/>
                </a:lnTo>
                <a:lnTo>
                  <a:pt x="910" y="853"/>
                </a:lnTo>
                <a:lnTo>
                  <a:pt x="917" y="840"/>
                </a:lnTo>
                <a:lnTo>
                  <a:pt x="922" y="827"/>
                </a:lnTo>
                <a:lnTo>
                  <a:pt x="927" y="810"/>
                </a:lnTo>
                <a:lnTo>
                  <a:pt x="928" y="797"/>
                </a:lnTo>
                <a:lnTo>
                  <a:pt x="929" y="784"/>
                </a:lnTo>
                <a:lnTo>
                  <a:pt x="929" y="771"/>
                </a:lnTo>
                <a:lnTo>
                  <a:pt x="927" y="757"/>
                </a:lnTo>
                <a:lnTo>
                  <a:pt x="923" y="745"/>
                </a:lnTo>
                <a:lnTo>
                  <a:pt x="919" y="733"/>
                </a:lnTo>
                <a:lnTo>
                  <a:pt x="914" y="721"/>
                </a:lnTo>
                <a:lnTo>
                  <a:pt x="907" y="710"/>
                </a:lnTo>
                <a:lnTo>
                  <a:pt x="899" y="700"/>
                </a:lnTo>
                <a:lnTo>
                  <a:pt x="891" y="691"/>
                </a:lnTo>
                <a:lnTo>
                  <a:pt x="881" y="682"/>
                </a:lnTo>
                <a:lnTo>
                  <a:pt x="871" y="675"/>
                </a:lnTo>
                <a:lnTo>
                  <a:pt x="860" y="669"/>
                </a:lnTo>
                <a:lnTo>
                  <a:pt x="849" y="664"/>
                </a:lnTo>
                <a:lnTo>
                  <a:pt x="836" y="658"/>
                </a:lnTo>
                <a:lnTo>
                  <a:pt x="823" y="655"/>
                </a:lnTo>
                <a:lnTo>
                  <a:pt x="811" y="653"/>
                </a:lnTo>
                <a:lnTo>
                  <a:pt x="797" y="653"/>
                </a:lnTo>
                <a:lnTo>
                  <a:pt x="785" y="653"/>
                </a:lnTo>
                <a:lnTo>
                  <a:pt x="773" y="655"/>
                </a:lnTo>
                <a:lnTo>
                  <a:pt x="763" y="657"/>
                </a:lnTo>
                <a:lnTo>
                  <a:pt x="752" y="660"/>
                </a:lnTo>
                <a:lnTo>
                  <a:pt x="740" y="665"/>
                </a:lnTo>
                <a:lnTo>
                  <a:pt x="731" y="670"/>
                </a:lnTo>
                <a:lnTo>
                  <a:pt x="721" y="676"/>
                </a:lnTo>
                <a:lnTo>
                  <a:pt x="712" y="682"/>
                </a:lnTo>
                <a:lnTo>
                  <a:pt x="702" y="693"/>
                </a:lnTo>
                <a:lnTo>
                  <a:pt x="691" y="703"/>
                </a:lnTo>
                <a:lnTo>
                  <a:pt x="683" y="716"/>
                </a:lnTo>
                <a:lnTo>
                  <a:pt x="676" y="728"/>
                </a:lnTo>
                <a:lnTo>
                  <a:pt x="671" y="741"/>
                </a:lnTo>
                <a:lnTo>
                  <a:pt x="667" y="755"/>
                </a:lnTo>
                <a:lnTo>
                  <a:pt x="665" y="769"/>
                </a:lnTo>
                <a:lnTo>
                  <a:pt x="664" y="784"/>
                </a:lnTo>
                <a:lnTo>
                  <a:pt x="664" y="797"/>
                </a:lnTo>
                <a:lnTo>
                  <a:pt x="666" y="810"/>
                </a:lnTo>
                <a:lnTo>
                  <a:pt x="669" y="823"/>
                </a:lnTo>
                <a:lnTo>
                  <a:pt x="674" y="835"/>
                </a:lnTo>
                <a:lnTo>
                  <a:pt x="680" y="847"/>
                </a:lnTo>
                <a:lnTo>
                  <a:pt x="686" y="857"/>
                </a:lnTo>
                <a:lnTo>
                  <a:pt x="694" y="867"/>
                </a:lnTo>
                <a:lnTo>
                  <a:pt x="703" y="876"/>
                </a:lnTo>
                <a:close/>
                <a:moveTo>
                  <a:pt x="1039" y="398"/>
                </a:moveTo>
                <a:lnTo>
                  <a:pt x="1069" y="406"/>
                </a:lnTo>
                <a:lnTo>
                  <a:pt x="1099" y="415"/>
                </a:lnTo>
                <a:lnTo>
                  <a:pt x="1127" y="424"/>
                </a:lnTo>
                <a:lnTo>
                  <a:pt x="1155" y="436"/>
                </a:lnTo>
                <a:lnTo>
                  <a:pt x="1185" y="449"/>
                </a:lnTo>
                <a:lnTo>
                  <a:pt x="1212" y="465"/>
                </a:lnTo>
                <a:lnTo>
                  <a:pt x="1239" y="482"/>
                </a:lnTo>
                <a:lnTo>
                  <a:pt x="1264" y="499"/>
                </a:lnTo>
                <a:lnTo>
                  <a:pt x="1278" y="509"/>
                </a:lnTo>
                <a:lnTo>
                  <a:pt x="1291" y="519"/>
                </a:lnTo>
                <a:lnTo>
                  <a:pt x="1303" y="529"/>
                </a:lnTo>
                <a:lnTo>
                  <a:pt x="1315" y="541"/>
                </a:lnTo>
                <a:lnTo>
                  <a:pt x="1304" y="520"/>
                </a:lnTo>
                <a:lnTo>
                  <a:pt x="1294" y="500"/>
                </a:lnTo>
                <a:lnTo>
                  <a:pt x="1281" y="480"/>
                </a:lnTo>
                <a:lnTo>
                  <a:pt x="1269" y="462"/>
                </a:lnTo>
                <a:lnTo>
                  <a:pt x="1255" y="443"/>
                </a:lnTo>
                <a:lnTo>
                  <a:pt x="1240" y="425"/>
                </a:lnTo>
                <a:lnTo>
                  <a:pt x="1226" y="408"/>
                </a:lnTo>
                <a:lnTo>
                  <a:pt x="1210" y="391"/>
                </a:lnTo>
                <a:lnTo>
                  <a:pt x="1188" y="370"/>
                </a:lnTo>
                <a:lnTo>
                  <a:pt x="1165" y="349"/>
                </a:lnTo>
                <a:lnTo>
                  <a:pt x="1139" y="331"/>
                </a:lnTo>
                <a:lnTo>
                  <a:pt x="1114" y="313"/>
                </a:lnTo>
                <a:lnTo>
                  <a:pt x="1088" y="297"/>
                </a:lnTo>
                <a:lnTo>
                  <a:pt x="1061" y="282"/>
                </a:lnTo>
                <a:lnTo>
                  <a:pt x="1032" y="268"/>
                </a:lnTo>
                <a:lnTo>
                  <a:pt x="1004" y="257"/>
                </a:lnTo>
                <a:lnTo>
                  <a:pt x="979" y="249"/>
                </a:lnTo>
                <a:lnTo>
                  <a:pt x="955" y="240"/>
                </a:lnTo>
                <a:lnTo>
                  <a:pt x="928" y="234"/>
                </a:lnTo>
                <a:lnTo>
                  <a:pt x="903" y="229"/>
                </a:lnTo>
                <a:lnTo>
                  <a:pt x="877" y="225"/>
                </a:lnTo>
                <a:lnTo>
                  <a:pt x="851" y="221"/>
                </a:lnTo>
                <a:lnTo>
                  <a:pt x="823" y="219"/>
                </a:lnTo>
                <a:lnTo>
                  <a:pt x="797" y="219"/>
                </a:lnTo>
                <a:lnTo>
                  <a:pt x="767" y="219"/>
                </a:lnTo>
                <a:lnTo>
                  <a:pt x="737" y="223"/>
                </a:lnTo>
                <a:lnTo>
                  <a:pt x="708" y="226"/>
                </a:lnTo>
                <a:lnTo>
                  <a:pt x="679" y="231"/>
                </a:lnTo>
                <a:lnTo>
                  <a:pt x="650" y="237"/>
                </a:lnTo>
                <a:lnTo>
                  <a:pt x="623" y="245"/>
                </a:lnTo>
                <a:lnTo>
                  <a:pt x="596" y="255"/>
                </a:lnTo>
                <a:lnTo>
                  <a:pt x="569" y="265"/>
                </a:lnTo>
                <a:lnTo>
                  <a:pt x="543" y="277"/>
                </a:lnTo>
                <a:lnTo>
                  <a:pt x="517" y="290"/>
                </a:lnTo>
                <a:lnTo>
                  <a:pt x="492" y="305"/>
                </a:lnTo>
                <a:lnTo>
                  <a:pt x="467" y="320"/>
                </a:lnTo>
                <a:lnTo>
                  <a:pt x="444" y="337"/>
                </a:lnTo>
                <a:lnTo>
                  <a:pt x="422" y="356"/>
                </a:lnTo>
                <a:lnTo>
                  <a:pt x="401" y="374"/>
                </a:lnTo>
                <a:lnTo>
                  <a:pt x="380" y="394"/>
                </a:lnTo>
                <a:lnTo>
                  <a:pt x="378" y="397"/>
                </a:lnTo>
                <a:lnTo>
                  <a:pt x="366" y="410"/>
                </a:lnTo>
                <a:lnTo>
                  <a:pt x="353" y="424"/>
                </a:lnTo>
                <a:lnTo>
                  <a:pt x="341" y="439"/>
                </a:lnTo>
                <a:lnTo>
                  <a:pt x="331" y="453"/>
                </a:lnTo>
                <a:lnTo>
                  <a:pt x="317" y="474"/>
                </a:lnTo>
                <a:lnTo>
                  <a:pt x="306" y="497"/>
                </a:lnTo>
                <a:lnTo>
                  <a:pt x="295" y="520"/>
                </a:lnTo>
                <a:lnTo>
                  <a:pt x="287" y="545"/>
                </a:lnTo>
                <a:lnTo>
                  <a:pt x="281" y="569"/>
                </a:lnTo>
                <a:lnTo>
                  <a:pt x="276" y="594"/>
                </a:lnTo>
                <a:lnTo>
                  <a:pt x="273" y="619"/>
                </a:lnTo>
                <a:lnTo>
                  <a:pt x="272" y="645"/>
                </a:lnTo>
                <a:lnTo>
                  <a:pt x="272" y="660"/>
                </a:lnTo>
                <a:lnTo>
                  <a:pt x="274" y="676"/>
                </a:lnTo>
                <a:lnTo>
                  <a:pt x="275" y="692"/>
                </a:lnTo>
                <a:lnTo>
                  <a:pt x="278" y="707"/>
                </a:lnTo>
                <a:lnTo>
                  <a:pt x="282" y="723"/>
                </a:lnTo>
                <a:lnTo>
                  <a:pt x="285" y="737"/>
                </a:lnTo>
                <a:lnTo>
                  <a:pt x="289" y="752"/>
                </a:lnTo>
                <a:lnTo>
                  <a:pt x="294" y="767"/>
                </a:lnTo>
                <a:lnTo>
                  <a:pt x="301" y="781"/>
                </a:lnTo>
                <a:lnTo>
                  <a:pt x="307" y="795"/>
                </a:lnTo>
                <a:lnTo>
                  <a:pt x="314" y="809"/>
                </a:lnTo>
                <a:lnTo>
                  <a:pt x="322" y="823"/>
                </a:lnTo>
                <a:lnTo>
                  <a:pt x="330" y="835"/>
                </a:lnTo>
                <a:lnTo>
                  <a:pt x="339" y="848"/>
                </a:lnTo>
                <a:lnTo>
                  <a:pt x="349" y="860"/>
                </a:lnTo>
                <a:lnTo>
                  <a:pt x="358" y="873"/>
                </a:lnTo>
                <a:lnTo>
                  <a:pt x="374" y="889"/>
                </a:lnTo>
                <a:lnTo>
                  <a:pt x="391" y="904"/>
                </a:lnTo>
                <a:lnTo>
                  <a:pt x="408" y="918"/>
                </a:lnTo>
                <a:lnTo>
                  <a:pt x="427" y="932"/>
                </a:lnTo>
                <a:lnTo>
                  <a:pt x="438" y="939"/>
                </a:lnTo>
                <a:lnTo>
                  <a:pt x="450" y="946"/>
                </a:lnTo>
                <a:lnTo>
                  <a:pt x="461" y="953"/>
                </a:lnTo>
                <a:lnTo>
                  <a:pt x="474" y="959"/>
                </a:lnTo>
                <a:lnTo>
                  <a:pt x="464" y="942"/>
                </a:lnTo>
                <a:lnTo>
                  <a:pt x="457" y="926"/>
                </a:lnTo>
                <a:lnTo>
                  <a:pt x="451" y="909"/>
                </a:lnTo>
                <a:lnTo>
                  <a:pt x="444" y="892"/>
                </a:lnTo>
                <a:lnTo>
                  <a:pt x="437" y="866"/>
                </a:lnTo>
                <a:lnTo>
                  <a:pt x="432" y="839"/>
                </a:lnTo>
                <a:lnTo>
                  <a:pt x="430" y="826"/>
                </a:lnTo>
                <a:lnTo>
                  <a:pt x="429" y="811"/>
                </a:lnTo>
                <a:lnTo>
                  <a:pt x="428" y="798"/>
                </a:lnTo>
                <a:lnTo>
                  <a:pt x="428" y="784"/>
                </a:lnTo>
                <a:lnTo>
                  <a:pt x="429" y="763"/>
                </a:lnTo>
                <a:lnTo>
                  <a:pt x="430" y="743"/>
                </a:lnTo>
                <a:lnTo>
                  <a:pt x="433" y="723"/>
                </a:lnTo>
                <a:lnTo>
                  <a:pt x="437" y="703"/>
                </a:lnTo>
                <a:lnTo>
                  <a:pt x="441" y="684"/>
                </a:lnTo>
                <a:lnTo>
                  <a:pt x="448" y="666"/>
                </a:lnTo>
                <a:lnTo>
                  <a:pt x="455" y="647"/>
                </a:lnTo>
                <a:lnTo>
                  <a:pt x="462" y="629"/>
                </a:lnTo>
                <a:lnTo>
                  <a:pt x="472" y="612"/>
                </a:lnTo>
                <a:lnTo>
                  <a:pt x="482" y="594"/>
                </a:lnTo>
                <a:lnTo>
                  <a:pt x="493" y="577"/>
                </a:lnTo>
                <a:lnTo>
                  <a:pt x="505" y="562"/>
                </a:lnTo>
                <a:lnTo>
                  <a:pt x="518" y="546"/>
                </a:lnTo>
                <a:lnTo>
                  <a:pt x="532" y="531"/>
                </a:lnTo>
                <a:lnTo>
                  <a:pt x="546" y="517"/>
                </a:lnTo>
                <a:lnTo>
                  <a:pt x="561" y="504"/>
                </a:lnTo>
                <a:lnTo>
                  <a:pt x="562" y="503"/>
                </a:lnTo>
                <a:lnTo>
                  <a:pt x="577" y="493"/>
                </a:lnTo>
                <a:lnTo>
                  <a:pt x="592" y="483"/>
                </a:lnTo>
                <a:lnTo>
                  <a:pt x="600" y="477"/>
                </a:lnTo>
                <a:lnTo>
                  <a:pt x="608" y="472"/>
                </a:lnTo>
                <a:lnTo>
                  <a:pt x="617" y="467"/>
                </a:lnTo>
                <a:lnTo>
                  <a:pt x="624" y="463"/>
                </a:lnTo>
                <a:lnTo>
                  <a:pt x="640" y="454"/>
                </a:lnTo>
                <a:lnTo>
                  <a:pt x="654" y="446"/>
                </a:lnTo>
                <a:lnTo>
                  <a:pt x="670" y="439"/>
                </a:lnTo>
                <a:lnTo>
                  <a:pt x="687" y="432"/>
                </a:lnTo>
                <a:lnTo>
                  <a:pt x="703" y="425"/>
                </a:lnTo>
                <a:lnTo>
                  <a:pt x="719" y="419"/>
                </a:lnTo>
                <a:lnTo>
                  <a:pt x="736" y="414"/>
                </a:lnTo>
                <a:lnTo>
                  <a:pt x="753" y="409"/>
                </a:lnTo>
                <a:lnTo>
                  <a:pt x="787" y="400"/>
                </a:lnTo>
                <a:lnTo>
                  <a:pt x="821" y="394"/>
                </a:lnTo>
                <a:lnTo>
                  <a:pt x="838" y="391"/>
                </a:lnTo>
                <a:lnTo>
                  <a:pt x="856" y="389"/>
                </a:lnTo>
                <a:lnTo>
                  <a:pt x="874" y="388"/>
                </a:lnTo>
                <a:lnTo>
                  <a:pt x="892" y="387"/>
                </a:lnTo>
                <a:lnTo>
                  <a:pt x="916" y="386"/>
                </a:lnTo>
                <a:lnTo>
                  <a:pt x="947" y="387"/>
                </a:lnTo>
                <a:lnTo>
                  <a:pt x="979" y="389"/>
                </a:lnTo>
                <a:lnTo>
                  <a:pt x="1009" y="393"/>
                </a:lnTo>
                <a:lnTo>
                  <a:pt x="1039" y="398"/>
                </a:lnTo>
                <a:close/>
                <a:moveTo>
                  <a:pt x="990" y="1316"/>
                </a:moveTo>
                <a:lnTo>
                  <a:pt x="1012" y="1307"/>
                </a:lnTo>
                <a:lnTo>
                  <a:pt x="1032" y="1299"/>
                </a:lnTo>
                <a:lnTo>
                  <a:pt x="1053" y="1289"/>
                </a:lnTo>
                <a:lnTo>
                  <a:pt x="1073" y="1278"/>
                </a:lnTo>
                <a:lnTo>
                  <a:pt x="1093" y="1268"/>
                </a:lnTo>
                <a:lnTo>
                  <a:pt x="1112" y="1255"/>
                </a:lnTo>
                <a:lnTo>
                  <a:pt x="1131" y="1243"/>
                </a:lnTo>
                <a:lnTo>
                  <a:pt x="1149" y="1230"/>
                </a:lnTo>
                <a:lnTo>
                  <a:pt x="1148" y="1229"/>
                </a:lnTo>
                <a:lnTo>
                  <a:pt x="1162" y="1219"/>
                </a:lnTo>
                <a:lnTo>
                  <a:pt x="1176" y="1206"/>
                </a:lnTo>
                <a:lnTo>
                  <a:pt x="1190" y="1193"/>
                </a:lnTo>
                <a:lnTo>
                  <a:pt x="1204" y="1179"/>
                </a:lnTo>
                <a:lnTo>
                  <a:pt x="1216" y="1164"/>
                </a:lnTo>
                <a:lnTo>
                  <a:pt x="1228" y="1149"/>
                </a:lnTo>
                <a:lnTo>
                  <a:pt x="1238" y="1133"/>
                </a:lnTo>
                <a:lnTo>
                  <a:pt x="1249" y="1116"/>
                </a:lnTo>
                <a:lnTo>
                  <a:pt x="1257" y="1098"/>
                </a:lnTo>
                <a:lnTo>
                  <a:pt x="1264" y="1082"/>
                </a:lnTo>
                <a:lnTo>
                  <a:pt x="1272" y="1064"/>
                </a:lnTo>
                <a:lnTo>
                  <a:pt x="1277" y="1046"/>
                </a:lnTo>
                <a:lnTo>
                  <a:pt x="1282" y="1028"/>
                </a:lnTo>
                <a:lnTo>
                  <a:pt x="1285" y="1009"/>
                </a:lnTo>
                <a:lnTo>
                  <a:pt x="1289" y="990"/>
                </a:lnTo>
                <a:lnTo>
                  <a:pt x="1291" y="970"/>
                </a:lnTo>
                <a:lnTo>
                  <a:pt x="1291" y="951"/>
                </a:lnTo>
                <a:lnTo>
                  <a:pt x="1291" y="933"/>
                </a:lnTo>
                <a:lnTo>
                  <a:pt x="1289" y="915"/>
                </a:lnTo>
                <a:lnTo>
                  <a:pt x="1286" y="898"/>
                </a:lnTo>
                <a:lnTo>
                  <a:pt x="1283" y="881"/>
                </a:lnTo>
                <a:lnTo>
                  <a:pt x="1280" y="863"/>
                </a:lnTo>
                <a:lnTo>
                  <a:pt x="1275" y="848"/>
                </a:lnTo>
                <a:lnTo>
                  <a:pt x="1270" y="831"/>
                </a:lnTo>
                <a:lnTo>
                  <a:pt x="1263" y="815"/>
                </a:lnTo>
                <a:lnTo>
                  <a:pt x="1256" y="800"/>
                </a:lnTo>
                <a:lnTo>
                  <a:pt x="1248" y="784"/>
                </a:lnTo>
                <a:lnTo>
                  <a:pt x="1238" y="769"/>
                </a:lnTo>
                <a:lnTo>
                  <a:pt x="1229" y="754"/>
                </a:lnTo>
                <a:lnTo>
                  <a:pt x="1218" y="741"/>
                </a:lnTo>
                <a:lnTo>
                  <a:pt x="1208" y="727"/>
                </a:lnTo>
                <a:lnTo>
                  <a:pt x="1196" y="713"/>
                </a:lnTo>
                <a:lnTo>
                  <a:pt x="1184" y="702"/>
                </a:lnTo>
                <a:lnTo>
                  <a:pt x="1169" y="687"/>
                </a:lnTo>
                <a:lnTo>
                  <a:pt x="1152" y="675"/>
                </a:lnTo>
                <a:lnTo>
                  <a:pt x="1148" y="671"/>
                </a:lnTo>
                <a:lnTo>
                  <a:pt x="1151" y="680"/>
                </a:lnTo>
                <a:lnTo>
                  <a:pt x="1153" y="690"/>
                </a:lnTo>
                <a:lnTo>
                  <a:pt x="1155" y="699"/>
                </a:lnTo>
                <a:lnTo>
                  <a:pt x="1158" y="708"/>
                </a:lnTo>
                <a:lnTo>
                  <a:pt x="1162" y="727"/>
                </a:lnTo>
                <a:lnTo>
                  <a:pt x="1164" y="746"/>
                </a:lnTo>
                <a:lnTo>
                  <a:pt x="1166" y="764"/>
                </a:lnTo>
                <a:lnTo>
                  <a:pt x="1166" y="784"/>
                </a:lnTo>
                <a:lnTo>
                  <a:pt x="1166" y="798"/>
                </a:lnTo>
                <a:lnTo>
                  <a:pt x="1165" y="813"/>
                </a:lnTo>
                <a:lnTo>
                  <a:pt x="1163" y="831"/>
                </a:lnTo>
                <a:lnTo>
                  <a:pt x="1159" y="850"/>
                </a:lnTo>
                <a:lnTo>
                  <a:pt x="1154" y="871"/>
                </a:lnTo>
                <a:lnTo>
                  <a:pt x="1149" y="891"/>
                </a:lnTo>
                <a:lnTo>
                  <a:pt x="1142" y="913"/>
                </a:lnTo>
                <a:lnTo>
                  <a:pt x="1133" y="935"/>
                </a:lnTo>
                <a:lnTo>
                  <a:pt x="1126" y="952"/>
                </a:lnTo>
                <a:lnTo>
                  <a:pt x="1118" y="967"/>
                </a:lnTo>
                <a:lnTo>
                  <a:pt x="1109" y="983"/>
                </a:lnTo>
                <a:lnTo>
                  <a:pt x="1100" y="999"/>
                </a:lnTo>
                <a:lnTo>
                  <a:pt x="1088" y="1015"/>
                </a:lnTo>
                <a:lnTo>
                  <a:pt x="1076" y="1031"/>
                </a:lnTo>
                <a:lnTo>
                  <a:pt x="1063" y="1045"/>
                </a:lnTo>
                <a:lnTo>
                  <a:pt x="1049" y="1061"/>
                </a:lnTo>
                <a:lnTo>
                  <a:pt x="1030" y="1079"/>
                </a:lnTo>
                <a:lnTo>
                  <a:pt x="1011" y="1094"/>
                </a:lnTo>
                <a:lnTo>
                  <a:pt x="992" y="1110"/>
                </a:lnTo>
                <a:lnTo>
                  <a:pt x="973" y="1125"/>
                </a:lnTo>
                <a:lnTo>
                  <a:pt x="953" y="1139"/>
                </a:lnTo>
                <a:lnTo>
                  <a:pt x="932" y="1151"/>
                </a:lnTo>
                <a:lnTo>
                  <a:pt x="911" y="1163"/>
                </a:lnTo>
                <a:lnTo>
                  <a:pt x="889" y="1174"/>
                </a:lnTo>
                <a:lnTo>
                  <a:pt x="866" y="1185"/>
                </a:lnTo>
                <a:lnTo>
                  <a:pt x="843" y="1193"/>
                </a:lnTo>
                <a:lnTo>
                  <a:pt x="819" y="1201"/>
                </a:lnTo>
                <a:lnTo>
                  <a:pt x="795" y="1209"/>
                </a:lnTo>
                <a:lnTo>
                  <a:pt x="771" y="1215"/>
                </a:lnTo>
                <a:lnTo>
                  <a:pt x="746" y="1221"/>
                </a:lnTo>
                <a:lnTo>
                  <a:pt x="719" y="1225"/>
                </a:lnTo>
                <a:lnTo>
                  <a:pt x="693" y="1229"/>
                </a:lnTo>
                <a:lnTo>
                  <a:pt x="686" y="1229"/>
                </a:lnTo>
                <a:lnTo>
                  <a:pt x="666" y="1230"/>
                </a:lnTo>
                <a:lnTo>
                  <a:pt x="635" y="1231"/>
                </a:lnTo>
                <a:lnTo>
                  <a:pt x="598" y="1230"/>
                </a:lnTo>
                <a:lnTo>
                  <a:pt x="576" y="1229"/>
                </a:lnTo>
                <a:lnTo>
                  <a:pt x="553" y="1227"/>
                </a:lnTo>
                <a:lnTo>
                  <a:pt x="528" y="1224"/>
                </a:lnTo>
                <a:lnTo>
                  <a:pt x="503" y="1220"/>
                </a:lnTo>
                <a:lnTo>
                  <a:pt x="477" y="1215"/>
                </a:lnTo>
                <a:lnTo>
                  <a:pt x="451" y="1208"/>
                </a:lnTo>
                <a:lnTo>
                  <a:pt x="424" y="1200"/>
                </a:lnTo>
                <a:lnTo>
                  <a:pt x="398" y="1191"/>
                </a:lnTo>
                <a:lnTo>
                  <a:pt x="411" y="1202"/>
                </a:lnTo>
                <a:lnTo>
                  <a:pt x="431" y="1219"/>
                </a:lnTo>
                <a:lnTo>
                  <a:pt x="452" y="1236"/>
                </a:lnTo>
                <a:lnTo>
                  <a:pt x="473" y="1250"/>
                </a:lnTo>
                <a:lnTo>
                  <a:pt x="495" y="1265"/>
                </a:lnTo>
                <a:lnTo>
                  <a:pt x="518" y="1277"/>
                </a:lnTo>
                <a:lnTo>
                  <a:pt x="542" y="1290"/>
                </a:lnTo>
                <a:lnTo>
                  <a:pt x="566" y="1301"/>
                </a:lnTo>
                <a:lnTo>
                  <a:pt x="590" y="1310"/>
                </a:lnTo>
                <a:lnTo>
                  <a:pt x="614" y="1320"/>
                </a:lnTo>
                <a:lnTo>
                  <a:pt x="640" y="1327"/>
                </a:lnTo>
                <a:lnTo>
                  <a:pt x="665" y="1333"/>
                </a:lnTo>
                <a:lnTo>
                  <a:pt x="690" y="1339"/>
                </a:lnTo>
                <a:lnTo>
                  <a:pt x="716" y="1343"/>
                </a:lnTo>
                <a:lnTo>
                  <a:pt x="743" y="1346"/>
                </a:lnTo>
                <a:lnTo>
                  <a:pt x="770" y="1348"/>
                </a:lnTo>
                <a:lnTo>
                  <a:pt x="797" y="1348"/>
                </a:lnTo>
                <a:lnTo>
                  <a:pt x="822" y="1348"/>
                </a:lnTo>
                <a:lnTo>
                  <a:pt x="848" y="1346"/>
                </a:lnTo>
                <a:lnTo>
                  <a:pt x="872" y="1344"/>
                </a:lnTo>
                <a:lnTo>
                  <a:pt x="897" y="1340"/>
                </a:lnTo>
                <a:lnTo>
                  <a:pt x="921" y="1335"/>
                </a:lnTo>
                <a:lnTo>
                  <a:pt x="944" y="1329"/>
                </a:lnTo>
                <a:lnTo>
                  <a:pt x="967" y="1323"/>
                </a:lnTo>
                <a:lnTo>
                  <a:pt x="990" y="1316"/>
                </a:lnTo>
                <a:close/>
                <a:moveTo>
                  <a:pt x="498" y="57"/>
                </a:moveTo>
                <a:lnTo>
                  <a:pt x="533" y="45"/>
                </a:lnTo>
                <a:lnTo>
                  <a:pt x="568" y="33"/>
                </a:lnTo>
                <a:lnTo>
                  <a:pt x="605" y="23"/>
                </a:lnTo>
                <a:lnTo>
                  <a:pt x="642" y="16"/>
                </a:lnTo>
                <a:lnTo>
                  <a:pt x="680" y="8"/>
                </a:lnTo>
                <a:lnTo>
                  <a:pt x="718" y="4"/>
                </a:lnTo>
                <a:lnTo>
                  <a:pt x="757" y="1"/>
                </a:lnTo>
                <a:lnTo>
                  <a:pt x="797" y="0"/>
                </a:lnTo>
                <a:lnTo>
                  <a:pt x="838" y="1"/>
                </a:lnTo>
                <a:lnTo>
                  <a:pt x="878" y="4"/>
                </a:lnTo>
                <a:lnTo>
                  <a:pt x="918" y="9"/>
                </a:lnTo>
                <a:lnTo>
                  <a:pt x="958" y="17"/>
                </a:lnTo>
                <a:lnTo>
                  <a:pt x="996" y="25"/>
                </a:lnTo>
                <a:lnTo>
                  <a:pt x="1033" y="35"/>
                </a:lnTo>
                <a:lnTo>
                  <a:pt x="1070" y="48"/>
                </a:lnTo>
                <a:lnTo>
                  <a:pt x="1107" y="62"/>
                </a:lnTo>
                <a:lnTo>
                  <a:pt x="1143" y="78"/>
                </a:lnTo>
                <a:lnTo>
                  <a:pt x="1176" y="95"/>
                </a:lnTo>
                <a:lnTo>
                  <a:pt x="1210" y="113"/>
                </a:lnTo>
                <a:lnTo>
                  <a:pt x="1242" y="134"/>
                </a:lnTo>
                <a:lnTo>
                  <a:pt x="1274" y="156"/>
                </a:lnTo>
                <a:lnTo>
                  <a:pt x="1303" y="179"/>
                </a:lnTo>
                <a:lnTo>
                  <a:pt x="1333" y="204"/>
                </a:lnTo>
                <a:lnTo>
                  <a:pt x="1360" y="230"/>
                </a:lnTo>
                <a:lnTo>
                  <a:pt x="1386" y="257"/>
                </a:lnTo>
                <a:lnTo>
                  <a:pt x="1411" y="285"/>
                </a:lnTo>
                <a:lnTo>
                  <a:pt x="1436" y="315"/>
                </a:lnTo>
                <a:lnTo>
                  <a:pt x="1458" y="345"/>
                </a:lnTo>
                <a:lnTo>
                  <a:pt x="1479" y="378"/>
                </a:lnTo>
                <a:lnTo>
                  <a:pt x="1498" y="411"/>
                </a:lnTo>
                <a:lnTo>
                  <a:pt x="1515" y="444"/>
                </a:lnTo>
                <a:lnTo>
                  <a:pt x="1531" y="478"/>
                </a:lnTo>
                <a:lnTo>
                  <a:pt x="1545" y="515"/>
                </a:lnTo>
                <a:lnTo>
                  <a:pt x="1557" y="551"/>
                </a:lnTo>
                <a:lnTo>
                  <a:pt x="1569" y="588"/>
                </a:lnTo>
                <a:lnTo>
                  <a:pt x="1577" y="626"/>
                </a:lnTo>
                <a:lnTo>
                  <a:pt x="1585" y="665"/>
                </a:lnTo>
                <a:lnTo>
                  <a:pt x="1590" y="704"/>
                </a:lnTo>
                <a:lnTo>
                  <a:pt x="1592" y="744"/>
                </a:lnTo>
                <a:lnTo>
                  <a:pt x="1593" y="784"/>
                </a:lnTo>
                <a:lnTo>
                  <a:pt x="1593" y="804"/>
                </a:lnTo>
                <a:lnTo>
                  <a:pt x="1592" y="825"/>
                </a:lnTo>
                <a:lnTo>
                  <a:pt x="1591" y="845"/>
                </a:lnTo>
                <a:lnTo>
                  <a:pt x="1589" y="864"/>
                </a:lnTo>
                <a:lnTo>
                  <a:pt x="1585" y="904"/>
                </a:lnTo>
                <a:lnTo>
                  <a:pt x="1577" y="943"/>
                </a:lnTo>
                <a:lnTo>
                  <a:pt x="1568" y="981"/>
                </a:lnTo>
                <a:lnTo>
                  <a:pt x="1557" y="1018"/>
                </a:lnTo>
                <a:lnTo>
                  <a:pt x="1545" y="1056"/>
                </a:lnTo>
                <a:lnTo>
                  <a:pt x="1530" y="1091"/>
                </a:lnTo>
                <a:lnTo>
                  <a:pt x="1513" y="1127"/>
                </a:lnTo>
                <a:lnTo>
                  <a:pt x="1494" y="1162"/>
                </a:lnTo>
                <a:lnTo>
                  <a:pt x="1474" y="1196"/>
                </a:lnTo>
                <a:lnTo>
                  <a:pt x="1452" y="1228"/>
                </a:lnTo>
                <a:lnTo>
                  <a:pt x="1429" y="1260"/>
                </a:lnTo>
                <a:lnTo>
                  <a:pt x="1404" y="1290"/>
                </a:lnTo>
                <a:lnTo>
                  <a:pt x="1378" y="1319"/>
                </a:lnTo>
                <a:lnTo>
                  <a:pt x="1351" y="1347"/>
                </a:lnTo>
                <a:lnTo>
                  <a:pt x="1347" y="1350"/>
                </a:lnTo>
                <a:lnTo>
                  <a:pt x="1321" y="1373"/>
                </a:lnTo>
                <a:lnTo>
                  <a:pt x="1294" y="1396"/>
                </a:lnTo>
                <a:lnTo>
                  <a:pt x="1267" y="1417"/>
                </a:lnTo>
                <a:lnTo>
                  <a:pt x="1237" y="1436"/>
                </a:lnTo>
                <a:lnTo>
                  <a:pt x="1208" y="1455"/>
                </a:lnTo>
                <a:lnTo>
                  <a:pt x="1177" y="1472"/>
                </a:lnTo>
                <a:lnTo>
                  <a:pt x="1147" y="1487"/>
                </a:lnTo>
                <a:lnTo>
                  <a:pt x="1115" y="1502"/>
                </a:lnTo>
                <a:lnTo>
                  <a:pt x="1113" y="1503"/>
                </a:lnTo>
                <a:lnTo>
                  <a:pt x="1075" y="1517"/>
                </a:lnTo>
                <a:lnTo>
                  <a:pt x="1038" y="1531"/>
                </a:lnTo>
                <a:lnTo>
                  <a:pt x="1018" y="1536"/>
                </a:lnTo>
                <a:lnTo>
                  <a:pt x="998" y="1541"/>
                </a:lnTo>
                <a:lnTo>
                  <a:pt x="978" y="1547"/>
                </a:lnTo>
                <a:lnTo>
                  <a:pt x="958" y="1551"/>
                </a:lnTo>
                <a:lnTo>
                  <a:pt x="939" y="1555"/>
                </a:lnTo>
                <a:lnTo>
                  <a:pt x="919" y="1558"/>
                </a:lnTo>
                <a:lnTo>
                  <a:pt x="899" y="1561"/>
                </a:lnTo>
                <a:lnTo>
                  <a:pt x="878" y="1563"/>
                </a:lnTo>
                <a:lnTo>
                  <a:pt x="858" y="1564"/>
                </a:lnTo>
                <a:lnTo>
                  <a:pt x="838" y="1566"/>
                </a:lnTo>
                <a:lnTo>
                  <a:pt x="817" y="1566"/>
                </a:lnTo>
                <a:lnTo>
                  <a:pt x="797" y="1567"/>
                </a:lnTo>
                <a:lnTo>
                  <a:pt x="756" y="1566"/>
                </a:lnTo>
                <a:lnTo>
                  <a:pt x="715" y="1563"/>
                </a:lnTo>
                <a:lnTo>
                  <a:pt x="675" y="1558"/>
                </a:lnTo>
                <a:lnTo>
                  <a:pt x="637" y="1551"/>
                </a:lnTo>
                <a:lnTo>
                  <a:pt x="598" y="1542"/>
                </a:lnTo>
                <a:lnTo>
                  <a:pt x="560" y="1532"/>
                </a:lnTo>
                <a:lnTo>
                  <a:pt x="523" y="1520"/>
                </a:lnTo>
                <a:lnTo>
                  <a:pt x="486" y="1505"/>
                </a:lnTo>
                <a:lnTo>
                  <a:pt x="452" y="1489"/>
                </a:lnTo>
                <a:lnTo>
                  <a:pt x="417" y="1473"/>
                </a:lnTo>
                <a:lnTo>
                  <a:pt x="383" y="1454"/>
                </a:lnTo>
                <a:lnTo>
                  <a:pt x="351" y="1433"/>
                </a:lnTo>
                <a:lnTo>
                  <a:pt x="320" y="1411"/>
                </a:lnTo>
                <a:lnTo>
                  <a:pt x="290" y="1388"/>
                </a:lnTo>
                <a:lnTo>
                  <a:pt x="261" y="1364"/>
                </a:lnTo>
                <a:lnTo>
                  <a:pt x="233" y="1338"/>
                </a:lnTo>
                <a:lnTo>
                  <a:pt x="207" y="1310"/>
                </a:lnTo>
                <a:lnTo>
                  <a:pt x="182" y="1282"/>
                </a:lnTo>
                <a:lnTo>
                  <a:pt x="159" y="1252"/>
                </a:lnTo>
                <a:lnTo>
                  <a:pt x="136" y="1222"/>
                </a:lnTo>
                <a:lnTo>
                  <a:pt x="116" y="1190"/>
                </a:lnTo>
                <a:lnTo>
                  <a:pt x="96" y="1157"/>
                </a:lnTo>
                <a:lnTo>
                  <a:pt x="79" y="1123"/>
                </a:lnTo>
                <a:lnTo>
                  <a:pt x="62" y="1089"/>
                </a:lnTo>
                <a:lnTo>
                  <a:pt x="49" y="1053"/>
                </a:lnTo>
                <a:lnTo>
                  <a:pt x="36" y="1016"/>
                </a:lnTo>
                <a:lnTo>
                  <a:pt x="25" y="980"/>
                </a:lnTo>
                <a:lnTo>
                  <a:pt x="16" y="941"/>
                </a:lnTo>
                <a:lnTo>
                  <a:pt x="9" y="903"/>
                </a:lnTo>
                <a:lnTo>
                  <a:pt x="4" y="864"/>
                </a:lnTo>
                <a:lnTo>
                  <a:pt x="1" y="824"/>
                </a:lnTo>
                <a:lnTo>
                  <a:pt x="0" y="784"/>
                </a:lnTo>
                <a:lnTo>
                  <a:pt x="0" y="762"/>
                </a:lnTo>
                <a:lnTo>
                  <a:pt x="1" y="741"/>
                </a:lnTo>
                <a:lnTo>
                  <a:pt x="2" y="719"/>
                </a:lnTo>
                <a:lnTo>
                  <a:pt x="4" y="698"/>
                </a:lnTo>
                <a:lnTo>
                  <a:pt x="8" y="677"/>
                </a:lnTo>
                <a:lnTo>
                  <a:pt x="11" y="656"/>
                </a:lnTo>
                <a:lnTo>
                  <a:pt x="14" y="635"/>
                </a:lnTo>
                <a:lnTo>
                  <a:pt x="18" y="615"/>
                </a:lnTo>
                <a:lnTo>
                  <a:pt x="23" y="594"/>
                </a:lnTo>
                <a:lnTo>
                  <a:pt x="30" y="573"/>
                </a:lnTo>
                <a:lnTo>
                  <a:pt x="35" y="552"/>
                </a:lnTo>
                <a:lnTo>
                  <a:pt x="42" y="532"/>
                </a:lnTo>
                <a:lnTo>
                  <a:pt x="50" y="512"/>
                </a:lnTo>
                <a:lnTo>
                  <a:pt x="57" y="492"/>
                </a:lnTo>
                <a:lnTo>
                  <a:pt x="65" y="473"/>
                </a:lnTo>
                <a:lnTo>
                  <a:pt x="74" y="453"/>
                </a:lnTo>
                <a:lnTo>
                  <a:pt x="80" y="442"/>
                </a:lnTo>
                <a:lnTo>
                  <a:pt x="86" y="430"/>
                </a:lnTo>
                <a:lnTo>
                  <a:pt x="93" y="418"/>
                </a:lnTo>
                <a:lnTo>
                  <a:pt x="99" y="406"/>
                </a:lnTo>
                <a:lnTo>
                  <a:pt x="103" y="397"/>
                </a:lnTo>
                <a:lnTo>
                  <a:pt x="108" y="390"/>
                </a:lnTo>
                <a:lnTo>
                  <a:pt x="113" y="382"/>
                </a:lnTo>
                <a:lnTo>
                  <a:pt x="118" y="374"/>
                </a:lnTo>
                <a:lnTo>
                  <a:pt x="127" y="359"/>
                </a:lnTo>
                <a:lnTo>
                  <a:pt x="148" y="329"/>
                </a:lnTo>
                <a:lnTo>
                  <a:pt x="162" y="311"/>
                </a:lnTo>
                <a:lnTo>
                  <a:pt x="176" y="294"/>
                </a:lnTo>
                <a:lnTo>
                  <a:pt x="189" y="278"/>
                </a:lnTo>
                <a:lnTo>
                  <a:pt x="204" y="260"/>
                </a:lnTo>
                <a:lnTo>
                  <a:pt x="214" y="250"/>
                </a:lnTo>
                <a:lnTo>
                  <a:pt x="224" y="239"/>
                </a:lnTo>
                <a:lnTo>
                  <a:pt x="234" y="229"/>
                </a:lnTo>
                <a:lnTo>
                  <a:pt x="245" y="218"/>
                </a:lnTo>
                <a:lnTo>
                  <a:pt x="245" y="218"/>
                </a:lnTo>
                <a:lnTo>
                  <a:pt x="273" y="193"/>
                </a:lnTo>
                <a:lnTo>
                  <a:pt x="302" y="169"/>
                </a:lnTo>
                <a:lnTo>
                  <a:pt x="332" y="148"/>
                </a:lnTo>
                <a:lnTo>
                  <a:pt x="364" y="127"/>
                </a:lnTo>
                <a:lnTo>
                  <a:pt x="395" y="107"/>
                </a:lnTo>
                <a:lnTo>
                  <a:pt x="429" y="88"/>
                </a:lnTo>
                <a:lnTo>
                  <a:pt x="462" y="73"/>
                </a:lnTo>
                <a:lnTo>
                  <a:pt x="498" y="57"/>
                </a:lnTo>
                <a:close/>
                <a:moveTo>
                  <a:pt x="7855" y="643"/>
                </a:moveTo>
                <a:lnTo>
                  <a:pt x="7700" y="643"/>
                </a:lnTo>
                <a:lnTo>
                  <a:pt x="7700" y="501"/>
                </a:lnTo>
                <a:lnTo>
                  <a:pt x="7855" y="501"/>
                </a:lnTo>
                <a:lnTo>
                  <a:pt x="7855" y="643"/>
                </a:lnTo>
                <a:close/>
                <a:moveTo>
                  <a:pt x="5599" y="643"/>
                </a:moveTo>
                <a:lnTo>
                  <a:pt x="5444" y="643"/>
                </a:lnTo>
                <a:lnTo>
                  <a:pt x="5444" y="501"/>
                </a:lnTo>
                <a:lnTo>
                  <a:pt x="5599" y="501"/>
                </a:lnTo>
                <a:lnTo>
                  <a:pt x="5599" y="643"/>
                </a:lnTo>
                <a:close/>
                <a:moveTo>
                  <a:pt x="15107" y="953"/>
                </a:moveTo>
                <a:lnTo>
                  <a:pt x="15107" y="828"/>
                </a:lnTo>
                <a:lnTo>
                  <a:pt x="15033" y="828"/>
                </a:lnTo>
                <a:lnTo>
                  <a:pt x="15024" y="828"/>
                </a:lnTo>
                <a:lnTo>
                  <a:pt x="15014" y="829"/>
                </a:lnTo>
                <a:lnTo>
                  <a:pt x="15007" y="830"/>
                </a:lnTo>
                <a:lnTo>
                  <a:pt x="14999" y="832"/>
                </a:lnTo>
                <a:lnTo>
                  <a:pt x="14993" y="834"/>
                </a:lnTo>
                <a:lnTo>
                  <a:pt x="14988" y="837"/>
                </a:lnTo>
                <a:lnTo>
                  <a:pt x="14983" y="840"/>
                </a:lnTo>
                <a:lnTo>
                  <a:pt x="14980" y="843"/>
                </a:lnTo>
                <a:lnTo>
                  <a:pt x="14976" y="848"/>
                </a:lnTo>
                <a:lnTo>
                  <a:pt x="14973" y="853"/>
                </a:lnTo>
                <a:lnTo>
                  <a:pt x="14971" y="858"/>
                </a:lnTo>
                <a:lnTo>
                  <a:pt x="14969" y="864"/>
                </a:lnTo>
                <a:lnTo>
                  <a:pt x="14967" y="878"/>
                </a:lnTo>
                <a:lnTo>
                  <a:pt x="14966" y="894"/>
                </a:lnTo>
                <a:lnTo>
                  <a:pt x="14967" y="906"/>
                </a:lnTo>
                <a:lnTo>
                  <a:pt x="14969" y="917"/>
                </a:lnTo>
                <a:lnTo>
                  <a:pt x="14972" y="927"/>
                </a:lnTo>
                <a:lnTo>
                  <a:pt x="14978" y="936"/>
                </a:lnTo>
                <a:lnTo>
                  <a:pt x="14982" y="939"/>
                </a:lnTo>
                <a:lnTo>
                  <a:pt x="14987" y="943"/>
                </a:lnTo>
                <a:lnTo>
                  <a:pt x="14992" y="945"/>
                </a:lnTo>
                <a:lnTo>
                  <a:pt x="14999" y="949"/>
                </a:lnTo>
                <a:lnTo>
                  <a:pt x="15008" y="950"/>
                </a:lnTo>
                <a:lnTo>
                  <a:pt x="15017" y="952"/>
                </a:lnTo>
                <a:lnTo>
                  <a:pt x="15029" y="952"/>
                </a:lnTo>
                <a:lnTo>
                  <a:pt x="15040" y="953"/>
                </a:lnTo>
                <a:lnTo>
                  <a:pt x="15107" y="953"/>
                </a:lnTo>
                <a:close/>
                <a:moveTo>
                  <a:pt x="15107" y="1256"/>
                </a:moveTo>
                <a:lnTo>
                  <a:pt x="15107" y="1058"/>
                </a:lnTo>
                <a:lnTo>
                  <a:pt x="15030" y="1058"/>
                </a:lnTo>
                <a:lnTo>
                  <a:pt x="14938" y="1256"/>
                </a:lnTo>
                <a:lnTo>
                  <a:pt x="14766" y="1256"/>
                </a:lnTo>
                <a:lnTo>
                  <a:pt x="14889" y="1027"/>
                </a:lnTo>
                <a:lnTo>
                  <a:pt x="14879" y="1021"/>
                </a:lnTo>
                <a:lnTo>
                  <a:pt x="14869" y="1016"/>
                </a:lnTo>
                <a:lnTo>
                  <a:pt x="14860" y="1010"/>
                </a:lnTo>
                <a:lnTo>
                  <a:pt x="14851" y="1003"/>
                </a:lnTo>
                <a:lnTo>
                  <a:pt x="14844" y="996"/>
                </a:lnTo>
                <a:lnTo>
                  <a:pt x="14837" y="989"/>
                </a:lnTo>
                <a:lnTo>
                  <a:pt x="14830" y="982"/>
                </a:lnTo>
                <a:lnTo>
                  <a:pt x="14825" y="973"/>
                </a:lnTo>
                <a:lnTo>
                  <a:pt x="14820" y="965"/>
                </a:lnTo>
                <a:lnTo>
                  <a:pt x="14816" y="956"/>
                </a:lnTo>
                <a:lnTo>
                  <a:pt x="14812" y="947"/>
                </a:lnTo>
                <a:lnTo>
                  <a:pt x="14809" y="937"/>
                </a:lnTo>
                <a:lnTo>
                  <a:pt x="14806" y="928"/>
                </a:lnTo>
                <a:lnTo>
                  <a:pt x="14805" y="917"/>
                </a:lnTo>
                <a:lnTo>
                  <a:pt x="14804" y="907"/>
                </a:lnTo>
                <a:lnTo>
                  <a:pt x="14803" y="895"/>
                </a:lnTo>
                <a:lnTo>
                  <a:pt x="14804" y="880"/>
                </a:lnTo>
                <a:lnTo>
                  <a:pt x="14806" y="864"/>
                </a:lnTo>
                <a:lnTo>
                  <a:pt x="14809" y="850"/>
                </a:lnTo>
                <a:lnTo>
                  <a:pt x="14815" y="835"/>
                </a:lnTo>
                <a:lnTo>
                  <a:pt x="14820" y="821"/>
                </a:lnTo>
                <a:lnTo>
                  <a:pt x="14827" y="807"/>
                </a:lnTo>
                <a:lnTo>
                  <a:pt x="14837" y="794"/>
                </a:lnTo>
                <a:lnTo>
                  <a:pt x="14846" y="781"/>
                </a:lnTo>
                <a:lnTo>
                  <a:pt x="14852" y="775"/>
                </a:lnTo>
                <a:lnTo>
                  <a:pt x="14859" y="770"/>
                </a:lnTo>
                <a:lnTo>
                  <a:pt x="14865" y="764"/>
                </a:lnTo>
                <a:lnTo>
                  <a:pt x="14872" y="759"/>
                </a:lnTo>
                <a:lnTo>
                  <a:pt x="14881" y="755"/>
                </a:lnTo>
                <a:lnTo>
                  <a:pt x="14890" y="751"/>
                </a:lnTo>
                <a:lnTo>
                  <a:pt x="14900" y="748"/>
                </a:lnTo>
                <a:lnTo>
                  <a:pt x="14909" y="744"/>
                </a:lnTo>
                <a:lnTo>
                  <a:pt x="14931" y="738"/>
                </a:lnTo>
                <a:lnTo>
                  <a:pt x="14955" y="734"/>
                </a:lnTo>
                <a:lnTo>
                  <a:pt x="14983" y="732"/>
                </a:lnTo>
                <a:lnTo>
                  <a:pt x="15012" y="731"/>
                </a:lnTo>
                <a:lnTo>
                  <a:pt x="15276" y="731"/>
                </a:lnTo>
                <a:lnTo>
                  <a:pt x="15276" y="1256"/>
                </a:lnTo>
                <a:lnTo>
                  <a:pt x="15107" y="1256"/>
                </a:lnTo>
                <a:close/>
                <a:moveTo>
                  <a:pt x="14398" y="1194"/>
                </a:moveTo>
                <a:lnTo>
                  <a:pt x="14398" y="1256"/>
                </a:lnTo>
                <a:lnTo>
                  <a:pt x="14230" y="1256"/>
                </a:lnTo>
                <a:lnTo>
                  <a:pt x="14230" y="731"/>
                </a:lnTo>
                <a:lnTo>
                  <a:pt x="14398" y="731"/>
                </a:lnTo>
                <a:lnTo>
                  <a:pt x="14398" y="984"/>
                </a:lnTo>
                <a:lnTo>
                  <a:pt x="14534" y="799"/>
                </a:lnTo>
                <a:lnTo>
                  <a:pt x="14534" y="731"/>
                </a:lnTo>
                <a:lnTo>
                  <a:pt x="14703" y="731"/>
                </a:lnTo>
                <a:lnTo>
                  <a:pt x="14703" y="1256"/>
                </a:lnTo>
                <a:lnTo>
                  <a:pt x="14534" y="1256"/>
                </a:lnTo>
                <a:lnTo>
                  <a:pt x="14534" y="1012"/>
                </a:lnTo>
                <a:lnTo>
                  <a:pt x="14507" y="1051"/>
                </a:lnTo>
                <a:lnTo>
                  <a:pt x="14398" y="1194"/>
                </a:lnTo>
                <a:close/>
                <a:moveTo>
                  <a:pt x="13724" y="731"/>
                </a:moveTo>
                <a:lnTo>
                  <a:pt x="14177" y="731"/>
                </a:lnTo>
                <a:lnTo>
                  <a:pt x="14177" y="850"/>
                </a:lnTo>
                <a:lnTo>
                  <a:pt x="14035" y="850"/>
                </a:lnTo>
                <a:lnTo>
                  <a:pt x="14035" y="1256"/>
                </a:lnTo>
                <a:lnTo>
                  <a:pt x="13867" y="1256"/>
                </a:lnTo>
                <a:lnTo>
                  <a:pt x="13867" y="850"/>
                </a:lnTo>
                <a:lnTo>
                  <a:pt x="13724" y="850"/>
                </a:lnTo>
                <a:lnTo>
                  <a:pt x="13724" y="731"/>
                </a:lnTo>
                <a:close/>
                <a:moveTo>
                  <a:pt x="13374" y="1194"/>
                </a:moveTo>
                <a:lnTo>
                  <a:pt x="13374" y="1256"/>
                </a:lnTo>
                <a:lnTo>
                  <a:pt x="13205" y="1256"/>
                </a:lnTo>
                <a:lnTo>
                  <a:pt x="13205" y="731"/>
                </a:lnTo>
                <a:lnTo>
                  <a:pt x="13374" y="731"/>
                </a:lnTo>
                <a:lnTo>
                  <a:pt x="13373" y="984"/>
                </a:lnTo>
                <a:lnTo>
                  <a:pt x="13511" y="799"/>
                </a:lnTo>
                <a:lnTo>
                  <a:pt x="13511" y="731"/>
                </a:lnTo>
                <a:lnTo>
                  <a:pt x="13680" y="731"/>
                </a:lnTo>
                <a:lnTo>
                  <a:pt x="13680" y="1256"/>
                </a:lnTo>
                <a:lnTo>
                  <a:pt x="13511" y="1256"/>
                </a:lnTo>
                <a:lnTo>
                  <a:pt x="13511" y="1012"/>
                </a:lnTo>
                <a:lnTo>
                  <a:pt x="13483" y="1051"/>
                </a:lnTo>
                <a:lnTo>
                  <a:pt x="13374" y="1194"/>
                </a:lnTo>
                <a:close/>
                <a:moveTo>
                  <a:pt x="12800" y="1143"/>
                </a:moveTo>
                <a:lnTo>
                  <a:pt x="12901" y="1143"/>
                </a:lnTo>
                <a:lnTo>
                  <a:pt x="12909" y="1143"/>
                </a:lnTo>
                <a:lnTo>
                  <a:pt x="12917" y="1142"/>
                </a:lnTo>
                <a:lnTo>
                  <a:pt x="12924" y="1141"/>
                </a:lnTo>
                <a:lnTo>
                  <a:pt x="12930" y="1139"/>
                </a:lnTo>
                <a:lnTo>
                  <a:pt x="12935" y="1138"/>
                </a:lnTo>
                <a:lnTo>
                  <a:pt x="12940" y="1135"/>
                </a:lnTo>
                <a:lnTo>
                  <a:pt x="12945" y="1132"/>
                </a:lnTo>
                <a:lnTo>
                  <a:pt x="12948" y="1128"/>
                </a:lnTo>
                <a:lnTo>
                  <a:pt x="12951" y="1124"/>
                </a:lnTo>
                <a:lnTo>
                  <a:pt x="12953" y="1120"/>
                </a:lnTo>
                <a:lnTo>
                  <a:pt x="12955" y="1116"/>
                </a:lnTo>
                <a:lnTo>
                  <a:pt x="12957" y="1111"/>
                </a:lnTo>
                <a:lnTo>
                  <a:pt x="12959" y="1098"/>
                </a:lnTo>
                <a:lnTo>
                  <a:pt x="12960" y="1085"/>
                </a:lnTo>
                <a:lnTo>
                  <a:pt x="12959" y="1071"/>
                </a:lnTo>
                <a:lnTo>
                  <a:pt x="12957" y="1059"/>
                </a:lnTo>
                <a:lnTo>
                  <a:pt x="12955" y="1054"/>
                </a:lnTo>
                <a:lnTo>
                  <a:pt x="12953" y="1049"/>
                </a:lnTo>
                <a:lnTo>
                  <a:pt x="12950" y="1044"/>
                </a:lnTo>
                <a:lnTo>
                  <a:pt x="12947" y="1041"/>
                </a:lnTo>
                <a:lnTo>
                  <a:pt x="12944" y="1037"/>
                </a:lnTo>
                <a:lnTo>
                  <a:pt x="12939" y="1034"/>
                </a:lnTo>
                <a:lnTo>
                  <a:pt x="12935" y="1031"/>
                </a:lnTo>
                <a:lnTo>
                  <a:pt x="12929" y="1029"/>
                </a:lnTo>
                <a:lnTo>
                  <a:pt x="12924" y="1028"/>
                </a:lnTo>
                <a:lnTo>
                  <a:pt x="12916" y="1027"/>
                </a:lnTo>
                <a:lnTo>
                  <a:pt x="12909" y="1025"/>
                </a:lnTo>
                <a:lnTo>
                  <a:pt x="12901" y="1025"/>
                </a:lnTo>
                <a:lnTo>
                  <a:pt x="12800" y="1025"/>
                </a:lnTo>
                <a:lnTo>
                  <a:pt x="12800" y="1143"/>
                </a:lnTo>
                <a:close/>
                <a:moveTo>
                  <a:pt x="12800" y="935"/>
                </a:moveTo>
                <a:lnTo>
                  <a:pt x="12893" y="935"/>
                </a:lnTo>
                <a:lnTo>
                  <a:pt x="12907" y="935"/>
                </a:lnTo>
                <a:lnTo>
                  <a:pt x="12918" y="933"/>
                </a:lnTo>
                <a:lnTo>
                  <a:pt x="12928" y="929"/>
                </a:lnTo>
                <a:lnTo>
                  <a:pt x="12936" y="925"/>
                </a:lnTo>
                <a:lnTo>
                  <a:pt x="12939" y="921"/>
                </a:lnTo>
                <a:lnTo>
                  <a:pt x="12941" y="917"/>
                </a:lnTo>
                <a:lnTo>
                  <a:pt x="12944" y="913"/>
                </a:lnTo>
                <a:lnTo>
                  <a:pt x="12946" y="908"/>
                </a:lnTo>
                <a:lnTo>
                  <a:pt x="12949" y="898"/>
                </a:lnTo>
                <a:lnTo>
                  <a:pt x="12949" y="884"/>
                </a:lnTo>
                <a:lnTo>
                  <a:pt x="12949" y="873"/>
                </a:lnTo>
                <a:lnTo>
                  <a:pt x="12947" y="863"/>
                </a:lnTo>
                <a:lnTo>
                  <a:pt x="12945" y="854"/>
                </a:lnTo>
                <a:lnTo>
                  <a:pt x="12940" y="846"/>
                </a:lnTo>
                <a:lnTo>
                  <a:pt x="12938" y="841"/>
                </a:lnTo>
                <a:lnTo>
                  <a:pt x="12934" y="837"/>
                </a:lnTo>
                <a:lnTo>
                  <a:pt x="12930" y="835"/>
                </a:lnTo>
                <a:lnTo>
                  <a:pt x="12925" y="832"/>
                </a:lnTo>
                <a:lnTo>
                  <a:pt x="12918" y="830"/>
                </a:lnTo>
                <a:lnTo>
                  <a:pt x="12911" y="829"/>
                </a:lnTo>
                <a:lnTo>
                  <a:pt x="12902" y="828"/>
                </a:lnTo>
                <a:lnTo>
                  <a:pt x="12893" y="828"/>
                </a:lnTo>
                <a:lnTo>
                  <a:pt x="12800" y="828"/>
                </a:lnTo>
                <a:lnTo>
                  <a:pt x="12800" y="935"/>
                </a:lnTo>
                <a:close/>
                <a:moveTo>
                  <a:pt x="12620" y="1256"/>
                </a:moveTo>
                <a:lnTo>
                  <a:pt x="12620" y="731"/>
                </a:lnTo>
                <a:lnTo>
                  <a:pt x="12927" y="731"/>
                </a:lnTo>
                <a:lnTo>
                  <a:pt x="12954" y="732"/>
                </a:lnTo>
                <a:lnTo>
                  <a:pt x="12978" y="734"/>
                </a:lnTo>
                <a:lnTo>
                  <a:pt x="12999" y="737"/>
                </a:lnTo>
                <a:lnTo>
                  <a:pt x="13017" y="743"/>
                </a:lnTo>
                <a:lnTo>
                  <a:pt x="13025" y="746"/>
                </a:lnTo>
                <a:lnTo>
                  <a:pt x="13034" y="749"/>
                </a:lnTo>
                <a:lnTo>
                  <a:pt x="13042" y="753"/>
                </a:lnTo>
                <a:lnTo>
                  <a:pt x="13050" y="758"/>
                </a:lnTo>
                <a:lnTo>
                  <a:pt x="13057" y="764"/>
                </a:lnTo>
                <a:lnTo>
                  <a:pt x="13064" y="771"/>
                </a:lnTo>
                <a:lnTo>
                  <a:pt x="13072" y="778"/>
                </a:lnTo>
                <a:lnTo>
                  <a:pt x="13078" y="786"/>
                </a:lnTo>
                <a:lnTo>
                  <a:pt x="13084" y="795"/>
                </a:lnTo>
                <a:lnTo>
                  <a:pt x="13090" y="804"/>
                </a:lnTo>
                <a:lnTo>
                  <a:pt x="13095" y="813"/>
                </a:lnTo>
                <a:lnTo>
                  <a:pt x="13098" y="823"/>
                </a:lnTo>
                <a:lnTo>
                  <a:pt x="13101" y="833"/>
                </a:lnTo>
                <a:lnTo>
                  <a:pt x="13103" y="843"/>
                </a:lnTo>
                <a:lnTo>
                  <a:pt x="13104" y="854"/>
                </a:lnTo>
                <a:lnTo>
                  <a:pt x="13105" y="865"/>
                </a:lnTo>
                <a:lnTo>
                  <a:pt x="13104" y="874"/>
                </a:lnTo>
                <a:lnTo>
                  <a:pt x="13103" y="883"/>
                </a:lnTo>
                <a:lnTo>
                  <a:pt x="13102" y="891"/>
                </a:lnTo>
                <a:lnTo>
                  <a:pt x="13100" y="900"/>
                </a:lnTo>
                <a:lnTo>
                  <a:pt x="13097" y="907"/>
                </a:lnTo>
                <a:lnTo>
                  <a:pt x="13094" y="914"/>
                </a:lnTo>
                <a:lnTo>
                  <a:pt x="13091" y="921"/>
                </a:lnTo>
                <a:lnTo>
                  <a:pt x="13085" y="929"/>
                </a:lnTo>
                <a:lnTo>
                  <a:pt x="13081" y="936"/>
                </a:lnTo>
                <a:lnTo>
                  <a:pt x="13075" y="942"/>
                </a:lnTo>
                <a:lnTo>
                  <a:pt x="13069" y="949"/>
                </a:lnTo>
                <a:lnTo>
                  <a:pt x="13062" y="955"/>
                </a:lnTo>
                <a:lnTo>
                  <a:pt x="13055" y="961"/>
                </a:lnTo>
                <a:lnTo>
                  <a:pt x="13046" y="966"/>
                </a:lnTo>
                <a:lnTo>
                  <a:pt x="13038" y="971"/>
                </a:lnTo>
                <a:lnTo>
                  <a:pt x="13030" y="977"/>
                </a:lnTo>
                <a:lnTo>
                  <a:pt x="13040" y="982"/>
                </a:lnTo>
                <a:lnTo>
                  <a:pt x="13051" y="987"/>
                </a:lnTo>
                <a:lnTo>
                  <a:pt x="13061" y="992"/>
                </a:lnTo>
                <a:lnTo>
                  <a:pt x="13070" y="998"/>
                </a:lnTo>
                <a:lnTo>
                  <a:pt x="13078" y="1006"/>
                </a:lnTo>
                <a:lnTo>
                  <a:pt x="13085" y="1012"/>
                </a:lnTo>
                <a:lnTo>
                  <a:pt x="13093" y="1019"/>
                </a:lnTo>
                <a:lnTo>
                  <a:pt x="13099" y="1028"/>
                </a:lnTo>
                <a:lnTo>
                  <a:pt x="13104" y="1036"/>
                </a:lnTo>
                <a:lnTo>
                  <a:pt x="13109" y="1044"/>
                </a:lnTo>
                <a:lnTo>
                  <a:pt x="13113" y="1053"/>
                </a:lnTo>
                <a:lnTo>
                  <a:pt x="13116" y="1062"/>
                </a:lnTo>
                <a:lnTo>
                  <a:pt x="13119" y="1071"/>
                </a:lnTo>
                <a:lnTo>
                  <a:pt x="13121" y="1082"/>
                </a:lnTo>
                <a:lnTo>
                  <a:pt x="13122" y="1092"/>
                </a:lnTo>
                <a:lnTo>
                  <a:pt x="13122" y="1102"/>
                </a:lnTo>
                <a:lnTo>
                  <a:pt x="13121" y="1119"/>
                </a:lnTo>
                <a:lnTo>
                  <a:pt x="13119" y="1135"/>
                </a:lnTo>
                <a:lnTo>
                  <a:pt x="13116" y="1150"/>
                </a:lnTo>
                <a:lnTo>
                  <a:pt x="13111" y="1164"/>
                </a:lnTo>
                <a:lnTo>
                  <a:pt x="13104" y="1177"/>
                </a:lnTo>
                <a:lnTo>
                  <a:pt x="13097" y="1191"/>
                </a:lnTo>
                <a:lnTo>
                  <a:pt x="13087" y="1202"/>
                </a:lnTo>
                <a:lnTo>
                  <a:pt x="13077" y="1214"/>
                </a:lnTo>
                <a:lnTo>
                  <a:pt x="13064" y="1223"/>
                </a:lnTo>
                <a:lnTo>
                  <a:pt x="13052" y="1232"/>
                </a:lnTo>
                <a:lnTo>
                  <a:pt x="13037" y="1240"/>
                </a:lnTo>
                <a:lnTo>
                  <a:pt x="13022" y="1246"/>
                </a:lnTo>
                <a:lnTo>
                  <a:pt x="13006" y="1250"/>
                </a:lnTo>
                <a:lnTo>
                  <a:pt x="12989" y="1254"/>
                </a:lnTo>
                <a:lnTo>
                  <a:pt x="12970" y="1256"/>
                </a:lnTo>
                <a:lnTo>
                  <a:pt x="12950" y="1256"/>
                </a:lnTo>
                <a:lnTo>
                  <a:pt x="12620" y="1256"/>
                </a:lnTo>
                <a:close/>
                <a:moveTo>
                  <a:pt x="12227" y="937"/>
                </a:moveTo>
                <a:lnTo>
                  <a:pt x="12255" y="937"/>
                </a:lnTo>
                <a:lnTo>
                  <a:pt x="12277" y="937"/>
                </a:lnTo>
                <a:lnTo>
                  <a:pt x="12294" y="936"/>
                </a:lnTo>
                <a:lnTo>
                  <a:pt x="12305" y="935"/>
                </a:lnTo>
                <a:lnTo>
                  <a:pt x="12314" y="933"/>
                </a:lnTo>
                <a:lnTo>
                  <a:pt x="12321" y="930"/>
                </a:lnTo>
                <a:lnTo>
                  <a:pt x="12328" y="925"/>
                </a:lnTo>
                <a:lnTo>
                  <a:pt x="12335" y="919"/>
                </a:lnTo>
                <a:lnTo>
                  <a:pt x="12337" y="915"/>
                </a:lnTo>
                <a:lnTo>
                  <a:pt x="12340" y="912"/>
                </a:lnTo>
                <a:lnTo>
                  <a:pt x="12342" y="908"/>
                </a:lnTo>
                <a:lnTo>
                  <a:pt x="12343" y="903"/>
                </a:lnTo>
                <a:lnTo>
                  <a:pt x="12345" y="892"/>
                </a:lnTo>
                <a:lnTo>
                  <a:pt x="12346" y="880"/>
                </a:lnTo>
                <a:lnTo>
                  <a:pt x="12345" y="864"/>
                </a:lnTo>
                <a:lnTo>
                  <a:pt x="12343" y="852"/>
                </a:lnTo>
                <a:lnTo>
                  <a:pt x="12341" y="846"/>
                </a:lnTo>
                <a:lnTo>
                  <a:pt x="12339" y="840"/>
                </a:lnTo>
                <a:lnTo>
                  <a:pt x="12336" y="835"/>
                </a:lnTo>
                <a:lnTo>
                  <a:pt x="12332" y="831"/>
                </a:lnTo>
                <a:lnTo>
                  <a:pt x="12328" y="828"/>
                </a:lnTo>
                <a:lnTo>
                  <a:pt x="12324" y="825"/>
                </a:lnTo>
                <a:lnTo>
                  <a:pt x="12320" y="822"/>
                </a:lnTo>
                <a:lnTo>
                  <a:pt x="12315" y="820"/>
                </a:lnTo>
                <a:lnTo>
                  <a:pt x="12309" y="817"/>
                </a:lnTo>
                <a:lnTo>
                  <a:pt x="12304" y="816"/>
                </a:lnTo>
                <a:lnTo>
                  <a:pt x="12297" y="815"/>
                </a:lnTo>
                <a:lnTo>
                  <a:pt x="12290" y="815"/>
                </a:lnTo>
                <a:lnTo>
                  <a:pt x="12284" y="815"/>
                </a:lnTo>
                <a:lnTo>
                  <a:pt x="12279" y="816"/>
                </a:lnTo>
                <a:lnTo>
                  <a:pt x="12273" y="817"/>
                </a:lnTo>
                <a:lnTo>
                  <a:pt x="12267" y="820"/>
                </a:lnTo>
                <a:lnTo>
                  <a:pt x="12262" y="823"/>
                </a:lnTo>
                <a:lnTo>
                  <a:pt x="12258" y="826"/>
                </a:lnTo>
                <a:lnTo>
                  <a:pt x="12253" y="830"/>
                </a:lnTo>
                <a:lnTo>
                  <a:pt x="12248" y="834"/>
                </a:lnTo>
                <a:lnTo>
                  <a:pt x="12245" y="839"/>
                </a:lnTo>
                <a:lnTo>
                  <a:pt x="12241" y="845"/>
                </a:lnTo>
                <a:lnTo>
                  <a:pt x="12238" y="851"/>
                </a:lnTo>
                <a:lnTo>
                  <a:pt x="12235" y="857"/>
                </a:lnTo>
                <a:lnTo>
                  <a:pt x="12230" y="873"/>
                </a:lnTo>
                <a:lnTo>
                  <a:pt x="12225" y="890"/>
                </a:lnTo>
                <a:lnTo>
                  <a:pt x="12076" y="865"/>
                </a:lnTo>
                <a:lnTo>
                  <a:pt x="12080" y="848"/>
                </a:lnTo>
                <a:lnTo>
                  <a:pt x="12086" y="831"/>
                </a:lnTo>
                <a:lnTo>
                  <a:pt x="12093" y="815"/>
                </a:lnTo>
                <a:lnTo>
                  <a:pt x="12101" y="801"/>
                </a:lnTo>
                <a:lnTo>
                  <a:pt x="12111" y="788"/>
                </a:lnTo>
                <a:lnTo>
                  <a:pt x="12121" y="776"/>
                </a:lnTo>
                <a:lnTo>
                  <a:pt x="12134" y="765"/>
                </a:lnTo>
                <a:lnTo>
                  <a:pt x="12148" y="755"/>
                </a:lnTo>
                <a:lnTo>
                  <a:pt x="12162" y="747"/>
                </a:lnTo>
                <a:lnTo>
                  <a:pt x="12178" y="739"/>
                </a:lnTo>
                <a:lnTo>
                  <a:pt x="12195" y="733"/>
                </a:lnTo>
                <a:lnTo>
                  <a:pt x="12214" y="728"/>
                </a:lnTo>
                <a:lnTo>
                  <a:pt x="12234" y="724"/>
                </a:lnTo>
                <a:lnTo>
                  <a:pt x="12255" y="721"/>
                </a:lnTo>
                <a:lnTo>
                  <a:pt x="12278" y="719"/>
                </a:lnTo>
                <a:lnTo>
                  <a:pt x="12301" y="719"/>
                </a:lnTo>
                <a:lnTo>
                  <a:pt x="12327" y="720"/>
                </a:lnTo>
                <a:lnTo>
                  <a:pt x="12352" y="722"/>
                </a:lnTo>
                <a:lnTo>
                  <a:pt x="12374" y="725"/>
                </a:lnTo>
                <a:lnTo>
                  <a:pt x="12397" y="730"/>
                </a:lnTo>
                <a:lnTo>
                  <a:pt x="12415" y="735"/>
                </a:lnTo>
                <a:lnTo>
                  <a:pt x="12433" y="744"/>
                </a:lnTo>
                <a:lnTo>
                  <a:pt x="12450" y="752"/>
                </a:lnTo>
                <a:lnTo>
                  <a:pt x="12464" y="762"/>
                </a:lnTo>
                <a:lnTo>
                  <a:pt x="12477" y="774"/>
                </a:lnTo>
                <a:lnTo>
                  <a:pt x="12488" y="785"/>
                </a:lnTo>
                <a:lnTo>
                  <a:pt x="12497" y="798"/>
                </a:lnTo>
                <a:lnTo>
                  <a:pt x="12506" y="811"/>
                </a:lnTo>
                <a:lnTo>
                  <a:pt x="12512" y="825"/>
                </a:lnTo>
                <a:lnTo>
                  <a:pt x="12516" y="838"/>
                </a:lnTo>
                <a:lnTo>
                  <a:pt x="12518" y="853"/>
                </a:lnTo>
                <a:lnTo>
                  <a:pt x="12519" y="868"/>
                </a:lnTo>
                <a:lnTo>
                  <a:pt x="12519" y="878"/>
                </a:lnTo>
                <a:lnTo>
                  <a:pt x="12518" y="886"/>
                </a:lnTo>
                <a:lnTo>
                  <a:pt x="12516" y="894"/>
                </a:lnTo>
                <a:lnTo>
                  <a:pt x="12514" y="903"/>
                </a:lnTo>
                <a:lnTo>
                  <a:pt x="12512" y="911"/>
                </a:lnTo>
                <a:lnTo>
                  <a:pt x="12508" y="918"/>
                </a:lnTo>
                <a:lnTo>
                  <a:pt x="12504" y="926"/>
                </a:lnTo>
                <a:lnTo>
                  <a:pt x="12499" y="933"/>
                </a:lnTo>
                <a:lnTo>
                  <a:pt x="12494" y="940"/>
                </a:lnTo>
                <a:lnTo>
                  <a:pt x="12488" y="946"/>
                </a:lnTo>
                <a:lnTo>
                  <a:pt x="12482" y="953"/>
                </a:lnTo>
                <a:lnTo>
                  <a:pt x="12474" y="959"/>
                </a:lnTo>
                <a:lnTo>
                  <a:pt x="12466" y="965"/>
                </a:lnTo>
                <a:lnTo>
                  <a:pt x="12457" y="970"/>
                </a:lnTo>
                <a:lnTo>
                  <a:pt x="12449" y="976"/>
                </a:lnTo>
                <a:lnTo>
                  <a:pt x="12439" y="981"/>
                </a:lnTo>
                <a:lnTo>
                  <a:pt x="12450" y="986"/>
                </a:lnTo>
                <a:lnTo>
                  <a:pt x="12462" y="991"/>
                </a:lnTo>
                <a:lnTo>
                  <a:pt x="12471" y="997"/>
                </a:lnTo>
                <a:lnTo>
                  <a:pt x="12481" y="1004"/>
                </a:lnTo>
                <a:lnTo>
                  <a:pt x="12489" y="1010"/>
                </a:lnTo>
                <a:lnTo>
                  <a:pt x="12497" y="1016"/>
                </a:lnTo>
                <a:lnTo>
                  <a:pt x="12505" y="1023"/>
                </a:lnTo>
                <a:lnTo>
                  <a:pt x="12511" y="1031"/>
                </a:lnTo>
                <a:lnTo>
                  <a:pt x="12516" y="1039"/>
                </a:lnTo>
                <a:lnTo>
                  <a:pt x="12521" y="1047"/>
                </a:lnTo>
                <a:lnTo>
                  <a:pt x="12526" y="1056"/>
                </a:lnTo>
                <a:lnTo>
                  <a:pt x="12529" y="1064"/>
                </a:lnTo>
                <a:lnTo>
                  <a:pt x="12531" y="1073"/>
                </a:lnTo>
                <a:lnTo>
                  <a:pt x="12533" y="1083"/>
                </a:lnTo>
                <a:lnTo>
                  <a:pt x="12534" y="1093"/>
                </a:lnTo>
                <a:lnTo>
                  <a:pt x="12534" y="1104"/>
                </a:lnTo>
                <a:lnTo>
                  <a:pt x="12534" y="1119"/>
                </a:lnTo>
                <a:lnTo>
                  <a:pt x="12531" y="1136"/>
                </a:lnTo>
                <a:lnTo>
                  <a:pt x="12527" y="1150"/>
                </a:lnTo>
                <a:lnTo>
                  <a:pt x="12521" y="1166"/>
                </a:lnTo>
                <a:lnTo>
                  <a:pt x="12513" y="1179"/>
                </a:lnTo>
                <a:lnTo>
                  <a:pt x="12505" y="1194"/>
                </a:lnTo>
                <a:lnTo>
                  <a:pt x="12493" y="1206"/>
                </a:lnTo>
                <a:lnTo>
                  <a:pt x="12481" y="1220"/>
                </a:lnTo>
                <a:lnTo>
                  <a:pt x="12474" y="1225"/>
                </a:lnTo>
                <a:lnTo>
                  <a:pt x="12466" y="1231"/>
                </a:lnTo>
                <a:lnTo>
                  <a:pt x="12458" y="1237"/>
                </a:lnTo>
                <a:lnTo>
                  <a:pt x="12450" y="1242"/>
                </a:lnTo>
                <a:lnTo>
                  <a:pt x="12441" y="1246"/>
                </a:lnTo>
                <a:lnTo>
                  <a:pt x="12431" y="1250"/>
                </a:lnTo>
                <a:lnTo>
                  <a:pt x="12421" y="1253"/>
                </a:lnTo>
                <a:lnTo>
                  <a:pt x="12409" y="1256"/>
                </a:lnTo>
                <a:lnTo>
                  <a:pt x="12386" y="1263"/>
                </a:lnTo>
                <a:lnTo>
                  <a:pt x="12361" y="1267"/>
                </a:lnTo>
                <a:lnTo>
                  <a:pt x="12332" y="1269"/>
                </a:lnTo>
                <a:lnTo>
                  <a:pt x="12303" y="1270"/>
                </a:lnTo>
                <a:lnTo>
                  <a:pt x="12283" y="1269"/>
                </a:lnTo>
                <a:lnTo>
                  <a:pt x="12264" y="1268"/>
                </a:lnTo>
                <a:lnTo>
                  <a:pt x="12245" y="1266"/>
                </a:lnTo>
                <a:lnTo>
                  <a:pt x="12227" y="1263"/>
                </a:lnTo>
                <a:lnTo>
                  <a:pt x="12211" y="1258"/>
                </a:lnTo>
                <a:lnTo>
                  <a:pt x="12195" y="1254"/>
                </a:lnTo>
                <a:lnTo>
                  <a:pt x="12179" y="1248"/>
                </a:lnTo>
                <a:lnTo>
                  <a:pt x="12164" y="1242"/>
                </a:lnTo>
                <a:lnTo>
                  <a:pt x="12157" y="1238"/>
                </a:lnTo>
                <a:lnTo>
                  <a:pt x="12150" y="1234"/>
                </a:lnTo>
                <a:lnTo>
                  <a:pt x="12142" y="1228"/>
                </a:lnTo>
                <a:lnTo>
                  <a:pt x="12136" y="1223"/>
                </a:lnTo>
                <a:lnTo>
                  <a:pt x="12122" y="1211"/>
                </a:lnTo>
                <a:lnTo>
                  <a:pt x="12110" y="1196"/>
                </a:lnTo>
                <a:lnTo>
                  <a:pt x="12097" y="1178"/>
                </a:lnTo>
                <a:lnTo>
                  <a:pt x="12086" y="1160"/>
                </a:lnTo>
                <a:lnTo>
                  <a:pt x="12074" y="1138"/>
                </a:lnTo>
                <a:lnTo>
                  <a:pt x="12063" y="1114"/>
                </a:lnTo>
                <a:lnTo>
                  <a:pt x="12208" y="1091"/>
                </a:lnTo>
                <a:lnTo>
                  <a:pt x="12215" y="1110"/>
                </a:lnTo>
                <a:lnTo>
                  <a:pt x="12223" y="1126"/>
                </a:lnTo>
                <a:lnTo>
                  <a:pt x="12227" y="1134"/>
                </a:lnTo>
                <a:lnTo>
                  <a:pt x="12233" y="1140"/>
                </a:lnTo>
                <a:lnTo>
                  <a:pt x="12238" y="1146"/>
                </a:lnTo>
                <a:lnTo>
                  <a:pt x="12243" y="1151"/>
                </a:lnTo>
                <a:lnTo>
                  <a:pt x="12248" y="1156"/>
                </a:lnTo>
                <a:lnTo>
                  <a:pt x="12255" y="1160"/>
                </a:lnTo>
                <a:lnTo>
                  <a:pt x="12261" y="1163"/>
                </a:lnTo>
                <a:lnTo>
                  <a:pt x="12267" y="1166"/>
                </a:lnTo>
                <a:lnTo>
                  <a:pt x="12274" y="1168"/>
                </a:lnTo>
                <a:lnTo>
                  <a:pt x="12281" y="1170"/>
                </a:lnTo>
                <a:lnTo>
                  <a:pt x="12288" y="1170"/>
                </a:lnTo>
                <a:lnTo>
                  <a:pt x="12296" y="1171"/>
                </a:lnTo>
                <a:lnTo>
                  <a:pt x="12303" y="1170"/>
                </a:lnTo>
                <a:lnTo>
                  <a:pt x="12309" y="1170"/>
                </a:lnTo>
                <a:lnTo>
                  <a:pt x="12316" y="1168"/>
                </a:lnTo>
                <a:lnTo>
                  <a:pt x="12322" y="1166"/>
                </a:lnTo>
                <a:lnTo>
                  <a:pt x="12327" y="1164"/>
                </a:lnTo>
                <a:lnTo>
                  <a:pt x="12332" y="1161"/>
                </a:lnTo>
                <a:lnTo>
                  <a:pt x="12338" y="1157"/>
                </a:lnTo>
                <a:lnTo>
                  <a:pt x="12343" y="1152"/>
                </a:lnTo>
                <a:lnTo>
                  <a:pt x="12347" y="1147"/>
                </a:lnTo>
                <a:lnTo>
                  <a:pt x="12350" y="1142"/>
                </a:lnTo>
                <a:lnTo>
                  <a:pt x="12355" y="1136"/>
                </a:lnTo>
                <a:lnTo>
                  <a:pt x="12357" y="1130"/>
                </a:lnTo>
                <a:lnTo>
                  <a:pt x="12359" y="1122"/>
                </a:lnTo>
                <a:lnTo>
                  <a:pt x="12360" y="1115"/>
                </a:lnTo>
                <a:lnTo>
                  <a:pt x="12361" y="1107"/>
                </a:lnTo>
                <a:lnTo>
                  <a:pt x="12362" y="1098"/>
                </a:lnTo>
                <a:lnTo>
                  <a:pt x="12361" y="1086"/>
                </a:lnTo>
                <a:lnTo>
                  <a:pt x="12358" y="1075"/>
                </a:lnTo>
                <a:lnTo>
                  <a:pt x="12356" y="1070"/>
                </a:lnTo>
                <a:lnTo>
                  <a:pt x="12353" y="1066"/>
                </a:lnTo>
                <a:lnTo>
                  <a:pt x="12350" y="1062"/>
                </a:lnTo>
                <a:lnTo>
                  <a:pt x="12347" y="1058"/>
                </a:lnTo>
                <a:lnTo>
                  <a:pt x="12340" y="1051"/>
                </a:lnTo>
                <a:lnTo>
                  <a:pt x="12331" y="1047"/>
                </a:lnTo>
                <a:lnTo>
                  <a:pt x="12322" y="1044"/>
                </a:lnTo>
                <a:lnTo>
                  <a:pt x="12313" y="1042"/>
                </a:lnTo>
                <a:lnTo>
                  <a:pt x="12299" y="1041"/>
                </a:lnTo>
                <a:lnTo>
                  <a:pt x="12280" y="1041"/>
                </a:lnTo>
                <a:lnTo>
                  <a:pt x="12257" y="1040"/>
                </a:lnTo>
                <a:lnTo>
                  <a:pt x="12227" y="1040"/>
                </a:lnTo>
                <a:lnTo>
                  <a:pt x="12227" y="937"/>
                </a:lnTo>
                <a:close/>
                <a:moveTo>
                  <a:pt x="11831" y="1006"/>
                </a:moveTo>
                <a:lnTo>
                  <a:pt x="11813" y="1008"/>
                </a:lnTo>
                <a:lnTo>
                  <a:pt x="11796" y="1010"/>
                </a:lnTo>
                <a:lnTo>
                  <a:pt x="11780" y="1013"/>
                </a:lnTo>
                <a:lnTo>
                  <a:pt x="11767" y="1017"/>
                </a:lnTo>
                <a:lnTo>
                  <a:pt x="11754" y="1020"/>
                </a:lnTo>
                <a:lnTo>
                  <a:pt x="11742" y="1024"/>
                </a:lnTo>
                <a:lnTo>
                  <a:pt x="11732" y="1030"/>
                </a:lnTo>
                <a:lnTo>
                  <a:pt x="11723" y="1035"/>
                </a:lnTo>
                <a:lnTo>
                  <a:pt x="11716" y="1040"/>
                </a:lnTo>
                <a:lnTo>
                  <a:pt x="11710" y="1047"/>
                </a:lnTo>
                <a:lnTo>
                  <a:pt x="11705" y="1055"/>
                </a:lnTo>
                <a:lnTo>
                  <a:pt x="11699" y="1063"/>
                </a:lnTo>
                <a:lnTo>
                  <a:pt x="11696" y="1072"/>
                </a:lnTo>
                <a:lnTo>
                  <a:pt x="11694" y="1083"/>
                </a:lnTo>
                <a:lnTo>
                  <a:pt x="11692" y="1094"/>
                </a:lnTo>
                <a:lnTo>
                  <a:pt x="11692" y="1106"/>
                </a:lnTo>
                <a:lnTo>
                  <a:pt x="11693" y="1121"/>
                </a:lnTo>
                <a:lnTo>
                  <a:pt x="11695" y="1136"/>
                </a:lnTo>
                <a:lnTo>
                  <a:pt x="11697" y="1141"/>
                </a:lnTo>
                <a:lnTo>
                  <a:pt x="11699" y="1147"/>
                </a:lnTo>
                <a:lnTo>
                  <a:pt x="11702" y="1151"/>
                </a:lnTo>
                <a:lnTo>
                  <a:pt x="11706" y="1157"/>
                </a:lnTo>
                <a:lnTo>
                  <a:pt x="11710" y="1161"/>
                </a:lnTo>
                <a:lnTo>
                  <a:pt x="11714" y="1164"/>
                </a:lnTo>
                <a:lnTo>
                  <a:pt x="11719" y="1167"/>
                </a:lnTo>
                <a:lnTo>
                  <a:pt x="11723" y="1169"/>
                </a:lnTo>
                <a:lnTo>
                  <a:pt x="11730" y="1171"/>
                </a:lnTo>
                <a:lnTo>
                  <a:pt x="11735" y="1172"/>
                </a:lnTo>
                <a:lnTo>
                  <a:pt x="11742" y="1173"/>
                </a:lnTo>
                <a:lnTo>
                  <a:pt x="11749" y="1173"/>
                </a:lnTo>
                <a:lnTo>
                  <a:pt x="11757" y="1172"/>
                </a:lnTo>
                <a:lnTo>
                  <a:pt x="11764" y="1171"/>
                </a:lnTo>
                <a:lnTo>
                  <a:pt x="11772" y="1169"/>
                </a:lnTo>
                <a:lnTo>
                  <a:pt x="11778" y="1166"/>
                </a:lnTo>
                <a:lnTo>
                  <a:pt x="11785" y="1162"/>
                </a:lnTo>
                <a:lnTo>
                  <a:pt x="11792" y="1157"/>
                </a:lnTo>
                <a:lnTo>
                  <a:pt x="11799" y="1150"/>
                </a:lnTo>
                <a:lnTo>
                  <a:pt x="11805" y="1143"/>
                </a:lnTo>
                <a:lnTo>
                  <a:pt x="11811" y="1135"/>
                </a:lnTo>
                <a:lnTo>
                  <a:pt x="11816" y="1124"/>
                </a:lnTo>
                <a:lnTo>
                  <a:pt x="11820" y="1113"/>
                </a:lnTo>
                <a:lnTo>
                  <a:pt x="11824" y="1100"/>
                </a:lnTo>
                <a:lnTo>
                  <a:pt x="11826" y="1086"/>
                </a:lnTo>
                <a:lnTo>
                  <a:pt x="11828" y="1069"/>
                </a:lnTo>
                <a:lnTo>
                  <a:pt x="11830" y="1051"/>
                </a:lnTo>
                <a:lnTo>
                  <a:pt x="11831" y="1032"/>
                </a:lnTo>
                <a:lnTo>
                  <a:pt x="11831" y="1006"/>
                </a:lnTo>
                <a:close/>
                <a:moveTo>
                  <a:pt x="11698" y="897"/>
                </a:moveTo>
                <a:lnTo>
                  <a:pt x="11539" y="883"/>
                </a:lnTo>
                <a:lnTo>
                  <a:pt x="11542" y="864"/>
                </a:lnTo>
                <a:lnTo>
                  <a:pt x="11547" y="846"/>
                </a:lnTo>
                <a:lnTo>
                  <a:pt x="11554" y="829"/>
                </a:lnTo>
                <a:lnTo>
                  <a:pt x="11564" y="813"/>
                </a:lnTo>
                <a:lnTo>
                  <a:pt x="11574" y="799"/>
                </a:lnTo>
                <a:lnTo>
                  <a:pt x="11586" y="785"/>
                </a:lnTo>
                <a:lnTo>
                  <a:pt x="11601" y="773"/>
                </a:lnTo>
                <a:lnTo>
                  <a:pt x="11616" y="761"/>
                </a:lnTo>
                <a:lnTo>
                  <a:pt x="11633" y="751"/>
                </a:lnTo>
                <a:lnTo>
                  <a:pt x="11651" y="743"/>
                </a:lnTo>
                <a:lnTo>
                  <a:pt x="11671" y="735"/>
                </a:lnTo>
                <a:lnTo>
                  <a:pt x="11691" y="729"/>
                </a:lnTo>
                <a:lnTo>
                  <a:pt x="11713" y="725"/>
                </a:lnTo>
                <a:lnTo>
                  <a:pt x="11735" y="722"/>
                </a:lnTo>
                <a:lnTo>
                  <a:pt x="11758" y="720"/>
                </a:lnTo>
                <a:lnTo>
                  <a:pt x="11783" y="719"/>
                </a:lnTo>
                <a:lnTo>
                  <a:pt x="11804" y="719"/>
                </a:lnTo>
                <a:lnTo>
                  <a:pt x="11824" y="721"/>
                </a:lnTo>
                <a:lnTo>
                  <a:pt x="11842" y="723"/>
                </a:lnTo>
                <a:lnTo>
                  <a:pt x="11860" y="726"/>
                </a:lnTo>
                <a:lnTo>
                  <a:pt x="11877" y="730"/>
                </a:lnTo>
                <a:lnTo>
                  <a:pt x="11893" y="734"/>
                </a:lnTo>
                <a:lnTo>
                  <a:pt x="11907" y="741"/>
                </a:lnTo>
                <a:lnTo>
                  <a:pt x="11920" y="747"/>
                </a:lnTo>
                <a:lnTo>
                  <a:pt x="11932" y="754"/>
                </a:lnTo>
                <a:lnTo>
                  <a:pt x="11944" y="762"/>
                </a:lnTo>
                <a:lnTo>
                  <a:pt x="11953" y="770"/>
                </a:lnTo>
                <a:lnTo>
                  <a:pt x="11962" y="778"/>
                </a:lnTo>
                <a:lnTo>
                  <a:pt x="11970" y="786"/>
                </a:lnTo>
                <a:lnTo>
                  <a:pt x="11977" y="795"/>
                </a:lnTo>
                <a:lnTo>
                  <a:pt x="11982" y="804"/>
                </a:lnTo>
                <a:lnTo>
                  <a:pt x="11985" y="813"/>
                </a:lnTo>
                <a:lnTo>
                  <a:pt x="11988" y="824"/>
                </a:lnTo>
                <a:lnTo>
                  <a:pt x="11991" y="834"/>
                </a:lnTo>
                <a:lnTo>
                  <a:pt x="11993" y="848"/>
                </a:lnTo>
                <a:lnTo>
                  <a:pt x="11995" y="861"/>
                </a:lnTo>
                <a:lnTo>
                  <a:pt x="11998" y="892"/>
                </a:lnTo>
                <a:lnTo>
                  <a:pt x="11999" y="930"/>
                </a:lnTo>
                <a:lnTo>
                  <a:pt x="11999" y="1140"/>
                </a:lnTo>
                <a:lnTo>
                  <a:pt x="12000" y="1184"/>
                </a:lnTo>
                <a:lnTo>
                  <a:pt x="12001" y="1218"/>
                </a:lnTo>
                <a:lnTo>
                  <a:pt x="12003" y="1231"/>
                </a:lnTo>
                <a:lnTo>
                  <a:pt x="12004" y="1242"/>
                </a:lnTo>
                <a:lnTo>
                  <a:pt x="12006" y="1251"/>
                </a:lnTo>
                <a:lnTo>
                  <a:pt x="12008" y="1256"/>
                </a:lnTo>
                <a:lnTo>
                  <a:pt x="11853" y="1256"/>
                </a:lnTo>
                <a:lnTo>
                  <a:pt x="11848" y="1244"/>
                </a:lnTo>
                <a:lnTo>
                  <a:pt x="11846" y="1226"/>
                </a:lnTo>
                <a:lnTo>
                  <a:pt x="11844" y="1203"/>
                </a:lnTo>
                <a:lnTo>
                  <a:pt x="11844" y="1176"/>
                </a:lnTo>
                <a:lnTo>
                  <a:pt x="11837" y="1188"/>
                </a:lnTo>
                <a:lnTo>
                  <a:pt x="11830" y="1198"/>
                </a:lnTo>
                <a:lnTo>
                  <a:pt x="11821" y="1208"/>
                </a:lnTo>
                <a:lnTo>
                  <a:pt x="11813" y="1217"/>
                </a:lnTo>
                <a:lnTo>
                  <a:pt x="11804" y="1225"/>
                </a:lnTo>
                <a:lnTo>
                  <a:pt x="11795" y="1232"/>
                </a:lnTo>
                <a:lnTo>
                  <a:pt x="11784" y="1240"/>
                </a:lnTo>
                <a:lnTo>
                  <a:pt x="11775" y="1246"/>
                </a:lnTo>
                <a:lnTo>
                  <a:pt x="11764" y="1251"/>
                </a:lnTo>
                <a:lnTo>
                  <a:pt x="11753" y="1256"/>
                </a:lnTo>
                <a:lnTo>
                  <a:pt x="11741" y="1261"/>
                </a:lnTo>
                <a:lnTo>
                  <a:pt x="11730" y="1264"/>
                </a:lnTo>
                <a:lnTo>
                  <a:pt x="11717" y="1266"/>
                </a:lnTo>
                <a:lnTo>
                  <a:pt x="11705" y="1268"/>
                </a:lnTo>
                <a:lnTo>
                  <a:pt x="11692" y="1269"/>
                </a:lnTo>
                <a:lnTo>
                  <a:pt x="11678" y="1270"/>
                </a:lnTo>
                <a:lnTo>
                  <a:pt x="11660" y="1269"/>
                </a:lnTo>
                <a:lnTo>
                  <a:pt x="11645" y="1267"/>
                </a:lnTo>
                <a:lnTo>
                  <a:pt x="11629" y="1265"/>
                </a:lnTo>
                <a:lnTo>
                  <a:pt x="11614" y="1261"/>
                </a:lnTo>
                <a:lnTo>
                  <a:pt x="11600" y="1255"/>
                </a:lnTo>
                <a:lnTo>
                  <a:pt x="11587" y="1249"/>
                </a:lnTo>
                <a:lnTo>
                  <a:pt x="11574" y="1241"/>
                </a:lnTo>
                <a:lnTo>
                  <a:pt x="11563" y="1232"/>
                </a:lnTo>
                <a:lnTo>
                  <a:pt x="11552" y="1223"/>
                </a:lnTo>
                <a:lnTo>
                  <a:pt x="11544" y="1212"/>
                </a:lnTo>
                <a:lnTo>
                  <a:pt x="11536" y="1200"/>
                </a:lnTo>
                <a:lnTo>
                  <a:pt x="11530" y="1188"/>
                </a:lnTo>
                <a:lnTo>
                  <a:pt x="11525" y="1173"/>
                </a:lnTo>
                <a:lnTo>
                  <a:pt x="11522" y="1159"/>
                </a:lnTo>
                <a:lnTo>
                  <a:pt x="11520" y="1142"/>
                </a:lnTo>
                <a:lnTo>
                  <a:pt x="11519" y="1125"/>
                </a:lnTo>
                <a:lnTo>
                  <a:pt x="11519" y="1115"/>
                </a:lnTo>
                <a:lnTo>
                  <a:pt x="11520" y="1104"/>
                </a:lnTo>
                <a:lnTo>
                  <a:pt x="11521" y="1094"/>
                </a:lnTo>
                <a:lnTo>
                  <a:pt x="11523" y="1084"/>
                </a:lnTo>
                <a:lnTo>
                  <a:pt x="11525" y="1074"/>
                </a:lnTo>
                <a:lnTo>
                  <a:pt x="11528" y="1065"/>
                </a:lnTo>
                <a:lnTo>
                  <a:pt x="11531" y="1056"/>
                </a:lnTo>
                <a:lnTo>
                  <a:pt x="11536" y="1047"/>
                </a:lnTo>
                <a:lnTo>
                  <a:pt x="11540" y="1039"/>
                </a:lnTo>
                <a:lnTo>
                  <a:pt x="11545" y="1031"/>
                </a:lnTo>
                <a:lnTo>
                  <a:pt x="11550" y="1022"/>
                </a:lnTo>
                <a:lnTo>
                  <a:pt x="11557" y="1015"/>
                </a:lnTo>
                <a:lnTo>
                  <a:pt x="11563" y="1008"/>
                </a:lnTo>
                <a:lnTo>
                  <a:pt x="11570" y="1002"/>
                </a:lnTo>
                <a:lnTo>
                  <a:pt x="11578" y="995"/>
                </a:lnTo>
                <a:lnTo>
                  <a:pt x="11586" y="989"/>
                </a:lnTo>
                <a:lnTo>
                  <a:pt x="11594" y="983"/>
                </a:lnTo>
                <a:lnTo>
                  <a:pt x="11605" y="978"/>
                </a:lnTo>
                <a:lnTo>
                  <a:pt x="11615" y="972"/>
                </a:lnTo>
                <a:lnTo>
                  <a:pt x="11626" y="967"/>
                </a:lnTo>
                <a:lnTo>
                  <a:pt x="11638" y="962"/>
                </a:lnTo>
                <a:lnTo>
                  <a:pt x="11652" y="958"/>
                </a:lnTo>
                <a:lnTo>
                  <a:pt x="11666" y="954"/>
                </a:lnTo>
                <a:lnTo>
                  <a:pt x="11680" y="951"/>
                </a:lnTo>
                <a:lnTo>
                  <a:pt x="11713" y="943"/>
                </a:lnTo>
                <a:lnTo>
                  <a:pt x="11749" y="938"/>
                </a:lnTo>
                <a:lnTo>
                  <a:pt x="11788" y="934"/>
                </a:lnTo>
                <a:lnTo>
                  <a:pt x="11831" y="931"/>
                </a:lnTo>
                <a:lnTo>
                  <a:pt x="11831" y="911"/>
                </a:lnTo>
                <a:lnTo>
                  <a:pt x="11830" y="886"/>
                </a:lnTo>
                <a:lnTo>
                  <a:pt x="11827" y="865"/>
                </a:lnTo>
                <a:lnTo>
                  <a:pt x="11825" y="856"/>
                </a:lnTo>
                <a:lnTo>
                  <a:pt x="11823" y="849"/>
                </a:lnTo>
                <a:lnTo>
                  <a:pt x="11821" y="841"/>
                </a:lnTo>
                <a:lnTo>
                  <a:pt x="11818" y="836"/>
                </a:lnTo>
                <a:lnTo>
                  <a:pt x="11815" y="831"/>
                </a:lnTo>
                <a:lnTo>
                  <a:pt x="11811" y="827"/>
                </a:lnTo>
                <a:lnTo>
                  <a:pt x="11805" y="824"/>
                </a:lnTo>
                <a:lnTo>
                  <a:pt x="11799" y="821"/>
                </a:lnTo>
                <a:lnTo>
                  <a:pt x="11793" y="819"/>
                </a:lnTo>
                <a:lnTo>
                  <a:pt x="11786" y="816"/>
                </a:lnTo>
                <a:lnTo>
                  <a:pt x="11778" y="815"/>
                </a:lnTo>
                <a:lnTo>
                  <a:pt x="11770" y="815"/>
                </a:lnTo>
                <a:lnTo>
                  <a:pt x="11762" y="815"/>
                </a:lnTo>
                <a:lnTo>
                  <a:pt x="11755" y="816"/>
                </a:lnTo>
                <a:lnTo>
                  <a:pt x="11748" y="819"/>
                </a:lnTo>
                <a:lnTo>
                  <a:pt x="11741" y="821"/>
                </a:lnTo>
                <a:lnTo>
                  <a:pt x="11735" y="823"/>
                </a:lnTo>
                <a:lnTo>
                  <a:pt x="11730" y="827"/>
                </a:lnTo>
                <a:lnTo>
                  <a:pt x="11725" y="831"/>
                </a:lnTo>
                <a:lnTo>
                  <a:pt x="11719" y="835"/>
                </a:lnTo>
                <a:lnTo>
                  <a:pt x="11715" y="841"/>
                </a:lnTo>
                <a:lnTo>
                  <a:pt x="11712" y="847"/>
                </a:lnTo>
                <a:lnTo>
                  <a:pt x="11708" y="854"/>
                </a:lnTo>
                <a:lnTo>
                  <a:pt x="11706" y="861"/>
                </a:lnTo>
                <a:lnTo>
                  <a:pt x="11702" y="868"/>
                </a:lnTo>
                <a:lnTo>
                  <a:pt x="11700" y="878"/>
                </a:lnTo>
                <a:lnTo>
                  <a:pt x="11699" y="887"/>
                </a:lnTo>
                <a:lnTo>
                  <a:pt x="11698" y="897"/>
                </a:lnTo>
                <a:close/>
                <a:moveTo>
                  <a:pt x="11122" y="662"/>
                </a:moveTo>
                <a:lnTo>
                  <a:pt x="11122" y="874"/>
                </a:lnTo>
                <a:lnTo>
                  <a:pt x="11176" y="874"/>
                </a:lnTo>
                <a:lnTo>
                  <a:pt x="11194" y="873"/>
                </a:lnTo>
                <a:lnTo>
                  <a:pt x="11210" y="872"/>
                </a:lnTo>
                <a:lnTo>
                  <a:pt x="11225" y="869"/>
                </a:lnTo>
                <a:lnTo>
                  <a:pt x="11237" y="865"/>
                </a:lnTo>
                <a:lnTo>
                  <a:pt x="11248" y="861"/>
                </a:lnTo>
                <a:lnTo>
                  <a:pt x="11257" y="856"/>
                </a:lnTo>
                <a:lnTo>
                  <a:pt x="11265" y="851"/>
                </a:lnTo>
                <a:lnTo>
                  <a:pt x="11271" y="843"/>
                </a:lnTo>
                <a:lnTo>
                  <a:pt x="11276" y="836"/>
                </a:lnTo>
                <a:lnTo>
                  <a:pt x="11280" y="828"/>
                </a:lnTo>
                <a:lnTo>
                  <a:pt x="11284" y="819"/>
                </a:lnTo>
                <a:lnTo>
                  <a:pt x="11287" y="809"/>
                </a:lnTo>
                <a:lnTo>
                  <a:pt x="11289" y="800"/>
                </a:lnTo>
                <a:lnTo>
                  <a:pt x="11291" y="789"/>
                </a:lnTo>
                <a:lnTo>
                  <a:pt x="11292" y="778"/>
                </a:lnTo>
                <a:lnTo>
                  <a:pt x="11292" y="767"/>
                </a:lnTo>
                <a:lnTo>
                  <a:pt x="11292" y="757"/>
                </a:lnTo>
                <a:lnTo>
                  <a:pt x="11291" y="748"/>
                </a:lnTo>
                <a:lnTo>
                  <a:pt x="11290" y="738"/>
                </a:lnTo>
                <a:lnTo>
                  <a:pt x="11288" y="730"/>
                </a:lnTo>
                <a:lnTo>
                  <a:pt x="11286" y="723"/>
                </a:lnTo>
                <a:lnTo>
                  <a:pt x="11282" y="716"/>
                </a:lnTo>
                <a:lnTo>
                  <a:pt x="11279" y="708"/>
                </a:lnTo>
                <a:lnTo>
                  <a:pt x="11276" y="702"/>
                </a:lnTo>
                <a:lnTo>
                  <a:pt x="11268" y="691"/>
                </a:lnTo>
                <a:lnTo>
                  <a:pt x="11258" y="681"/>
                </a:lnTo>
                <a:lnTo>
                  <a:pt x="11253" y="678"/>
                </a:lnTo>
                <a:lnTo>
                  <a:pt x="11248" y="675"/>
                </a:lnTo>
                <a:lnTo>
                  <a:pt x="11243" y="672"/>
                </a:lnTo>
                <a:lnTo>
                  <a:pt x="11237" y="670"/>
                </a:lnTo>
                <a:lnTo>
                  <a:pt x="11226" y="667"/>
                </a:lnTo>
                <a:lnTo>
                  <a:pt x="11212" y="665"/>
                </a:lnTo>
                <a:lnTo>
                  <a:pt x="11195" y="664"/>
                </a:lnTo>
                <a:lnTo>
                  <a:pt x="11176" y="662"/>
                </a:lnTo>
                <a:lnTo>
                  <a:pt x="11122" y="662"/>
                </a:lnTo>
                <a:close/>
                <a:moveTo>
                  <a:pt x="10941" y="547"/>
                </a:moveTo>
                <a:lnTo>
                  <a:pt x="11176" y="547"/>
                </a:lnTo>
                <a:lnTo>
                  <a:pt x="11202" y="547"/>
                </a:lnTo>
                <a:lnTo>
                  <a:pt x="11227" y="548"/>
                </a:lnTo>
                <a:lnTo>
                  <a:pt x="11250" y="549"/>
                </a:lnTo>
                <a:lnTo>
                  <a:pt x="11271" y="551"/>
                </a:lnTo>
                <a:lnTo>
                  <a:pt x="11291" y="553"/>
                </a:lnTo>
                <a:lnTo>
                  <a:pt x="11310" y="556"/>
                </a:lnTo>
                <a:lnTo>
                  <a:pt x="11327" y="560"/>
                </a:lnTo>
                <a:lnTo>
                  <a:pt x="11341" y="563"/>
                </a:lnTo>
                <a:lnTo>
                  <a:pt x="11356" y="568"/>
                </a:lnTo>
                <a:lnTo>
                  <a:pt x="11370" y="573"/>
                </a:lnTo>
                <a:lnTo>
                  <a:pt x="11383" y="580"/>
                </a:lnTo>
                <a:lnTo>
                  <a:pt x="11396" y="589"/>
                </a:lnTo>
                <a:lnTo>
                  <a:pt x="11407" y="598"/>
                </a:lnTo>
                <a:lnTo>
                  <a:pt x="11419" y="608"/>
                </a:lnTo>
                <a:lnTo>
                  <a:pt x="11431" y="621"/>
                </a:lnTo>
                <a:lnTo>
                  <a:pt x="11440" y="633"/>
                </a:lnTo>
                <a:lnTo>
                  <a:pt x="11449" y="648"/>
                </a:lnTo>
                <a:lnTo>
                  <a:pt x="11458" y="662"/>
                </a:lnTo>
                <a:lnTo>
                  <a:pt x="11465" y="678"/>
                </a:lnTo>
                <a:lnTo>
                  <a:pt x="11470" y="695"/>
                </a:lnTo>
                <a:lnTo>
                  <a:pt x="11475" y="712"/>
                </a:lnTo>
                <a:lnTo>
                  <a:pt x="11478" y="731"/>
                </a:lnTo>
                <a:lnTo>
                  <a:pt x="11480" y="750"/>
                </a:lnTo>
                <a:lnTo>
                  <a:pt x="11480" y="770"/>
                </a:lnTo>
                <a:lnTo>
                  <a:pt x="11480" y="788"/>
                </a:lnTo>
                <a:lnTo>
                  <a:pt x="11478" y="807"/>
                </a:lnTo>
                <a:lnTo>
                  <a:pt x="11476" y="825"/>
                </a:lnTo>
                <a:lnTo>
                  <a:pt x="11473" y="841"/>
                </a:lnTo>
                <a:lnTo>
                  <a:pt x="11467" y="857"/>
                </a:lnTo>
                <a:lnTo>
                  <a:pt x="11462" y="872"/>
                </a:lnTo>
                <a:lnTo>
                  <a:pt x="11456" y="886"/>
                </a:lnTo>
                <a:lnTo>
                  <a:pt x="11448" y="899"/>
                </a:lnTo>
                <a:lnTo>
                  <a:pt x="11440" y="911"/>
                </a:lnTo>
                <a:lnTo>
                  <a:pt x="11431" y="923"/>
                </a:lnTo>
                <a:lnTo>
                  <a:pt x="11421" y="933"/>
                </a:lnTo>
                <a:lnTo>
                  <a:pt x="11410" y="942"/>
                </a:lnTo>
                <a:lnTo>
                  <a:pt x="11398" y="952"/>
                </a:lnTo>
                <a:lnTo>
                  <a:pt x="11386" y="960"/>
                </a:lnTo>
                <a:lnTo>
                  <a:pt x="11373" y="966"/>
                </a:lnTo>
                <a:lnTo>
                  <a:pt x="11359" y="972"/>
                </a:lnTo>
                <a:lnTo>
                  <a:pt x="11344" y="978"/>
                </a:lnTo>
                <a:lnTo>
                  <a:pt x="11327" y="983"/>
                </a:lnTo>
                <a:lnTo>
                  <a:pt x="11308" y="986"/>
                </a:lnTo>
                <a:lnTo>
                  <a:pt x="11287" y="989"/>
                </a:lnTo>
                <a:lnTo>
                  <a:pt x="11265" y="992"/>
                </a:lnTo>
                <a:lnTo>
                  <a:pt x="11239" y="993"/>
                </a:lnTo>
                <a:lnTo>
                  <a:pt x="11213" y="994"/>
                </a:lnTo>
                <a:lnTo>
                  <a:pt x="11185" y="995"/>
                </a:lnTo>
                <a:lnTo>
                  <a:pt x="11122" y="995"/>
                </a:lnTo>
                <a:lnTo>
                  <a:pt x="11122" y="1256"/>
                </a:lnTo>
                <a:lnTo>
                  <a:pt x="10941" y="1256"/>
                </a:lnTo>
                <a:lnTo>
                  <a:pt x="10941" y="547"/>
                </a:lnTo>
                <a:close/>
                <a:moveTo>
                  <a:pt x="10155" y="731"/>
                </a:moveTo>
                <a:lnTo>
                  <a:pt x="10323" y="731"/>
                </a:lnTo>
                <a:lnTo>
                  <a:pt x="10323" y="932"/>
                </a:lnTo>
                <a:lnTo>
                  <a:pt x="10490" y="731"/>
                </a:lnTo>
                <a:lnTo>
                  <a:pt x="10643" y="731"/>
                </a:lnTo>
                <a:lnTo>
                  <a:pt x="10492" y="908"/>
                </a:lnTo>
                <a:lnTo>
                  <a:pt x="10659" y="1256"/>
                </a:lnTo>
                <a:lnTo>
                  <a:pt x="10477" y="1256"/>
                </a:lnTo>
                <a:lnTo>
                  <a:pt x="10384" y="1014"/>
                </a:lnTo>
                <a:lnTo>
                  <a:pt x="10323" y="1087"/>
                </a:lnTo>
                <a:lnTo>
                  <a:pt x="10323" y="1256"/>
                </a:lnTo>
                <a:lnTo>
                  <a:pt x="10155" y="1256"/>
                </a:lnTo>
                <a:lnTo>
                  <a:pt x="10155" y="731"/>
                </a:lnTo>
                <a:close/>
                <a:moveTo>
                  <a:pt x="9569" y="1256"/>
                </a:moveTo>
                <a:lnTo>
                  <a:pt x="9569" y="731"/>
                </a:lnTo>
                <a:lnTo>
                  <a:pt x="9738" y="731"/>
                </a:lnTo>
                <a:lnTo>
                  <a:pt x="9738" y="920"/>
                </a:lnTo>
                <a:lnTo>
                  <a:pt x="9872" y="920"/>
                </a:lnTo>
                <a:lnTo>
                  <a:pt x="9872" y="731"/>
                </a:lnTo>
                <a:lnTo>
                  <a:pt x="10040" y="731"/>
                </a:lnTo>
                <a:lnTo>
                  <a:pt x="10040" y="1256"/>
                </a:lnTo>
                <a:lnTo>
                  <a:pt x="9872" y="1256"/>
                </a:lnTo>
                <a:lnTo>
                  <a:pt x="9872" y="1034"/>
                </a:lnTo>
                <a:lnTo>
                  <a:pt x="9738" y="1034"/>
                </a:lnTo>
                <a:lnTo>
                  <a:pt x="9738" y="1256"/>
                </a:lnTo>
                <a:lnTo>
                  <a:pt x="9569" y="1256"/>
                </a:lnTo>
                <a:close/>
                <a:moveTo>
                  <a:pt x="9286" y="1006"/>
                </a:moveTo>
                <a:lnTo>
                  <a:pt x="9269" y="1008"/>
                </a:lnTo>
                <a:lnTo>
                  <a:pt x="9252" y="1010"/>
                </a:lnTo>
                <a:lnTo>
                  <a:pt x="9237" y="1013"/>
                </a:lnTo>
                <a:lnTo>
                  <a:pt x="9222" y="1017"/>
                </a:lnTo>
                <a:lnTo>
                  <a:pt x="9210" y="1020"/>
                </a:lnTo>
                <a:lnTo>
                  <a:pt x="9198" y="1024"/>
                </a:lnTo>
                <a:lnTo>
                  <a:pt x="9189" y="1030"/>
                </a:lnTo>
                <a:lnTo>
                  <a:pt x="9180" y="1035"/>
                </a:lnTo>
                <a:lnTo>
                  <a:pt x="9173" y="1040"/>
                </a:lnTo>
                <a:lnTo>
                  <a:pt x="9166" y="1047"/>
                </a:lnTo>
                <a:lnTo>
                  <a:pt x="9160" y="1055"/>
                </a:lnTo>
                <a:lnTo>
                  <a:pt x="9156" y="1063"/>
                </a:lnTo>
                <a:lnTo>
                  <a:pt x="9153" y="1072"/>
                </a:lnTo>
                <a:lnTo>
                  <a:pt x="9150" y="1083"/>
                </a:lnTo>
                <a:lnTo>
                  <a:pt x="9149" y="1094"/>
                </a:lnTo>
                <a:lnTo>
                  <a:pt x="9148" y="1106"/>
                </a:lnTo>
                <a:lnTo>
                  <a:pt x="9149" y="1121"/>
                </a:lnTo>
                <a:lnTo>
                  <a:pt x="9152" y="1136"/>
                </a:lnTo>
                <a:lnTo>
                  <a:pt x="9154" y="1141"/>
                </a:lnTo>
                <a:lnTo>
                  <a:pt x="9156" y="1147"/>
                </a:lnTo>
                <a:lnTo>
                  <a:pt x="9159" y="1151"/>
                </a:lnTo>
                <a:lnTo>
                  <a:pt x="9163" y="1157"/>
                </a:lnTo>
                <a:lnTo>
                  <a:pt x="9167" y="1161"/>
                </a:lnTo>
                <a:lnTo>
                  <a:pt x="9171" y="1164"/>
                </a:lnTo>
                <a:lnTo>
                  <a:pt x="9175" y="1167"/>
                </a:lnTo>
                <a:lnTo>
                  <a:pt x="9180" y="1169"/>
                </a:lnTo>
                <a:lnTo>
                  <a:pt x="9186" y="1171"/>
                </a:lnTo>
                <a:lnTo>
                  <a:pt x="9192" y="1172"/>
                </a:lnTo>
                <a:lnTo>
                  <a:pt x="9198" y="1173"/>
                </a:lnTo>
                <a:lnTo>
                  <a:pt x="9206" y="1173"/>
                </a:lnTo>
                <a:lnTo>
                  <a:pt x="9213" y="1172"/>
                </a:lnTo>
                <a:lnTo>
                  <a:pt x="9220" y="1171"/>
                </a:lnTo>
                <a:lnTo>
                  <a:pt x="9228" y="1169"/>
                </a:lnTo>
                <a:lnTo>
                  <a:pt x="9235" y="1166"/>
                </a:lnTo>
                <a:lnTo>
                  <a:pt x="9241" y="1162"/>
                </a:lnTo>
                <a:lnTo>
                  <a:pt x="9249" y="1157"/>
                </a:lnTo>
                <a:lnTo>
                  <a:pt x="9255" y="1150"/>
                </a:lnTo>
                <a:lnTo>
                  <a:pt x="9261" y="1143"/>
                </a:lnTo>
                <a:lnTo>
                  <a:pt x="9268" y="1135"/>
                </a:lnTo>
                <a:lnTo>
                  <a:pt x="9273" y="1124"/>
                </a:lnTo>
                <a:lnTo>
                  <a:pt x="9277" y="1113"/>
                </a:lnTo>
                <a:lnTo>
                  <a:pt x="9280" y="1100"/>
                </a:lnTo>
                <a:lnTo>
                  <a:pt x="9283" y="1086"/>
                </a:lnTo>
                <a:lnTo>
                  <a:pt x="9285" y="1069"/>
                </a:lnTo>
                <a:lnTo>
                  <a:pt x="9286" y="1051"/>
                </a:lnTo>
                <a:lnTo>
                  <a:pt x="9286" y="1032"/>
                </a:lnTo>
                <a:lnTo>
                  <a:pt x="9286" y="1006"/>
                </a:lnTo>
                <a:close/>
                <a:moveTo>
                  <a:pt x="9155" y="897"/>
                </a:moveTo>
                <a:lnTo>
                  <a:pt x="8995" y="883"/>
                </a:lnTo>
                <a:lnTo>
                  <a:pt x="8999" y="864"/>
                </a:lnTo>
                <a:lnTo>
                  <a:pt x="9004" y="846"/>
                </a:lnTo>
                <a:lnTo>
                  <a:pt x="9011" y="829"/>
                </a:lnTo>
                <a:lnTo>
                  <a:pt x="9020" y="813"/>
                </a:lnTo>
                <a:lnTo>
                  <a:pt x="9030" y="799"/>
                </a:lnTo>
                <a:lnTo>
                  <a:pt x="9043" y="785"/>
                </a:lnTo>
                <a:lnTo>
                  <a:pt x="9056" y="773"/>
                </a:lnTo>
                <a:lnTo>
                  <a:pt x="9072" y="761"/>
                </a:lnTo>
                <a:lnTo>
                  <a:pt x="9090" y="751"/>
                </a:lnTo>
                <a:lnTo>
                  <a:pt x="9108" y="743"/>
                </a:lnTo>
                <a:lnTo>
                  <a:pt x="9127" y="735"/>
                </a:lnTo>
                <a:lnTo>
                  <a:pt x="9148" y="729"/>
                </a:lnTo>
                <a:lnTo>
                  <a:pt x="9169" y="725"/>
                </a:lnTo>
                <a:lnTo>
                  <a:pt x="9191" y="722"/>
                </a:lnTo>
                <a:lnTo>
                  <a:pt x="9215" y="720"/>
                </a:lnTo>
                <a:lnTo>
                  <a:pt x="9240" y="719"/>
                </a:lnTo>
                <a:lnTo>
                  <a:pt x="9260" y="719"/>
                </a:lnTo>
                <a:lnTo>
                  <a:pt x="9280" y="721"/>
                </a:lnTo>
                <a:lnTo>
                  <a:pt x="9299" y="723"/>
                </a:lnTo>
                <a:lnTo>
                  <a:pt x="9317" y="726"/>
                </a:lnTo>
                <a:lnTo>
                  <a:pt x="9334" y="730"/>
                </a:lnTo>
                <a:lnTo>
                  <a:pt x="9348" y="734"/>
                </a:lnTo>
                <a:lnTo>
                  <a:pt x="9363" y="741"/>
                </a:lnTo>
                <a:lnTo>
                  <a:pt x="9377" y="747"/>
                </a:lnTo>
                <a:lnTo>
                  <a:pt x="9389" y="754"/>
                </a:lnTo>
                <a:lnTo>
                  <a:pt x="9400" y="762"/>
                </a:lnTo>
                <a:lnTo>
                  <a:pt x="9410" y="770"/>
                </a:lnTo>
                <a:lnTo>
                  <a:pt x="9419" y="778"/>
                </a:lnTo>
                <a:lnTo>
                  <a:pt x="9426" y="786"/>
                </a:lnTo>
                <a:lnTo>
                  <a:pt x="9432" y="795"/>
                </a:lnTo>
                <a:lnTo>
                  <a:pt x="9438" y="804"/>
                </a:lnTo>
                <a:lnTo>
                  <a:pt x="9442" y="813"/>
                </a:lnTo>
                <a:lnTo>
                  <a:pt x="9445" y="824"/>
                </a:lnTo>
                <a:lnTo>
                  <a:pt x="9448" y="834"/>
                </a:lnTo>
                <a:lnTo>
                  <a:pt x="9450" y="848"/>
                </a:lnTo>
                <a:lnTo>
                  <a:pt x="9452" y="861"/>
                </a:lnTo>
                <a:lnTo>
                  <a:pt x="9454" y="892"/>
                </a:lnTo>
                <a:lnTo>
                  <a:pt x="9455" y="930"/>
                </a:lnTo>
                <a:lnTo>
                  <a:pt x="9455" y="1140"/>
                </a:lnTo>
                <a:lnTo>
                  <a:pt x="9455" y="1184"/>
                </a:lnTo>
                <a:lnTo>
                  <a:pt x="9458" y="1218"/>
                </a:lnTo>
                <a:lnTo>
                  <a:pt x="9459" y="1231"/>
                </a:lnTo>
                <a:lnTo>
                  <a:pt x="9461" y="1242"/>
                </a:lnTo>
                <a:lnTo>
                  <a:pt x="9462" y="1251"/>
                </a:lnTo>
                <a:lnTo>
                  <a:pt x="9464" y="1256"/>
                </a:lnTo>
                <a:lnTo>
                  <a:pt x="9308" y="1256"/>
                </a:lnTo>
                <a:lnTo>
                  <a:pt x="9305" y="1244"/>
                </a:lnTo>
                <a:lnTo>
                  <a:pt x="9302" y="1226"/>
                </a:lnTo>
                <a:lnTo>
                  <a:pt x="9301" y="1203"/>
                </a:lnTo>
                <a:lnTo>
                  <a:pt x="9300" y="1176"/>
                </a:lnTo>
                <a:lnTo>
                  <a:pt x="9294" y="1188"/>
                </a:lnTo>
                <a:lnTo>
                  <a:pt x="9285" y="1198"/>
                </a:lnTo>
                <a:lnTo>
                  <a:pt x="9278" y="1208"/>
                </a:lnTo>
                <a:lnTo>
                  <a:pt x="9270" y="1217"/>
                </a:lnTo>
                <a:lnTo>
                  <a:pt x="9260" y="1225"/>
                </a:lnTo>
                <a:lnTo>
                  <a:pt x="9251" y="1232"/>
                </a:lnTo>
                <a:lnTo>
                  <a:pt x="9241" y="1240"/>
                </a:lnTo>
                <a:lnTo>
                  <a:pt x="9231" y="1246"/>
                </a:lnTo>
                <a:lnTo>
                  <a:pt x="9220" y="1251"/>
                </a:lnTo>
                <a:lnTo>
                  <a:pt x="9210" y="1256"/>
                </a:lnTo>
                <a:lnTo>
                  <a:pt x="9198" y="1261"/>
                </a:lnTo>
                <a:lnTo>
                  <a:pt x="9187" y="1264"/>
                </a:lnTo>
                <a:lnTo>
                  <a:pt x="9174" y="1266"/>
                </a:lnTo>
                <a:lnTo>
                  <a:pt x="9161" y="1268"/>
                </a:lnTo>
                <a:lnTo>
                  <a:pt x="9148" y="1269"/>
                </a:lnTo>
                <a:lnTo>
                  <a:pt x="9134" y="1270"/>
                </a:lnTo>
                <a:lnTo>
                  <a:pt x="9117" y="1269"/>
                </a:lnTo>
                <a:lnTo>
                  <a:pt x="9101" y="1267"/>
                </a:lnTo>
                <a:lnTo>
                  <a:pt x="9085" y="1265"/>
                </a:lnTo>
                <a:lnTo>
                  <a:pt x="9070" y="1261"/>
                </a:lnTo>
                <a:lnTo>
                  <a:pt x="9056" y="1255"/>
                </a:lnTo>
                <a:lnTo>
                  <a:pt x="9044" y="1249"/>
                </a:lnTo>
                <a:lnTo>
                  <a:pt x="9031" y="1241"/>
                </a:lnTo>
                <a:lnTo>
                  <a:pt x="9020" y="1232"/>
                </a:lnTo>
                <a:lnTo>
                  <a:pt x="9009" y="1223"/>
                </a:lnTo>
                <a:lnTo>
                  <a:pt x="9000" y="1212"/>
                </a:lnTo>
                <a:lnTo>
                  <a:pt x="8992" y="1200"/>
                </a:lnTo>
                <a:lnTo>
                  <a:pt x="8986" y="1188"/>
                </a:lnTo>
                <a:lnTo>
                  <a:pt x="8982" y="1173"/>
                </a:lnTo>
                <a:lnTo>
                  <a:pt x="8978" y="1159"/>
                </a:lnTo>
                <a:lnTo>
                  <a:pt x="8976" y="1142"/>
                </a:lnTo>
                <a:lnTo>
                  <a:pt x="8976" y="1125"/>
                </a:lnTo>
                <a:lnTo>
                  <a:pt x="8976" y="1115"/>
                </a:lnTo>
                <a:lnTo>
                  <a:pt x="8977" y="1104"/>
                </a:lnTo>
                <a:lnTo>
                  <a:pt x="8978" y="1094"/>
                </a:lnTo>
                <a:lnTo>
                  <a:pt x="8980" y="1084"/>
                </a:lnTo>
                <a:lnTo>
                  <a:pt x="8982" y="1074"/>
                </a:lnTo>
                <a:lnTo>
                  <a:pt x="8985" y="1065"/>
                </a:lnTo>
                <a:lnTo>
                  <a:pt x="8988" y="1056"/>
                </a:lnTo>
                <a:lnTo>
                  <a:pt x="8992" y="1047"/>
                </a:lnTo>
                <a:lnTo>
                  <a:pt x="8997" y="1039"/>
                </a:lnTo>
                <a:lnTo>
                  <a:pt x="9002" y="1031"/>
                </a:lnTo>
                <a:lnTo>
                  <a:pt x="9007" y="1022"/>
                </a:lnTo>
                <a:lnTo>
                  <a:pt x="9012" y="1015"/>
                </a:lnTo>
                <a:lnTo>
                  <a:pt x="9020" y="1008"/>
                </a:lnTo>
                <a:lnTo>
                  <a:pt x="9026" y="1002"/>
                </a:lnTo>
                <a:lnTo>
                  <a:pt x="9034" y="995"/>
                </a:lnTo>
                <a:lnTo>
                  <a:pt x="9042" y="989"/>
                </a:lnTo>
                <a:lnTo>
                  <a:pt x="9051" y="983"/>
                </a:lnTo>
                <a:lnTo>
                  <a:pt x="9061" y="978"/>
                </a:lnTo>
                <a:lnTo>
                  <a:pt x="9071" y="972"/>
                </a:lnTo>
                <a:lnTo>
                  <a:pt x="9083" y="967"/>
                </a:lnTo>
                <a:lnTo>
                  <a:pt x="9095" y="962"/>
                </a:lnTo>
                <a:lnTo>
                  <a:pt x="9108" y="958"/>
                </a:lnTo>
                <a:lnTo>
                  <a:pt x="9122" y="954"/>
                </a:lnTo>
                <a:lnTo>
                  <a:pt x="9137" y="951"/>
                </a:lnTo>
                <a:lnTo>
                  <a:pt x="9169" y="943"/>
                </a:lnTo>
                <a:lnTo>
                  <a:pt x="9205" y="938"/>
                </a:lnTo>
                <a:lnTo>
                  <a:pt x="9244" y="934"/>
                </a:lnTo>
                <a:lnTo>
                  <a:pt x="9286" y="931"/>
                </a:lnTo>
                <a:lnTo>
                  <a:pt x="9286" y="911"/>
                </a:lnTo>
                <a:lnTo>
                  <a:pt x="9286" y="886"/>
                </a:lnTo>
                <a:lnTo>
                  <a:pt x="9283" y="865"/>
                </a:lnTo>
                <a:lnTo>
                  <a:pt x="9282" y="856"/>
                </a:lnTo>
                <a:lnTo>
                  <a:pt x="9280" y="849"/>
                </a:lnTo>
                <a:lnTo>
                  <a:pt x="9277" y="841"/>
                </a:lnTo>
                <a:lnTo>
                  <a:pt x="9274" y="836"/>
                </a:lnTo>
                <a:lnTo>
                  <a:pt x="9271" y="831"/>
                </a:lnTo>
                <a:lnTo>
                  <a:pt x="9266" y="827"/>
                </a:lnTo>
                <a:lnTo>
                  <a:pt x="9261" y="824"/>
                </a:lnTo>
                <a:lnTo>
                  <a:pt x="9256" y="821"/>
                </a:lnTo>
                <a:lnTo>
                  <a:pt x="9250" y="819"/>
                </a:lnTo>
                <a:lnTo>
                  <a:pt x="9242" y="816"/>
                </a:lnTo>
                <a:lnTo>
                  <a:pt x="9235" y="815"/>
                </a:lnTo>
                <a:lnTo>
                  <a:pt x="9227" y="815"/>
                </a:lnTo>
                <a:lnTo>
                  <a:pt x="9218" y="815"/>
                </a:lnTo>
                <a:lnTo>
                  <a:pt x="9211" y="816"/>
                </a:lnTo>
                <a:lnTo>
                  <a:pt x="9205" y="819"/>
                </a:lnTo>
                <a:lnTo>
                  <a:pt x="9197" y="821"/>
                </a:lnTo>
                <a:lnTo>
                  <a:pt x="9192" y="823"/>
                </a:lnTo>
                <a:lnTo>
                  <a:pt x="9186" y="827"/>
                </a:lnTo>
                <a:lnTo>
                  <a:pt x="9180" y="831"/>
                </a:lnTo>
                <a:lnTo>
                  <a:pt x="9176" y="835"/>
                </a:lnTo>
                <a:lnTo>
                  <a:pt x="9172" y="841"/>
                </a:lnTo>
                <a:lnTo>
                  <a:pt x="9168" y="847"/>
                </a:lnTo>
                <a:lnTo>
                  <a:pt x="9165" y="854"/>
                </a:lnTo>
                <a:lnTo>
                  <a:pt x="9161" y="861"/>
                </a:lnTo>
                <a:lnTo>
                  <a:pt x="9159" y="868"/>
                </a:lnTo>
                <a:lnTo>
                  <a:pt x="9157" y="878"/>
                </a:lnTo>
                <a:lnTo>
                  <a:pt x="9156" y="887"/>
                </a:lnTo>
                <a:lnTo>
                  <a:pt x="9155" y="897"/>
                </a:lnTo>
                <a:close/>
                <a:moveTo>
                  <a:pt x="8545" y="931"/>
                </a:moveTo>
                <a:lnTo>
                  <a:pt x="8545" y="1135"/>
                </a:lnTo>
                <a:lnTo>
                  <a:pt x="8601" y="1135"/>
                </a:lnTo>
                <a:lnTo>
                  <a:pt x="8615" y="1135"/>
                </a:lnTo>
                <a:lnTo>
                  <a:pt x="8629" y="1133"/>
                </a:lnTo>
                <a:lnTo>
                  <a:pt x="8642" y="1132"/>
                </a:lnTo>
                <a:lnTo>
                  <a:pt x="8653" y="1128"/>
                </a:lnTo>
                <a:lnTo>
                  <a:pt x="8663" y="1125"/>
                </a:lnTo>
                <a:lnTo>
                  <a:pt x="8672" y="1122"/>
                </a:lnTo>
                <a:lnTo>
                  <a:pt x="8681" y="1117"/>
                </a:lnTo>
                <a:lnTo>
                  <a:pt x="8689" y="1112"/>
                </a:lnTo>
                <a:lnTo>
                  <a:pt x="8695" y="1106"/>
                </a:lnTo>
                <a:lnTo>
                  <a:pt x="8701" y="1098"/>
                </a:lnTo>
                <a:lnTo>
                  <a:pt x="8706" y="1091"/>
                </a:lnTo>
                <a:lnTo>
                  <a:pt x="8709" y="1082"/>
                </a:lnTo>
                <a:lnTo>
                  <a:pt x="8712" y="1071"/>
                </a:lnTo>
                <a:lnTo>
                  <a:pt x="8714" y="1061"/>
                </a:lnTo>
                <a:lnTo>
                  <a:pt x="8716" y="1048"/>
                </a:lnTo>
                <a:lnTo>
                  <a:pt x="8716" y="1035"/>
                </a:lnTo>
                <a:lnTo>
                  <a:pt x="8716" y="1023"/>
                </a:lnTo>
                <a:lnTo>
                  <a:pt x="8715" y="1013"/>
                </a:lnTo>
                <a:lnTo>
                  <a:pt x="8713" y="1003"/>
                </a:lnTo>
                <a:lnTo>
                  <a:pt x="8711" y="992"/>
                </a:lnTo>
                <a:lnTo>
                  <a:pt x="8708" y="983"/>
                </a:lnTo>
                <a:lnTo>
                  <a:pt x="8705" y="975"/>
                </a:lnTo>
                <a:lnTo>
                  <a:pt x="8699" y="967"/>
                </a:lnTo>
                <a:lnTo>
                  <a:pt x="8695" y="959"/>
                </a:lnTo>
                <a:lnTo>
                  <a:pt x="8689" y="953"/>
                </a:lnTo>
                <a:lnTo>
                  <a:pt x="8681" y="946"/>
                </a:lnTo>
                <a:lnTo>
                  <a:pt x="8671" y="942"/>
                </a:lnTo>
                <a:lnTo>
                  <a:pt x="8661" y="938"/>
                </a:lnTo>
                <a:lnTo>
                  <a:pt x="8648" y="935"/>
                </a:lnTo>
                <a:lnTo>
                  <a:pt x="8634" y="933"/>
                </a:lnTo>
                <a:lnTo>
                  <a:pt x="8619" y="931"/>
                </a:lnTo>
                <a:lnTo>
                  <a:pt x="8601" y="931"/>
                </a:lnTo>
                <a:lnTo>
                  <a:pt x="8545" y="931"/>
                </a:lnTo>
                <a:close/>
                <a:moveTo>
                  <a:pt x="8366" y="547"/>
                </a:moveTo>
                <a:lnTo>
                  <a:pt x="8829" y="547"/>
                </a:lnTo>
                <a:lnTo>
                  <a:pt x="8829" y="670"/>
                </a:lnTo>
                <a:lnTo>
                  <a:pt x="8545" y="670"/>
                </a:lnTo>
                <a:lnTo>
                  <a:pt x="8545" y="808"/>
                </a:lnTo>
                <a:lnTo>
                  <a:pt x="8608" y="808"/>
                </a:lnTo>
                <a:lnTo>
                  <a:pt x="8648" y="809"/>
                </a:lnTo>
                <a:lnTo>
                  <a:pt x="8685" y="812"/>
                </a:lnTo>
                <a:lnTo>
                  <a:pt x="8703" y="814"/>
                </a:lnTo>
                <a:lnTo>
                  <a:pt x="8719" y="816"/>
                </a:lnTo>
                <a:lnTo>
                  <a:pt x="8735" y="820"/>
                </a:lnTo>
                <a:lnTo>
                  <a:pt x="8750" y="824"/>
                </a:lnTo>
                <a:lnTo>
                  <a:pt x="8764" y="827"/>
                </a:lnTo>
                <a:lnTo>
                  <a:pt x="8777" y="831"/>
                </a:lnTo>
                <a:lnTo>
                  <a:pt x="8790" y="836"/>
                </a:lnTo>
                <a:lnTo>
                  <a:pt x="8801" y="841"/>
                </a:lnTo>
                <a:lnTo>
                  <a:pt x="8812" y="848"/>
                </a:lnTo>
                <a:lnTo>
                  <a:pt x="8822" y="854"/>
                </a:lnTo>
                <a:lnTo>
                  <a:pt x="8832" y="860"/>
                </a:lnTo>
                <a:lnTo>
                  <a:pt x="8840" y="867"/>
                </a:lnTo>
                <a:lnTo>
                  <a:pt x="8848" y="875"/>
                </a:lnTo>
                <a:lnTo>
                  <a:pt x="8855" y="882"/>
                </a:lnTo>
                <a:lnTo>
                  <a:pt x="8862" y="890"/>
                </a:lnTo>
                <a:lnTo>
                  <a:pt x="8869" y="900"/>
                </a:lnTo>
                <a:lnTo>
                  <a:pt x="8874" y="909"/>
                </a:lnTo>
                <a:lnTo>
                  <a:pt x="8879" y="918"/>
                </a:lnTo>
                <a:lnTo>
                  <a:pt x="8884" y="928"/>
                </a:lnTo>
                <a:lnTo>
                  <a:pt x="8888" y="938"/>
                </a:lnTo>
                <a:lnTo>
                  <a:pt x="8892" y="950"/>
                </a:lnTo>
                <a:lnTo>
                  <a:pt x="8896" y="960"/>
                </a:lnTo>
                <a:lnTo>
                  <a:pt x="8898" y="972"/>
                </a:lnTo>
                <a:lnTo>
                  <a:pt x="8900" y="984"/>
                </a:lnTo>
                <a:lnTo>
                  <a:pt x="8902" y="996"/>
                </a:lnTo>
                <a:lnTo>
                  <a:pt x="8903" y="1009"/>
                </a:lnTo>
                <a:lnTo>
                  <a:pt x="8904" y="1022"/>
                </a:lnTo>
                <a:lnTo>
                  <a:pt x="8904" y="1036"/>
                </a:lnTo>
                <a:lnTo>
                  <a:pt x="8904" y="1057"/>
                </a:lnTo>
                <a:lnTo>
                  <a:pt x="8902" y="1076"/>
                </a:lnTo>
                <a:lnTo>
                  <a:pt x="8898" y="1095"/>
                </a:lnTo>
                <a:lnTo>
                  <a:pt x="8894" y="1113"/>
                </a:lnTo>
                <a:lnTo>
                  <a:pt x="8887" y="1130"/>
                </a:lnTo>
                <a:lnTo>
                  <a:pt x="8880" y="1146"/>
                </a:lnTo>
                <a:lnTo>
                  <a:pt x="8872" y="1161"/>
                </a:lnTo>
                <a:lnTo>
                  <a:pt x="8861" y="1175"/>
                </a:lnTo>
                <a:lnTo>
                  <a:pt x="8851" y="1188"/>
                </a:lnTo>
                <a:lnTo>
                  <a:pt x="8839" y="1199"/>
                </a:lnTo>
                <a:lnTo>
                  <a:pt x="8827" y="1210"/>
                </a:lnTo>
                <a:lnTo>
                  <a:pt x="8814" y="1219"/>
                </a:lnTo>
                <a:lnTo>
                  <a:pt x="8801" y="1226"/>
                </a:lnTo>
                <a:lnTo>
                  <a:pt x="8789" y="1234"/>
                </a:lnTo>
                <a:lnTo>
                  <a:pt x="8774" y="1239"/>
                </a:lnTo>
                <a:lnTo>
                  <a:pt x="8760" y="1243"/>
                </a:lnTo>
                <a:lnTo>
                  <a:pt x="8745" y="1246"/>
                </a:lnTo>
                <a:lnTo>
                  <a:pt x="8729" y="1249"/>
                </a:lnTo>
                <a:lnTo>
                  <a:pt x="8711" y="1251"/>
                </a:lnTo>
                <a:lnTo>
                  <a:pt x="8691" y="1253"/>
                </a:lnTo>
                <a:lnTo>
                  <a:pt x="8670" y="1254"/>
                </a:lnTo>
                <a:lnTo>
                  <a:pt x="8648" y="1255"/>
                </a:lnTo>
                <a:lnTo>
                  <a:pt x="8625" y="1256"/>
                </a:lnTo>
                <a:lnTo>
                  <a:pt x="8601" y="1256"/>
                </a:lnTo>
                <a:lnTo>
                  <a:pt x="8366" y="1256"/>
                </a:lnTo>
                <a:lnTo>
                  <a:pt x="8366" y="547"/>
                </a:lnTo>
                <a:close/>
                <a:moveTo>
                  <a:pt x="7714" y="1194"/>
                </a:moveTo>
                <a:lnTo>
                  <a:pt x="7714" y="1256"/>
                </a:lnTo>
                <a:lnTo>
                  <a:pt x="7546" y="1256"/>
                </a:lnTo>
                <a:lnTo>
                  <a:pt x="7546" y="731"/>
                </a:lnTo>
                <a:lnTo>
                  <a:pt x="7714" y="731"/>
                </a:lnTo>
                <a:lnTo>
                  <a:pt x="7714" y="984"/>
                </a:lnTo>
                <a:lnTo>
                  <a:pt x="7850" y="799"/>
                </a:lnTo>
                <a:lnTo>
                  <a:pt x="7850" y="731"/>
                </a:lnTo>
                <a:lnTo>
                  <a:pt x="8019" y="731"/>
                </a:lnTo>
                <a:lnTo>
                  <a:pt x="8019" y="1256"/>
                </a:lnTo>
                <a:lnTo>
                  <a:pt x="7850" y="1256"/>
                </a:lnTo>
                <a:lnTo>
                  <a:pt x="7850" y="1012"/>
                </a:lnTo>
                <a:lnTo>
                  <a:pt x="7823" y="1051"/>
                </a:lnTo>
                <a:lnTo>
                  <a:pt x="7714" y="1194"/>
                </a:lnTo>
                <a:close/>
                <a:moveTo>
                  <a:pt x="7127" y="1194"/>
                </a:moveTo>
                <a:lnTo>
                  <a:pt x="7127" y="1256"/>
                </a:lnTo>
                <a:lnTo>
                  <a:pt x="6958" y="1256"/>
                </a:lnTo>
                <a:lnTo>
                  <a:pt x="6958" y="731"/>
                </a:lnTo>
                <a:lnTo>
                  <a:pt x="7127" y="731"/>
                </a:lnTo>
                <a:lnTo>
                  <a:pt x="7127" y="984"/>
                </a:lnTo>
                <a:lnTo>
                  <a:pt x="7263" y="799"/>
                </a:lnTo>
                <a:lnTo>
                  <a:pt x="7263" y="731"/>
                </a:lnTo>
                <a:lnTo>
                  <a:pt x="7432" y="731"/>
                </a:lnTo>
                <a:lnTo>
                  <a:pt x="7432" y="1256"/>
                </a:lnTo>
                <a:lnTo>
                  <a:pt x="7263" y="1256"/>
                </a:lnTo>
                <a:lnTo>
                  <a:pt x="7263" y="1012"/>
                </a:lnTo>
                <a:lnTo>
                  <a:pt x="7236" y="1051"/>
                </a:lnTo>
                <a:lnTo>
                  <a:pt x="7127" y="1194"/>
                </a:lnTo>
                <a:close/>
                <a:moveTo>
                  <a:pt x="6404" y="731"/>
                </a:moveTo>
                <a:lnTo>
                  <a:pt x="6573" y="731"/>
                </a:lnTo>
                <a:lnTo>
                  <a:pt x="6573" y="932"/>
                </a:lnTo>
                <a:lnTo>
                  <a:pt x="6739" y="731"/>
                </a:lnTo>
                <a:lnTo>
                  <a:pt x="6893" y="731"/>
                </a:lnTo>
                <a:lnTo>
                  <a:pt x="6742" y="908"/>
                </a:lnTo>
                <a:lnTo>
                  <a:pt x="6908" y="1256"/>
                </a:lnTo>
                <a:lnTo>
                  <a:pt x="6727" y="1256"/>
                </a:lnTo>
                <a:lnTo>
                  <a:pt x="6633" y="1014"/>
                </a:lnTo>
                <a:lnTo>
                  <a:pt x="6573" y="1087"/>
                </a:lnTo>
                <a:lnTo>
                  <a:pt x="6573" y="1256"/>
                </a:lnTo>
                <a:lnTo>
                  <a:pt x="6404" y="1256"/>
                </a:lnTo>
                <a:lnTo>
                  <a:pt x="6404" y="731"/>
                </a:lnTo>
                <a:close/>
                <a:moveTo>
                  <a:pt x="6321" y="924"/>
                </a:moveTo>
                <a:lnTo>
                  <a:pt x="6166" y="929"/>
                </a:lnTo>
                <a:lnTo>
                  <a:pt x="6164" y="907"/>
                </a:lnTo>
                <a:lnTo>
                  <a:pt x="6160" y="887"/>
                </a:lnTo>
                <a:lnTo>
                  <a:pt x="6157" y="879"/>
                </a:lnTo>
                <a:lnTo>
                  <a:pt x="6154" y="871"/>
                </a:lnTo>
                <a:lnTo>
                  <a:pt x="6151" y="863"/>
                </a:lnTo>
                <a:lnTo>
                  <a:pt x="6148" y="857"/>
                </a:lnTo>
                <a:lnTo>
                  <a:pt x="6144" y="851"/>
                </a:lnTo>
                <a:lnTo>
                  <a:pt x="6140" y="847"/>
                </a:lnTo>
                <a:lnTo>
                  <a:pt x="6134" y="842"/>
                </a:lnTo>
                <a:lnTo>
                  <a:pt x="6129" y="838"/>
                </a:lnTo>
                <a:lnTo>
                  <a:pt x="6123" y="836"/>
                </a:lnTo>
                <a:lnTo>
                  <a:pt x="6115" y="834"/>
                </a:lnTo>
                <a:lnTo>
                  <a:pt x="6108" y="833"/>
                </a:lnTo>
                <a:lnTo>
                  <a:pt x="6100" y="832"/>
                </a:lnTo>
                <a:lnTo>
                  <a:pt x="6089" y="833"/>
                </a:lnTo>
                <a:lnTo>
                  <a:pt x="6080" y="835"/>
                </a:lnTo>
                <a:lnTo>
                  <a:pt x="6070" y="837"/>
                </a:lnTo>
                <a:lnTo>
                  <a:pt x="6062" y="842"/>
                </a:lnTo>
                <a:lnTo>
                  <a:pt x="6055" y="848"/>
                </a:lnTo>
                <a:lnTo>
                  <a:pt x="6048" y="854"/>
                </a:lnTo>
                <a:lnTo>
                  <a:pt x="6042" y="862"/>
                </a:lnTo>
                <a:lnTo>
                  <a:pt x="6036" y="872"/>
                </a:lnTo>
                <a:lnTo>
                  <a:pt x="6030" y="882"/>
                </a:lnTo>
                <a:lnTo>
                  <a:pt x="6026" y="893"/>
                </a:lnTo>
                <a:lnTo>
                  <a:pt x="6023" y="906"/>
                </a:lnTo>
                <a:lnTo>
                  <a:pt x="6020" y="920"/>
                </a:lnTo>
                <a:lnTo>
                  <a:pt x="6018" y="935"/>
                </a:lnTo>
                <a:lnTo>
                  <a:pt x="6016" y="952"/>
                </a:lnTo>
                <a:lnTo>
                  <a:pt x="6015" y="969"/>
                </a:lnTo>
                <a:lnTo>
                  <a:pt x="6015" y="988"/>
                </a:lnTo>
                <a:lnTo>
                  <a:pt x="6015" y="1010"/>
                </a:lnTo>
                <a:lnTo>
                  <a:pt x="6016" y="1031"/>
                </a:lnTo>
                <a:lnTo>
                  <a:pt x="6018" y="1048"/>
                </a:lnTo>
                <a:lnTo>
                  <a:pt x="6020" y="1066"/>
                </a:lnTo>
                <a:lnTo>
                  <a:pt x="6023" y="1081"/>
                </a:lnTo>
                <a:lnTo>
                  <a:pt x="6026" y="1094"/>
                </a:lnTo>
                <a:lnTo>
                  <a:pt x="6030" y="1106"/>
                </a:lnTo>
                <a:lnTo>
                  <a:pt x="6036" y="1115"/>
                </a:lnTo>
                <a:lnTo>
                  <a:pt x="6041" y="1124"/>
                </a:lnTo>
                <a:lnTo>
                  <a:pt x="6047" y="1132"/>
                </a:lnTo>
                <a:lnTo>
                  <a:pt x="6053" y="1138"/>
                </a:lnTo>
                <a:lnTo>
                  <a:pt x="6061" y="1143"/>
                </a:lnTo>
                <a:lnTo>
                  <a:pt x="6069" y="1146"/>
                </a:lnTo>
                <a:lnTo>
                  <a:pt x="6078" y="1149"/>
                </a:lnTo>
                <a:lnTo>
                  <a:pt x="6087" y="1151"/>
                </a:lnTo>
                <a:lnTo>
                  <a:pt x="6097" y="1151"/>
                </a:lnTo>
                <a:lnTo>
                  <a:pt x="6104" y="1151"/>
                </a:lnTo>
                <a:lnTo>
                  <a:pt x="6111" y="1150"/>
                </a:lnTo>
                <a:lnTo>
                  <a:pt x="6119" y="1148"/>
                </a:lnTo>
                <a:lnTo>
                  <a:pt x="6125" y="1145"/>
                </a:lnTo>
                <a:lnTo>
                  <a:pt x="6130" y="1142"/>
                </a:lnTo>
                <a:lnTo>
                  <a:pt x="6136" y="1138"/>
                </a:lnTo>
                <a:lnTo>
                  <a:pt x="6141" y="1133"/>
                </a:lnTo>
                <a:lnTo>
                  <a:pt x="6146" y="1127"/>
                </a:lnTo>
                <a:lnTo>
                  <a:pt x="6150" y="1120"/>
                </a:lnTo>
                <a:lnTo>
                  <a:pt x="6153" y="1113"/>
                </a:lnTo>
                <a:lnTo>
                  <a:pt x="6156" y="1106"/>
                </a:lnTo>
                <a:lnTo>
                  <a:pt x="6160" y="1096"/>
                </a:lnTo>
                <a:lnTo>
                  <a:pt x="6162" y="1087"/>
                </a:lnTo>
                <a:lnTo>
                  <a:pt x="6164" y="1076"/>
                </a:lnTo>
                <a:lnTo>
                  <a:pt x="6165" y="1065"/>
                </a:lnTo>
                <a:lnTo>
                  <a:pt x="6166" y="1054"/>
                </a:lnTo>
                <a:lnTo>
                  <a:pt x="6321" y="1062"/>
                </a:lnTo>
                <a:lnTo>
                  <a:pt x="6318" y="1087"/>
                </a:lnTo>
                <a:lnTo>
                  <a:pt x="6314" y="1111"/>
                </a:lnTo>
                <a:lnTo>
                  <a:pt x="6308" y="1133"/>
                </a:lnTo>
                <a:lnTo>
                  <a:pt x="6299" y="1152"/>
                </a:lnTo>
                <a:lnTo>
                  <a:pt x="6295" y="1163"/>
                </a:lnTo>
                <a:lnTo>
                  <a:pt x="6290" y="1171"/>
                </a:lnTo>
                <a:lnTo>
                  <a:pt x="6284" y="1180"/>
                </a:lnTo>
                <a:lnTo>
                  <a:pt x="6279" y="1189"/>
                </a:lnTo>
                <a:lnTo>
                  <a:pt x="6273" y="1196"/>
                </a:lnTo>
                <a:lnTo>
                  <a:pt x="6267" y="1203"/>
                </a:lnTo>
                <a:lnTo>
                  <a:pt x="6259" y="1211"/>
                </a:lnTo>
                <a:lnTo>
                  <a:pt x="6252" y="1218"/>
                </a:lnTo>
                <a:lnTo>
                  <a:pt x="6245" y="1224"/>
                </a:lnTo>
                <a:lnTo>
                  <a:pt x="6237" y="1229"/>
                </a:lnTo>
                <a:lnTo>
                  <a:pt x="6229" y="1236"/>
                </a:lnTo>
                <a:lnTo>
                  <a:pt x="6219" y="1240"/>
                </a:lnTo>
                <a:lnTo>
                  <a:pt x="6211" y="1245"/>
                </a:lnTo>
                <a:lnTo>
                  <a:pt x="6202" y="1249"/>
                </a:lnTo>
                <a:lnTo>
                  <a:pt x="6191" y="1253"/>
                </a:lnTo>
                <a:lnTo>
                  <a:pt x="6182" y="1256"/>
                </a:lnTo>
                <a:lnTo>
                  <a:pt x="6160" y="1263"/>
                </a:lnTo>
                <a:lnTo>
                  <a:pt x="6136" y="1266"/>
                </a:lnTo>
                <a:lnTo>
                  <a:pt x="6112" y="1269"/>
                </a:lnTo>
                <a:lnTo>
                  <a:pt x="6086" y="1270"/>
                </a:lnTo>
                <a:lnTo>
                  <a:pt x="6071" y="1269"/>
                </a:lnTo>
                <a:lnTo>
                  <a:pt x="6058" y="1268"/>
                </a:lnTo>
                <a:lnTo>
                  <a:pt x="6044" y="1267"/>
                </a:lnTo>
                <a:lnTo>
                  <a:pt x="6030" y="1265"/>
                </a:lnTo>
                <a:lnTo>
                  <a:pt x="6018" y="1263"/>
                </a:lnTo>
                <a:lnTo>
                  <a:pt x="6006" y="1260"/>
                </a:lnTo>
                <a:lnTo>
                  <a:pt x="5995" y="1256"/>
                </a:lnTo>
                <a:lnTo>
                  <a:pt x="5983" y="1252"/>
                </a:lnTo>
                <a:lnTo>
                  <a:pt x="5972" y="1248"/>
                </a:lnTo>
                <a:lnTo>
                  <a:pt x="5961" y="1243"/>
                </a:lnTo>
                <a:lnTo>
                  <a:pt x="5952" y="1237"/>
                </a:lnTo>
                <a:lnTo>
                  <a:pt x="5942" y="1230"/>
                </a:lnTo>
                <a:lnTo>
                  <a:pt x="5933" y="1224"/>
                </a:lnTo>
                <a:lnTo>
                  <a:pt x="5923" y="1217"/>
                </a:lnTo>
                <a:lnTo>
                  <a:pt x="5916" y="1209"/>
                </a:lnTo>
                <a:lnTo>
                  <a:pt x="5908" y="1200"/>
                </a:lnTo>
                <a:lnTo>
                  <a:pt x="5900" y="1192"/>
                </a:lnTo>
                <a:lnTo>
                  <a:pt x="5893" y="1183"/>
                </a:lnTo>
                <a:lnTo>
                  <a:pt x="5887" y="1172"/>
                </a:lnTo>
                <a:lnTo>
                  <a:pt x="5880" y="1162"/>
                </a:lnTo>
                <a:lnTo>
                  <a:pt x="5875" y="1151"/>
                </a:lnTo>
                <a:lnTo>
                  <a:pt x="5870" y="1140"/>
                </a:lnTo>
                <a:lnTo>
                  <a:pt x="5866" y="1127"/>
                </a:lnTo>
                <a:lnTo>
                  <a:pt x="5861" y="1115"/>
                </a:lnTo>
                <a:lnTo>
                  <a:pt x="5857" y="1101"/>
                </a:lnTo>
                <a:lnTo>
                  <a:pt x="5854" y="1088"/>
                </a:lnTo>
                <a:lnTo>
                  <a:pt x="5852" y="1074"/>
                </a:lnTo>
                <a:lnTo>
                  <a:pt x="5850" y="1060"/>
                </a:lnTo>
                <a:lnTo>
                  <a:pt x="5847" y="1029"/>
                </a:lnTo>
                <a:lnTo>
                  <a:pt x="5846" y="995"/>
                </a:lnTo>
                <a:lnTo>
                  <a:pt x="5846" y="979"/>
                </a:lnTo>
                <a:lnTo>
                  <a:pt x="5847" y="962"/>
                </a:lnTo>
                <a:lnTo>
                  <a:pt x="5848" y="946"/>
                </a:lnTo>
                <a:lnTo>
                  <a:pt x="5850" y="932"/>
                </a:lnTo>
                <a:lnTo>
                  <a:pt x="5852" y="917"/>
                </a:lnTo>
                <a:lnTo>
                  <a:pt x="5855" y="903"/>
                </a:lnTo>
                <a:lnTo>
                  <a:pt x="5858" y="889"/>
                </a:lnTo>
                <a:lnTo>
                  <a:pt x="5862" y="877"/>
                </a:lnTo>
                <a:lnTo>
                  <a:pt x="5867" y="863"/>
                </a:lnTo>
                <a:lnTo>
                  <a:pt x="5871" y="852"/>
                </a:lnTo>
                <a:lnTo>
                  <a:pt x="5876" y="840"/>
                </a:lnTo>
                <a:lnTo>
                  <a:pt x="5882" y="829"/>
                </a:lnTo>
                <a:lnTo>
                  <a:pt x="5889" y="819"/>
                </a:lnTo>
                <a:lnTo>
                  <a:pt x="5895" y="808"/>
                </a:lnTo>
                <a:lnTo>
                  <a:pt x="5902" y="799"/>
                </a:lnTo>
                <a:lnTo>
                  <a:pt x="5911" y="789"/>
                </a:lnTo>
                <a:lnTo>
                  <a:pt x="5919" y="781"/>
                </a:lnTo>
                <a:lnTo>
                  <a:pt x="5927" y="773"/>
                </a:lnTo>
                <a:lnTo>
                  <a:pt x="5937" y="765"/>
                </a:lnTo>
                <a:lnTo>
                  <a:pt x="5946" y="758"/>
                </a:lnTo>
                <a:lnTo>
                  <a:pt x="5956" y="752"/>
                </a:lnTo>
                <a:lnTo>
                  <a:pt x="5966" y="747"/>
                </a:lnTo>
                <a:lnTo>
                  <a:pt x="5977" y="742"/>
                </a:lnTo>
                <a:lnTo>
                  <a:pt x="5988" y="736"/>
                </a:lnTo>
                <a:lnTo>
                  <a:pt x="6000" y="732"/>
                </a:lnTo>
                <a:lnTo>
                  <a:pt x="6011" y="729"/>
                </a:lnTo>
                <a:lnTo>
                  <a:pt x="6024" y="726"/>
                </a:lnTo>
                <a:lnTo>
                  <a:pt x="6037" y="723"/>
                </a:lnTo>
                <a:lnTo>
                  <a:pt x="6050" y="721"/>
                </a:lnTo>
                <a:lnTo>
                  <a:pt x="6064" y="720"/>
                </a:lnTo>
                <a:lnTo>
                  <a:pt x="6078" y="719"/>
                </a:lnTo>
                <a:lnTo>
                  <a:pt x="6092" y="719"/>
                </a:lnTo>
                <a:lnTo>
                  <a:pt x="6118" y="720"/>
                </a:lnTo>
                <a:lnTo>
                  <a:pt x="6142" y="722"/>
                </a:lnTo>
                <a:lnTo>
                  <a:pt x="6165" y="726"/>
                </a:lnTo>
                <a:lnTo>
                  <a:pt x="6186" y="731"/>
                </a:lnTo>
                <a:lnTo>
                  <a:pt x="6206" y="738"/>
                </a:lnTo>
                <a:lnTo>
                  <a:pt x="6224" y="748"/>
                </a:lnTo>
                <a:lnTo>
                  <a:pt x="6232" y="753"/>
                </a:lnTo>
                <a:lnTo>
                  <a:pt x="6240" y="758"/>
                </a:lnTo>
                <a:lnTo>
                  <a:pt x="6248" y="763"/>
                </a:lnTo>
                <a:lnTo>
                  <a:pt x="6255" y="770"/>
                </a:lnTo>
                <a:lnTo>
                  <a:pt x="6262" y="777"/>
                </a:lnTo>
                <a:lnTo>
                  <a:pt x="6269" y="783"/>
                </a:lnTo>
                <a:lnTo>
                  <a:pt x="6275" y="790"/>
                </a:lnTo>
                <a:lnTo>
                  <a:pt x="6280" y="799"/>
                </a:lnTo>
                <a:lnTo>
                  <a:pt x="6292" y="815"/>
                </a:lnTo>
                <a:lnTo>
                  <a:pt x="6300" y="834"/>
                </a:lnTo>
                <a:lnTo>
                  <a:pt x="6308" y="854"/>
                </a:lnTo>
                <a:lnTo>
                  <a:pt x="6314" y="876"/>
                </a:lnTo>
                <a:lnTo>
                  <a:pt x="6319" y="899"/>
                </a:lnTo>
                <a:lnTo>
                  <a:pt x="6321" y="924"/>
                </a:lnTo>
                <a:close/>
                <a:moveTo>
                  <a:pt x="5454" y="1194"/>
                </a:moveTo>
                <a:lnTo>
                  <a:pt x="5454" y="1256"/>
                </a:lnTo>
                <a:lnTo>
                  <a:pt x="5285" y="1256"/>
                </a:lnTo>
                <a:lnTo>
                  <a:pt x="5285" y="731"/>
                </a:lnTo>
                <a:lnTo>
                  <a:pt x="5454" y="731"/>
                </a:lnTo>
                <a:lnTo>
                  <a:pt x="5453" y="984"/>
                </a:lnTo>
                <a:lnTo>
                  <a:pt x="5589" y="799"/>
                </a:lnTo>
                <a:lnTo>
                  <a:pt x="5589" y="731"/>
                </a:lnTo>
                <a:lnTo>
                  <a:pt x="5758" y="731"/>
                </a:lnTo>
                <a:lnTo>
                  <a:pt x="5758" y="1256"/>
                </a:lnTo>
                <a:lnTo>
                  <a:pt x="5589" y="1256"/>
                </a:lnTo>
                <a:lnTo>
                  <a:pt x="5589" y="1012"/>
                </a:lnTo>
                <a:lnTo>
                  <a:pt x="5562" y="1051"/>
                </a:lnTo>
                <a:lnTo>
                  <a:pt x="5454" y="1194"/>
                </a:lnTo>
                <a:close/>
                <a:moveTo>
                  <a:pt x="4867" y="1194"/>
                </a:moveTo>
                <a:lnTo>
                  <a:pt x="4867" y="1256"/>
                </a:lnTo>
                <a:lnTo>
                  <a:pt x="4698" y="1256"/>
                </a:lnTo>
                <a:lnTo>
                  <a:pt x="4698" y="731"/>
                </a:lnTo>
                <a:lnTo>
                  <a:pt x="4867" y="731"/>
                </a:lnTo>
                <a:lnTo>
                  <a:pt x="4866" y="984"/>
                </a:lnTo>
                <a:lnTo>
                  <a:pt x="5002" y="799"/>
                </a:lnTo>
                <a:lnTo>
                  <a:pt x="5002" y="731"/>
                </a:lnTo>
                <a:lnTo>
                  <a:pt x="5171" y="731"/>
                </a:lnTo>
                <a:lnTo>
                  <a:pt x="5171" y="1256"/>
                </a:lnTo>
                <a:lnTo>
                  <a:pt x="5002" y="1256"/>
                </a:lnTo>
                <a:lnTo>
                  <a:pt x="5002" y="1012"/>
                </a:lnTo>
                <a:lnTo>
                  <a:pt x="4975" y="1051"/>
                </a:lnTo>
                <a:lnTo>
                  <a:pt x="4867" y="1194"/>
                </a:lnTo>
                <a:close/>
                <a:moveTo>
                  <a:pt x="4305" y="937"/>
                </a:moveTo>
                <a:lnTo>
                  <a:pt x="4333" y="937"/>
                </a:lnTo>
                <a:lnTo>
                  <a:pt x="4355" y="937"/>
                </a:lnTo>
                <a:lnTo>
                  <a:pt x="4371" y="936"/>
                </a:lnTo>
                <a:lnTo>
                  <a:pt x="4383" y="935"/>
                </a:lnTo>
                <a:lnTo>
                  <a:pt x="4391" y="933"/>
                </a:lnTo>
                <a:lnTo>
                  <a:pt x="4399" y="930"/>
                </a:lnTo>
                <a:lnTo>
                  <a:pt x="4405" y="925"/>
                </a:lnTo>
                <a:lnTo>
                  <a:pt x="4411" y="919"/>
                </a:lnTo>
                <a:lnTo>
                  <a:pt x="4414" y="915"/>
                </a:lnTo>
                <a:lnTo>
                  <a:pt x="4418" y="912"/>
                </a:lnTo>
                <a:lnTo>
                  <a:pt x="4419" y="908"/>
                </a:lnTo>
                <a:lnTo>
                  <a:pt x="4421" y="903"/>
                </a:lnTo>
                <a:lnTo>
                  <a:pt x="4423" y="892"/>
                </a:lnTo>
                <a:lnTo>
                  <a:pt x="4424" y="880"/>
                </a:lnTo>
                <a:lnTo>
                  <a:pt x="4423" y="864"/>
                </a:lnTo>
                <a:lnTo>
                  <a:pt x="4421" y="852"/>
                </a:lnTo>
                <a:lnTo>
                  <a:pt x="4419" y="846"/>
                </a:lnTo>
                <a:lnTo>
                  <a:pt x="4415" y="840"/>
                </a:lnTo>
                <a:lnTo>
                  <a:pt x="4413" y="835"/>
                </a:lnTo>
                <a:lnTo>
                  <a:pt x="4410" y="831"/>
                </a:lnTo>
                <a:lnTo>
                  <a:pt x="4406" y="828"/>
                </a:lnTo>
                <a:lnTo>
                  <a:pt x="4402" y="825"/>
                </a:lnTo>
                <a:lnTo>
                  <a:pt x="4398" y="822"/>
                </a:lnTo>
                <a:lnTo>
                  <a:pt x="4392" y="820"/>
                </a:lnTo>
                <a:lnTo>
                  <a:pt x="4387" y="817"/>
                </a:lnTo>
                <a:lnTo>
                  <a:pt x="4381" y="816"/>
                </a:lnTo>
                <a:lnTo>
                  <a:pt x="4375" y="815"/>
                </a:lnTo>
                <a:lnTo>
                  <a:pt x="4368" y="815"/>
                </a:lnTo>
                <a:lnTo>
                  <a:pt x="4362" y="815"/>
                </a:lnTo>
                <a:lnTo>
                  <a:pt x="4356" y="816"/>
                </a:lnTo>
                <a:lnTo>
                  <a:pt x="4350" y="817"/>
                </a:lnTo>
                <a:lnTo>
                  <a:pt x="4345" y="820"/>
                </a:lnTo>
                <a:lnTo>
                  <a:pt x="4340" y="823"/>
                </a:lnTo>
                <a:lnTo>
                  <a:pt x="4335" y="826"/>
                </a:lnTo>
                <a:lnTo>
                  <a:pt x="4330" y="830"/>
                </a:lnTo>
                <a:lnTo>
                  <a:pt x="4326" y="834"/>
                </a:lnTo>
                <a:lnTo>
                  <a:pt x="4322" y="839"/>
                </a:lnTo>
                <a:lnTo>
                  <a:pt x="4319" y="845"/>
                </a:lnTo>
                <a:lnTo>
                  <a:pt x="4316" y="851"/>
                </a:lnTo>
                <a:lnTo>
                  <a:pt x="4313" y="857"/>
                </a:lnTo>
                <a:lnTo>
                  <a:pt x="4307" y="873"/>
                </a:lnTo>
                <a:lnTo>
                  <a:pt x="4302" y="890"/>
                </a:lnTo>
                <a:lnTo>
                  <a:pt x="4153" y="865"/>
                </a:lnTo>
                <a:lnTo>
                  <a:pt x="4158" y="848"/>
                </a:lnTo>
                <a:lnTo>
                  <a:pt x="4163" y="831"/>
                </a:lnTo>
                <a:lnTo>
                  <a:pt x="4171" y="815"/>
                </a:lnTo>
                <a:lnTo>
                  <a:pt x="4179" y="801"/>
                </a:lnTo>
                <a:lnTo>
                  <a:pt x="4189" y="788"/>
                </a:lnTo>
                <a:lnTo>
                  <a:pt x="4199" y="776"/>
                </a:lnTo>
                <a:lnTo>
                  <a:pt x="4212" y="765"/>
                </a:lnTo>
                <a:lnTo>
                  <a:pt x="4224" y="755"/>
                </a:lnTo>
                <a:lnTo>
                  <a:pt x="4239" y="747"/>
                </a:lnTo>
                <a:lnTo>
                  <a:pt x="4256" y="739"/>
                </a:lnTo>
                <a:lnTo>
                  <a:pt x="4273" y="733"/>
                </a:lnTo>
                <a:lnTo>
                  <a:pt x="4292" y="728"/>
                </a:lnTo>
                <a:lnTo>
                  <a:pt x="4312" y="724"/>
                </a:lnTo>
                <a:lnTo>
                  <a:pt x="4333" y="721"/>
                </a:lnTo>
                <a:lnTo>
                  <a:pt x="4356" y="719"/>
                </a:lnTo>
                <a:lnTo>
                  <a:pt x="4379" y="719"/>
                </a:lnTo>
                <a:lnTo>
                  <a:pt x="4405" y="720"/>
                </a:lnTo>
                <a:lnTo>
                  <a:pt x="4429" y="722"/>
                </a:lnTo>
                <a:lnTo>
                  <a:pt x="4452" y="725"/>
                </a:lnTo>
                <a:lnTo>
                  <a:pt x="4473" y="730"/>
                </a:lnTo>
                <a:lnTo>
                  <a:pt x="4493" y="735"/>
                </a:lnTo>
                <a:lnTo>
                  <a:pt x="4511" y="744"/>
                </a:lnTo>
                <a:lnTo>
                  <a:pt x="4527" y="752"/>
                </a:lnTo>
                <a:lnTo>
                  <a:pt x="4541" y="762"/>
                </a:lnTo>
                <a:lnTo>
                  <a:pt x="4555" y="774"/>
                </a:lnTo>
                <a:lnTo>
                  <a:pt x="4566" y="785"/>
                </a:lnTo>
                <a:lnTo>
                  <a:pt x="4575" y="798"/>
                </a:lnTo>
                <a:lnTo>
                  <a:pt x="4583" y="811"/>
                </a:lnTo>
                <a:lnTo>
                  <a:pt x="4589" y="825"/>
                </a:lnTo>
                <a:lnTo>
                  <a:pt x="4593" y="838"/>
                </a:lnTo>
                <a:lnTo>
                  <a:pt x="4596" y="853"/>
                </a:lnTo>
                <a:lnTo>
                  <a:pt x="4597" y="868"/>
                </a:lnTo>
                <a:lnTo>
                  <a:pt x="4596" y="878"/>
                </a:lnTo>
                <a:lnTo>
                  <a:pt x="4596" y="886"/>
                </a:lnTo>
                <a:lnTo>
                  <a:pt x="4594" y="894"/>
                </a:lnTo>
                <a:lnTo>
                  <a:pt x="4592" y="903"/>
                </a:lnTo>
                <a:lnTo>
                  <a:pt x="4589" y="911"/>
                </a:lnTo>
                <a:lnTo>
                  <a:pt x="4586" y="918"/>
                </a:lnTo>
                <a:lnTo>
                  <a:pt x="4581" y="926"/>
                </a:lnTo>
                <a:lnTo>
                  <a:pt x="4577" y="933"/>
                </a:lnTo>
                <a:lnTo>
                  <a:pt x="4571" y="940"/>
                </a:lnTo>
                <a:lnTo>
                  <a:pt x="4566" y="946"/>
                </a:lnTo>
                <a:lnTo>
                  <a:pt x="4558" y="953"/>
                </a:lnTo>
                <a:lnTo>
                  <a:pt x="4552" y="959"/>
                </a:lnTo>
                <a:lnTo>
                  <a:pt x="4544" y="965"/>
                </a:lnTo>
                <a:lnTo>
                  <a:pt x="4535" y="970"/>
                </a:lnTo>
                <a:lnTo>
                  <a:pt x="4526" y="976"/>
                </a:lnTo>
                <a:lnTo>
                  <a:pt x="4516" y="981"/>
                </a:lnTo>
                <a:lnTo>
                  <a:pt x="4528" y="986"/>
                </a:lnTo>
                <a:lnTo>
                  <a:pt x="4538" y="991"/>
                </a:lnTo>
                <a:lnTo>
                  <a:pt x="4549" y="997"/>
                </a:lnTo>
                <a:lnTo>
                  <a:pt x="4558" y="1004"/>
                </a:lnTo>
                <a:lnTo>
                  <a:pt x="4567" y="1010"/>
                </a:lnTo>
                <a:lnTo>
                  <a:pt x="4574" y="1016"/>
                </a:lnTo>
                <a:lnTo>
                  <a:pt x="4581" y="1023"/>
                </a:lnTo>
                <a:lnTo>
                  <a:pt x="4588" y="1031"/>
                </a:lnTo>
                <a:lnTo>
                  <a:pt x="4594" y="1039"/>
                </a:lnTo>
                <a:lnTo>
                  <a:pt x="4598" y="1047"/>
                </a:lnTo>
                <a:lnTo>
                  <a:pt x="4602" y="1056"/>
                </a:lnTo>
                <a:lnTo>
                  <a:pt x="4606" y="1064"/>
                </a:lnTo>
                <a:lnTo>
                  <a:pt x="4609" y="1073"/>
                </a:lnTo>
                <a:lnTo>
                  <a:pt x="4611" y="1083"/>
                </a:lnTo>
                <a:lnTo>
                  <a:pt x="4612" y="1093"/>
                </a:lnTo>
                <a:lnTo>
                  <a:pt x="4612" y="1104"/>
                </a:lnTo>
                <a:lnTo>
                  <a:pt x="4611" y="1119"/>
                </a:lnTo>
                <a:lnTo>
                  <a:pt x="4609" y="1136"/>
                </a:lnTo>
                <a:lnTo>
                  <a:pt x="4604" y="1150"/>
                </a:lnTo>
                <a:lnTo>
                  <a:pt x="4598" y="1166"/>
                </a:lnTo>
                <a:lnTo>
                  <a:pt x="4591" y="1179"/>
                </a:lnTo>
                <a:lnTo>
                  <a:pt x="4581" y="1194"/>
                </a:lnTo>
                <a:lnTo>
                  <a:pt x="4571" y="1206"/>
                </a:lnTo>
                <a:lnTo>
                  <a:pt x="4558" y="1220"/>
                </a:lnTo>
                <a:lnTo>
                  <a:pt x="4552" y="1225"/>
                </a:lnTo>
                <a:lnTo>
                  <a:pt x="4544" y="1231"/>
                </a:lnTo>
                <a:lnTo>
                  <a:pt x="4536" y="1237"/>
                </a:lnTo>
                <a:lnTo>
                  <a:pt x="4527" y="1242"/>
                </a:lnTo>
                <a:lnTo>
                  <a:pt x="4518" y="1246"/>
                </a:lnTo>
                <a:lnTo>
                  <a:pt x="4508" y="1250"/>
                </a:lnTo>
                <a:lnTo>
                  <a:pt x="4498" y="1253"/>
                </a:lnTo>
                <a:lnTo>
                  <a:pt x="4487" y="1256"/>
                </a:lnTo>
                <a:lnTo>
                  <a:pt x="4464" y="1263"/>
                </a:lnTo>
                <a:lnTo>
                  <a:pt x="4439" y="1267"/>
                </a:lnTo>
                <a:lnTo>
                  <a:pt x="4410" y="1269"/>
                </a:lnTo>
                <a:lnTo>
                  <a:pt x="4381" y="1270"/>
                </a:lnTo>
                <a:lnTo>
                  <a:pt x="4361" y="1269"/>
                </a:lnTo>
                <a:lnTo>
                  <a:pt x="4342" y="1268"/>
                </a:lnTo>
                <a:lnTo>
                  <a:pt x="4323" y="1266"/>
                </a:lnTo>
                <a:lnTo>
                  <a:pt x="4305" y="1263"/>
                </a:lnTo>
                <a:lnTo>
                  <a:pt x="4288" y="1258"/>
                </a:lnTo>
                <a:lnTo>
                  <a:pt x="4272" y="1254"/>
                </a:lnTo>
                <a:lnTo>
                  <a:pt x="4257" y="1248"/>
                </a:lnTo>
                <a:lnTo>
                  <a:pt x="4242" y="1242"/>
                </a:lnTo>
                <a:lnTo>
                  <a:pt x="4235" y="1238"/>
                </a:lnTo>
                <a:lnTo>
                  <a:pt x="4228" y="1234"/>
                </a:lnTo>
                <a:lnTo>
                  <a:pt x="4220" y="1228"/>
                </a:lnTo>
                <a:lnTo>
                  <a:pt x="4214" y="1223"/>
                </a:lnTo>
                <a:lnTo>
                  <a:pt x="4200" y="1211"/>
                </a:lnTo>
                <a:lnTo>
                  <a:pt x="4188" y="1196"/>
                </a:lnTo>
                <a:lnTo>
                  <a:pt x="4175" y="1178"/>
                </a:lnTo>
                <a:lnTo>
                  <a:pt x="4162" y="1160"/>
                </a:lnTo>
                <a:lnTo>
                  <a:pt x="4151" y="1138"/>
                </a:lnTo>
                <a:lnTo>
                  <a:pt x="4140" y="1114"/>
                </a:lnTo>
                <a:lnTo>
                  <a:pt x="4285" y="1091"/>
                </a:lnTo>
                <a:lnTo>
                  <a:pt x="4293" y="1110"/>
                </a:lnTo>
                <a:lnTo>
                  <a:pt x="4301" y="1126"/>
                </a:lnTo>
                <a:lnTo>
                  <a:pt x="4305" y="1134"/>
                </a:lnTo>
                <a:lnTo>
                  <a:pt x="4310" y="1140"/>
                </a:lnTo>
                <a:lnTo>
                  <a:pt x="4316" y="1146"/>
                </a:lnTo>
                <a:lnTo>
                  <a:pt x="4321" y="1151"/>
                </a:lnTo>
                <a:lnTo>
                  <a:pt x="4326" y="1156"/>
                </a:lnTo>
                <a:lnTo>
                  <a:pt x="4333" y="1160"/>
                </a:lnTo>
                <a:lnTo>
                  <a:pt x="4339" y="1163"/>
                </a:lnTo>
                <a:lnTo>
                  <a:pt x="4345" y="1166"/>
                </a:lnTo>
                <a:lnTo>
                  <a:pt x="4351" y="1168"/>
                </a:lnTo>
                <a:lnTo>
                  <a:pt x="4359" y="1170"/>
                </a:lnTo>
                <a:lnTo>
                  <a:pt x="4366" y="1170"/>
                </a:lnTo>
                <a:lnTo>
                  <a:pt x="4373" y="1171"/>
                </a:lnTo>
                <a:lnTo>
                  <a:pt x="4380" y="1170"/>
                </a:lnTo>
                <a:lnTo>
                  <a:pt x="4387" y="1170"/>
                </a:lnTo>
                <a:lnTo>
                  <a:pt x="4393" y="1168"/>
                </a:lnTo>
                <a:lnTo>
                  <a:pt x="4399" y="1166"/>
                </a:lnTo>
                <a:lnTo>
                  <a:pt x="4405" y="1164"/>
                </a:lnTo>
                <a:lnTo>
                  <a:pt x="4410" y="1161"/>
                </a:lnTo>
                <a:lnTo>
                  <a:pt x="4415" y="1157"/>
                </a:lnTo>
                <a:lnTo>
                  <a:pt x="4420" y="1152"/>
                </a:lnTo>
                <a:lnTo>
                  <a:pt x="4424" y="1147"/>
                </a:lnTo>
                <a:lnTo>
                  <a:pt x="4428" y="1142"/>
                </a:lnTo>
                <a:lnTo>
                  <a:pt x="4431" y="1136"/>
                </a:lnTo>
                <a:lnTo>
                  <a:pt x="4434" y="1130"/>
                </a:lnTo>
                <a:lnTo>
                  <a:pt x="4436" y="1122"/>
                </a:lnTo>
                <a:lnTo>
                  <a:pt x="4438" y="1115"/>
                </a:lnTo>
                <a:lnTo>
                  <a:pt x="4439" y="1107"/>
                </a:lnTo>
                <a:lnTo>
                  <a:pt x="4439" y="1098"/>
                </a:lnTo>
                <a:lnTo>
                  <a:pt x="4438" y="1086"/>
                </a:lnTo>
                <a:lnTo>
                  <a:pt x="4435" y="1075"/>
                </a:lnTo>
                <a:lnTo>
                  <a:pt x="4433" y="1070"/>
                </a:lnTo>
                <a:lnTo>
                  <a:pt x="4431" y="1066"/>
                </a:lnTo>
                <a:lnTo>
                  <a:pt x="4428" y="1062"/>
                </a:lnTo>
                <a:lnTo>
                  <a:pt x="4425" y="1058"/>
                </a:lnTo>
                <a:lnTo>
                  <a:pt x="4417" y="1051"/>
                </a:lnTo>
                <a:lnTo>
                  <a:pt x="4408" y="1047"/>
                </a:lnTo>
                <a:lnTo>
                  <a:pt x="4400" y="1044"/>
                </a:lnTo>
                <a:lnTo>
                  <a:pt x="4389" y="1042"/>
                </a:lnTo>
                <a:lnTo>
                  <a:pt x="4377" y="1041"/>
                </a:lnTo>
                <a:lnTo>
                  <a:pt x="4358" y="1041"/>
                </a:lnTo>
                <a:lnTo>
                  <a:pt x="4335" y="1040"/>
                </a:lnTo>
                <a:lnTo>
                  <a:pt x="4305" y="1040"/>
                </a:lnTo>
                <a:lnTo>
                  <a:pt x="4305" y="937"/>
                </a:lnTo>
                <a:close/>
                <a:moveTo>
                  <a:pt x="3907" y="1006"/>
                </a:moveTo>
                <a:lnTo>
                  <a:pt x="3889" y="1008"/>
                </a:lnTo>
                <a:lnTo>
                  <a:pt x="3873" y="1010"/>
                </a:lnTo>
                <a:lnTo>
                  <a:pt x="3858" y="1013"/>
                </a:lnTo>
                <a:lnTo>
                  <a:pt x="3843" y="1017"/>
                </a:lnTo>
                <a:lnTo>
                  <a:pt x="3831" y="1020"/>
                </a:lnTo>
                <a:lnTo>
                  <a:pt x="3820" y="1024"/>
                </a:lnTo>
                <a:lnTo>
                  <a:pt x="3810" y="1030"/>
                </a:lnTo>
                <a:lnTo>
                  <a:pt x="3801" y="1035"/>
                </a:lnTo>
                <a:lnTo>
                  <a:pt x="3794" y="1040"/>
                </a:lnTo>
                <a:lnTo>
                  <a:pt x="3788" y="1047"/>
                </a:lnTo>
                <a:lnTo>
                  <a:pt x="3781" y="1055"/>
                </a:lnTo>
                <a:lnTo>
                  <a:pt x="3777" y="1063"/>
                </a:lnTo>
                <a:lnTo>
                  <a:pt x="3774" y="1072"/>
                </a:lnTo>
                <a:lnTo>
                  <a:pt x="3771" y="1083"/>
                </a:lnTo>
                <a:lnTo>
                  <a:pt x="3770" y="1094"/>
                </a:lnTo>
                <a:lnTo>
                  <a:pt x="3770" y="1106"/>
                </a:lnTo>
                <a:lnTo>
                  <a:pt x="3770" y="1121"/>
                </a:lnTo>
                <a:lnTo>
                  <a:pt x="3773" y="1136"/>
                </a:lnTo>
                <a:lnTo>
                  <a:pt x="3775" y="1141"/>
                </a:lnTo>
                <a:lnTo>
                  <a:pt x="3777" y="1147"/>
                </a:lnTo>
                <a:lnTo>
                  <a:pt x="3780" y="1151"/>
                </a:lnTo>
                <a:lnTo>
                  <a:pt x="3783" y="1157"/>
                </a:lnTo>
                <a:lnTo>
                  <a:pt x="3788" y="1161"/>
                </a:lnTo>
                <a:lnTo>
                  <a:pt x="3792" y="1164"/>
                </a:lnTo>
                <a:lnTo>
                  <a:pt x="3796" y="1167"/>
                </a:lnTo>
                <a:lnTo>
                  <a:pt x="3801" y="1169"/>
                </a:lnTo>
                <a:lnTo>
                  <a:pt x="3808" y="1171"/>
                </a:lnTo>
                <a:lnTo>
                  <a:pt x="3813" y="1172"/>
                </a:lnTo>
                <a:lnTo>
                  <a:pt x="3819" y="1173"/>
                </a:lnTo>
                <a:lnTo>
                  <a:pt x="3826" y="1173"/>
                </a:lnTo>
                <a:lnTo>
                  <a:pt x="3834" y="1172"/>
                </a:lnTo>
                <a:lnTo>
                  <a:pt x="3841" y="1171"/>
                </a:lnTo>
                <a:lnTo>
                  <a:pt x="3848" y="1169"/>
                </a:lnTo>
                <a:lnTo>
                  <a:pt x="3856" y="1166"/>
                </a:lnTo>
                <a:lnTo>
                  <a:pt x="3863" y="1162"/>
                </a:lnTo>
                <a:lnTo>
                  <a:pt x="3869" y="1157"/>
                </a:lnTo>
                <a:lnTo>
                  <a:pt x="3876" y="1150"/>
                </a:lnTo>
                <a:lnTo>
                  <a:pt x="3882" y="1143"/>
                </a:lnTo>
                <a:lnTo>
                  <a:pt x="3888" y="1135"/>
                </a:lnTo>
                <a:lnTo>
                  <a:pt x="3894" y="1124"/>
                </a:lnTo>
                <a:lnTo>
                  <a:pt x="3898" y="1113"/>
                </a:lnTo>
                <a:lnTo>
                  <a:pt x="3901" y="1100"/>
                </a:lnTo>
                <a:lnTo>
                  <a:pt x="3904" y="1086"/>
                </a:lnTo>
                <a:lnTo>
                  <a:pt x="3906" y="1069"/>
                </a:lnTo>
                <a:lnTo>
                  <a:pt x="3907" y="1051"/>
                </a:lnTo>
                <a:lnTo>
                  <a:pt x="3907" y="1032"/>
                </a:lnTo>
                <a:lnTo>
                  <a:pt x="3907" y="1006"/>
                </a:lnTo>
                <a:close/>
                <a:moveTo>
                  <a:pt x="3776" y="897"/>
                </a:moveTo>
                <a:lnTo>
                  <a:pt x="3615" y="883"/>
                </a:lnTo>
                <a:lnTo>
                  <a:pt x="3620" y="864"/>
                </a:lnTo>
                <a:lnTo>
                  <a:pt x="3625" y="846"/>
                </a:lnTo>
                <a:lnTo>
                  <a:pt x="3632" y="829"/>
                </a:lnTo>
                <a:lnTo>
                  <a:pt x="3641" y="813"/>
                </a:lnTo>
                <a:lnTo>
                  <a:pt x="3651" y="799"/>
                </a:lnTo>
                <a:lnTo>
                  <a:pt x="3664" y="785"/>
                </a:lnTo>
                <a:lnTo>
                  <a:pt x="3677" y="773"/>
                </a:lnTo>
                <a:lnTo>
                  <a:pt x="3693" y="761"/>
                </a:lnTo>
                <a:lnTo>
                  <a:pt x="3711" y="751"/>
                </a:lnTo>
                <a:lnTo>
                  <a:pt x="3729" y="743"/>
                </a:lnTo>
                <a:lnTo>
                  <a:pt x="3748" y="735"/>
                </a:lnTo>
                <a:lnTo>
                  <a:pt x="3769" y="729"/>
                </a:lnTo>
                <a:lnTo>
                  <a:pt x="3790" y="725"/>
                </a:lnTo>
                <a:lnTo>
                  <a:pt x="3813" y="722"/>
                </a:lnTo>
                <a:lnTo>
                  <a:pt x="3836" y="720"/>
                </a:lnTo>
                <a:lnTo>
                  <a:pt x="3861" y="719"/>
                </a:lnTo>
                <a:lnTo>
                  <a:pt x="3881" y="719"/>
                </a:lnTo>
                <a:lnTo>
                  <a:pt x="3901" y="721"/>
                </a:lnTo>
                <a:lnTo>
                  <a:pt x="3920" y="723"/>
                </a:lnTo>
                <a:lnTo>
                  <a:pt x="3938" y="726"/>
                </a:lnTo>
                <a:lnTo>
                  <a:pt x="3955" y="730"/>
                </a:lnTo>
                <a:lnTo>
                  <a:pt x="3969" y="734"/>
                </a:lnTo>
                <a:lnTo>
                  <a:pt x="3984" y="741"/>
                </a:lnTo>
                <a:lnTo>
                  <a:pt x="3998" y="747"/>
                </a:lnTo>
                <a:lnTo>
                  <a:pt x="4010" y="754"/>
                </a:lnTo>
                <a:lnTo>
                  <a:pt x="4021" y="762"/>
                </a:lnTo>
                <a:lnTo>
                  <a:pt x="4031" y="770"/>
                </a:lnTo>
                <a:lnTo>
                  <a:pt x="4040" y="778"/>
                </a:lnTo>
                <a:lnTo>
                  <a:pt x="4047" y="786"/>
                </a:lnTo>
                <a:lnTo>
                  <a:pt x="4053" y="795"/>
                </a:lnTo>
                <a:lnTo>
                  <a:pt x="4058" y="804"/>
                </a:lnTo>
                <a:lnTo>
                  <a:pt x="4063" y="813"/>
                </a:lnTo>
                <a:lnTo>
                  <a:pt x="4066" y="824"/>
                </a:lnTo>
                <a:lnTo>
                  <a:pt x="4069" y="834"/>
                </a:lnTo>
                <a:lnTo>
                  <a:pt x="4071" y="848"/>
                </a:lnTo>
                <a:lnTo>
                  <a:pt x="4073" y="861"/>
                </a:lnTo>
                <a:lnTo>
                  <a:pt x="4075" y="892"/>
                </a:lnTo>
                <a:lnTo>
                  <a:pt x="4076" y="930"/>
                </a:lnTo>
                <a:lnTo>
                  <a:pt x="4076" y="1140"/>
                </a:lnTo>
                <a:lnTo>
                  <a:pt x="4077" y="1184"/>
                </a:lnTo>
                <a:lnTo>
                  <a:pt x="4078" y="1218"/>
                </a:lnTo>
                <a:lnTo>
                  <a:pt x="4079" y="1231"/>
                </a:lnTo>
                <a:lnTo>
                  <a:pt x="4082" y="1242"/>
                </a:lnTo>
                <a:lnTo>
                  <a:pt x="4083" y="1251"/>
                </a:lnTo>
                <a:lnTo>
                  <a:pt x="4085" y="1256"/>
                </a:lnTo>
                <a:lnTo>
                  <a:pt x="3929" y="1256"/>
                </a:lnTo>
                <a:lnTo>
                  <a:pt x="3926" y="1244"/>
                </a:lnTo>
                <a:lnTo>
                  <a:pt x="3923" y="1226"/>
                </a:lnTo>
                <a:lnTo>
                  <a:pt x="3922" y="1203"/>
                </a:lnTo>
                <a:lnTo>
                  <a:pt x="3921" y="1176"/>
                </a:lnTo>
                <a:lnTo>
                  <a:pt x="3915" y="1188"/>
                </a:lnTo>
                <a:lnTo>
                  <a:pt x="3906" y="1198"/>
                </a:lnTo>
                <a:lnTo>
                  <a:pt x="3899" y="1208"/>
                </a:lnTo>
                <a:lnTo>
                  <a:pt x="3890" y="1217"/>
                </a:lnTo>
                <a:lnTo>
                  <a:pt x="3881" y="1225"/>
                </a:lnTo>
                <a:lnTo>
                  <a:pt x="3872" y="1232"/>
                </a:lnTo>
                <a:lnTo>
                  <a:pt x="3862" y="1240"/>
                </a:lnTo>
                <a:lnTo>
                  <a:pt x="3852" y="1246"/>
                </a:lnTo>
                <a:lnTo>
                  <a:pt x="3841" y="1251"/>
                </a:lnTo>
                <a:lnTo>
                  <a:pt x="3831" y="1256"/>
                </a:lnTo>
                <a:lnTo>
                  <a:pt x="3819" y="1261"/>
                </a:lnTo>
                <a:lnTo>
                  <a:pt x="3808" y="1264"/>
                </a:lnTo>
                <a:lnTo>
                  <a:pt x="3795" y="1266"/>
                </a:lnTo>
                <a:lnTo>
                  <a:pt x="3782" y="1268"/>
                </a:lnTo>
                <a:lnTo>
                  <a:pt x="3769" y="1269"/>
                </a:lnTo>
                <a:lnTo>
                  <a:pt x="3756" y="1270"/>
                </a:lnTo>
                <a:lnTo>
                  <a:pt x="3738" y="1269"/>
                </a:lnTo>
                <a:lnTo>
                  <a:pt x="3721" y="1267"/>
                </a:lnTo>
                <a:lnTo>
                  <a:pt x="3706" y="1265"/>
                </a:lnTo>
                <a:lnTo>
                  <a:pt x="3691" y="1261"/>
                </a:lnTo>
                <a:lnTo>
                  <a:pt x="3677" y="1255"/>
                </a:lnTo>
                <a:lnTo>
                  <a:pt x="3665" y="1249"/>
                </a:lnTo>
                <a:lnTo>
                  <a:pt x="3652" y="1241"/>
                </a:lnTo>
                <a:lnTo>
                  <a:pt x="3641" y="1232"/>
                </a:lnTo>
                <a:lnTo>
                  <a:pt x="3630" y="1223"/>
                </a:lnTo>
                <a:lnTo>
                  <a:pt x="3621" y="1212"/>
                </a:lnTo>
                <a:lnTo>
                  <a:pt x="3613" y="1200"/>
                </a:lnTo>
                <a:lnTo>
                  <a:pt x="3607" y="1188"/>
                </a:lnTo>
                <a:lnTo>
                  <a:pt x="3603" y="1173"/>
                </a:lnTo>
                <a:lnTo>
                  <a:pt x="3599" y="1159"/>
                </a:lnTo>
                <a:lnTo>
                  <a:pt x="3596" y="1142"/>
                </a:lnTo>
                <a:lnTo>
                  <a:pt x="3596" y="1125"/>
                </a:lnTo>
                <a:lnTo>
                  <a:pt x="3596" y="1115"/>
                </a:lnTo>
                <a:lnTo>
                  <a:pt x="3598" y="1104"/>
                </a:lnTo>
                <a:lnTo>
                  <a:pt x="3599" y="1094"/>
                </a:lnTo>
                <a:lnTo>
                  <a:pt x="3601" y="1084"/>
                </a:lnTo>
                <a:lnTo>
                  <a:pt x="3603" y="1074"/>
                </a:lnTo>
                <a:lnTo>
                  <a:pt x="3606" y="1065"/>
                </a:lnTo>
                <a:lnTo>
                  <a:pt x="3609" y="1056"/>
                </a:lnTo>
                <a:lnTo>
                  <a:pt x="3613" y="1047"/>
                </a:lnTo>
                <a:lnTo>
                  <a:pt x="3617" y="1039"/>
                </a:lnTo>
                <a:lnTo>
                  <a:pt x="3623" y="1031"/>
                </a:lnTo>
                <a:lnTo>
                  <a:pt x="3628" y="1022"/>
                </a:lnTo>
                <a:lnTo>
                  <a:pt x="3634" y="1015"/>
                </a:lnTo>
                <a:lnTo>
                  <a:pt x="3641" y="1008"/>
                </a:lnTo>
                <a:lnTo>
                  <a:pt x="3648" y="1002"/>
                </a:lnTo>
                <a:lnTo>
                  <a:pt x="3655" y="995"/>
                </a:lnTo>
                <a:lnTo>
                  <a:pt x="3664" y="989"/>
                </a:lnTo>
                <a:lnTo>
                  <a:pt x="3672" y="983"/>
                </a:lnTo>
                <a:lnTo>
                  <a:pt x="3682" y="978"/>
                </a:lnTo>
                <a:lnTo>
                  <a:pt x="3692" y="972"/>
                </a:lnTo>
                <a:lnTo>
                  <a:pt x="3704" y="967"/>
                </a:lnTo>
                <a:lnTo>
                  <a:pt x="3716" y="962"/>
                </a:lnTo>
                <a:lnTo>
                  <a:pt x="3729" y="958"/>
                </a:lnTo>
                <a:lnTo>
                  <a:pt x="3743" y="954"/>
                </a:lnTo>
                <a:lnTo>
                  <a:pt x="3758" y="951"/>
                </a:lnTo>
                <a:lnTo>
                  <a:pt x="3790" y="943"/>
                </a:lnTo>
                <a:lnTo>
                  <a:pt x="3825" y="938"/>
                </a:lnTo>
                <a:lnTo>
                  <a:pt x="3865" y="934"/>
                </a:lnTo>
                <a:lnTo>
                  <a:pt x="3907" y="931"/>
                </a:lnTo>
                <a:lnTo>
                  <a:pt x="3907" y="911"/>
                </a:lnTo>
                <a:lnTo>
                  <a:pt x="3907" y="886"/>
                </a:lnTo>
                <a:lnTo>
                  <a:pt x="3904" y="865"/>
                </a:lnTo>
                <a:lnTo>
                  <a:pt x="3903" y="856"/>
                </a:lnTo>
                <a:lnTo>
                  <a:pt x="3901" y="849"/>
                </a:lnTo>
                <a:lnTo>
                  <a:pt x="3898" y="841"/>
                </a:lnTo>
                <a:lnTo>
                  <a:pt x="3896" y="836"/>
                </a:lnTo>
                <a:lnTo>
                  <a:pt x="3892" y="831"/>
                </a:lnTo>
                <a:lnTo>
                  <a:pt x="3887" y="827"/>
                </a:lnTo>
                <a:lnTo>
                  <a:pt x="3883" y="824"/>
                </a:lnTo>
                <a:lnTo>
                  <a:pt x="3877" y="821"/>
                </a:lnTo>
                <a:lnTo>
                  <a:pt x="3871" y="819"/>
                </a:lnTo>
                <a:lnTo>
                  <a:pt x="3863" y="816"/>
                </a:lnTo>
                <a:lnTo>
                  <a:pt x="3856" y="815"/>
                </a:lnTo>
                <a:lnTo>
                  <a:pt x="3847" y="815"/>
                </a:lnTo>
                <a:lnTo>
                  <a:pt x="3839" y="815"/>
                </a:lnTo>
                <a:lnTo>
                  <a:pt x="3832" y="816"/>
                </a:lnTo>
                <a:lnTo>
                  <a:pt x="3825" y="819"/>
                </a:lnTo>
                <a:lnTo>
                  <a:pt x="3819" y="821"/>
                </a:lnTo>
                <a:lnTo>
                  <a:pt x="3813" y="823"/>
                </a:lnTo>
                <a:lnTo>
                  <a:pt x="3806" y="827"/>
                </a:lnTo>
                <a:lnTo>
                  <a:pt x="3801" y="831"/>
                </a:lnTo>
                <a:lnTo>
                  <a:pt x="3797" y="835"/>
                </a:lnTo>
                <a:lnTo>
                  <a:pt x="3793" y="841"/>
                </a:lnTo>
                <a:lnTo>
                  <a:pt x="3789" y="847"/>
                </a:lnTo>
                <a:lnTo>
                  <a:pt x="3785" y="854"/>
                </a:lnTo>
                <a:lnTo>
                  <a:pt x="3782" y="861"/>
                </a:lnTo>
                <a:lnTo>
                  <a:pt x="3780" y="868"/>
                </a:lnTo>
                <a:lnTo>
                  <a:pt x="3778" y="878"/>
                </a:lnTo>
                <a:lnTo>
                  <a:pt x="3777" y="887"/>
                </a:lnTo>
                <a:lnTo>
                  <a:pt x="3776" y="897"/>
                </a:lnTo>
                <a:close/>
                <a:moveTo>
                  <a:pt x="3208" y="1041"/>
                </a:moveTo>
                <a:lnTo>
                  <a:pt x="3208" y="1059"/>
                </a:lnTo>
                <a:lnTo>
                  <a:pt x="3209" y="1074"/>
                </a:lnTo>
                <a:lnTo>
                  <a:pt x="3210" y="1089"/>
                </a:lnTo>
                <a:lnTo>
                  <a:pt x="3211" y="1102"/>
                </a:lnTo>
                <a:lnTo>
                  <a:pt x="3213" y="1114"/>
                </a:lnTo>
                <a:lnTo>
                  <a:pt x="3215" y="1123"/>
                </a:lnTo>
                <a:lnTo>
                  <a:pt x="3218" y="1132"/>
                </a:lnTo>
                <a:lnTo>
                  <a:pt x="3222" y="1138"/>
                </a:lnTo>
                <a:lnTo>
                  <a:pt x="3226" y="1143"/>
                </a:lnTo>
                <a:lnTo>
                  <a:pt x="3230" y="1147"/>
                </a:lnTo>
                <a:lnTo>
                  <a:pt x="3236" y="1151"/>
                </a:lnTo>
                <a:lnTo>
                  <a:pt x="3243" y="1154"/>
                </a:lnTo>
                <a:lnTo>
                  <a:pt x="3250" y="1157"/>
                </a:lnTo>
                <a:lnTo>
                  <a:pt x="3258" y="1159"/>
                </a:lnTo>
                <a:lnTo>
                  <a:pt x="3268" y="1160"/>
                </a:lnTo>
                <a:lnTo>
                  <a:pt x="3278" y="1160"/>
                </a:lnTo>
                <a:lnTo>
                  <a:pt x="3288" y="1160"/>
                </a:lnTo>
                <a:lnTo>
                  <a:pt x="3296" y="1159"/>
                </a:lnTo>
                <a:lnTo>
                  <a:pt x="3304" y="1156"/>
                </a:lnTo>
                <a:lnTo>
                  <a:pt x="3311" y="1152"/>
                </a:lnTo>
                <a:lnTo>
                  <a:pt x="3318" y="1148"/>
                </a:lnTo>
                <a:lnTo>
                  <a:pt x="3323" y="1143"/>
                </a:lnTo>
                <a:lnTo>
                  <a:pt x="3330" y="1137"/>
                </a:lnTo>
                <a:lnTo>
                  <a:pt x="3334" y="1131"/>
                </a:lnTo>
                <a:lnTo>
                  <a:pt x="3338" y="1121"/>
                </a:lnTo>
                <a:lnTo>
                  <a:pt x="3342" y="1110"/>
                </a:lnTo>
                <a:lnTo>
                  <a:pt x="3346" y="1096"/>
                </a:lnTo>
                <a:lnTo>
                  <a:pt x="3348" y="1080"/>
                </a:lnTo>
                <a:lnTo>
                  <a:pt x="3350" y="1060"/>
                </a:lnTo>
                <a:lnTo>
                  <a:pt x="3352" y="1038"/>
                </a:lnTo>
                <a:lnTo>
                  <a:pt x="3353" y="1013"/>
                </a:lnTo>
                <a:lnTo>
                  <a:pt x="3353" y="986"/>
                </a:lnTo>
                <a:lnTo>
                  <a:pt x="3353" y="962"/>
                </a:lnTo>
                <a:lnTo>
                  <a:pt x="3352" y="941"/>
                </a:lnTo>
                <a:lnTo>
                  <a:pt x="3351" y="923"/>
                </a:lnTo>
                <a:lnTo>
                  <a:pt x="3349" y="905"/>
                </a:lnTo>
                <a:lnTo>
                  <a:pt x="3347" y="890"/>
                </a:lnTo>
                <a:lnTo>
                  <a:pt x="3343" y="877"/>
                </a:lnTo>
                <a:lnTo>
                  <a:pt x="3340" y="865"/>
                </a:lnTo>
                <a:lnTo>
                  <a:pt x="3337" y="856"/>
                </a:lnTo>
                <a:lnTo>
                  <a:pt x="3332" y="848"/>
                </a:lnTo>
                <a:lnTo>
                  <a:pt x="3328" y="840"/>
                </a:lnTo>
                <a:lnTo>
                  <a:pt x="3321" y="835"/>
                </a:lnTo>
                <a:lnTo>
                  <a:pt x="3315" y="830"/>
                </a:lnTo>
                <a:lnTo>
                  <a:pt x="3308" y="827"/>
                </a:lnTo>
                <a:lnTo>
                  <a:pt x="3300" y="824"/>
                </a:lnTo>
                <a:lnTo>
                  <a:pt x="3292" y="822"/>
                </a:lnTo>
                <a:lnTo>
                  <a:pt x="3283" y="822"/>
                </a:lnTo>
                <a:lnTo>
                  <a:pt x="3275" y="822"/>
                </a:lnTo>
                <a:lnTo>
                  <a:pt x="3268" y="823"/>
                </a:lnTo>
                <a:lnTo>
                  <a:pt x="3260" y="825"/>
                </a:lnTo>
                <a:lnTo>
                  <a:pt x="3254" y="827"/>
                </a:lnTo>
                <a:lnTo>
                  <a:pt x="3247" y="830"/>
                </a:lnTo>
                <a:lnTo>
                  <a:pt x="3242" y="834"/>
                </a:lnTo>
                <a:lnTo>
                  <a:pt x="3235" y="838"/>
                </a:lnTo>
                <a:lnTo>
                  <a:pt x="3230" y="843"/>
                </a:lnTo>
                <a:lnTo>
                  <a:pt x="3225" y="850"/>
                </a:lnTo>
                <a:lnTo>
                  <a:pt x="3220" y="857"/>
                </a:lnTo>
                <a:lnTo>
                  <a:pt x="3216" y="867"/>
                </a:lnTo>
                <a:lnTo>
                  <a:pt x="3213" y="879"/>
                </a:lnTo>
                <a:lnTo>
                  <a:pt x="3211" y="891"/>
                </a:lnTo>
                <a:lnTo>
                  <a:pt x="3209" y="907"/>
                </a:lnTo>
                <a:lnTo>
                  <a:pt x="3208" y="924"/>
                </a:lnTo>
                <a:lnTo>
                  <a:pt x="3208" y="942"/>
                </a:lnTo>
                <a:lnTo>
                  <a:pt x="3208" y="1041"/>
                </a:lnTo>
                <a:close/>
                <a:moveTo>
                  <a:pt x="3041" y="731"/>
                </a:moveTo>
                <a:lnTo>
                  <a:pt x="3200" y="731"/>
                </a:lnTo>
                <a:lnTo>
                  <a:pt x="3200" y="810"/>
                </a:lnTo>
                <a:lnTo>
                  <a:pt x="3206" y="800"/>
                </a:lnTo>
                <a:lnTo>
                  <a:pt x="3212" y="790"/>
                </a:lnTo>
                <a:lnTo>
                  <a:pt x="3218" y="781"/>
                </a:lnTo>
                <a:lnTo>
                  <a:pt x="3226" y="773"/>
                </a:lnTo>
                <a:lnTo>
                  <a:pt x="3233" y="765"/>
                </a:lnTo>
                <a:lnTo>
                  <a:pt x="3242" y="758"/>
                </a:lnTo>
                <a:lnTo>
                  <a:pt x="3249" y="752"/>
                </a:lnTo>
                <a:lnTo>
                  <a:pt x="3257" y="747"/>
                </a:lnTo>
                <a:lnTo>
                  <a:pt x="3266" y="742"/>
                </a:lnTo>
                <a:lnTo>
                  <a:pt x="3275" y="737"/>
                </a:lnTo>
                <a:lnTo>
                  <a:pt x="3285" y="733"/>
                </a:lnTo>
                <a:lnTo>
                  <a:pt x="3294" y="730"/>
                </a:lnTo>
                <a:lnTo>
                  <a:pt x="3304" y="728"/>
                </a:lnTo>
                <a:lnTo>
                  <a:pt x="3314" y="726"/>
                </a:lnTo>
                <a:lnTo>
                  <a:pt x="3325" y="725"/>
                </a:lnTo>
                <a:lnTo>
                  <a:pt x="3335" y="725"/>
                </a:lnTo>
                <a:lnTo>
                  <a:pt x="3346" y="725"/>
                </a:lnTo>
                <a:lnTo>
                  <a:pt x="3355" y="726"/>
                </a:lnTo>
                <a:lnTo>
                  <a:pt x="3364" y="727"/>
                </a:lnTo>
                <a:lnTo>
                  <a:pt x="3374" y="729"/>
                </a:lnTo>
                <a:lnTo>
                  <a:pt x="3383" y="731"/>
                </a:lnTo>
                <a:lnTo>
                  <a:pt x="3393" y="734"/>
                </a:lnTo>
                <a:lnTo>
                  <a:pt x="3401" y="737"/>
                </a:lnTo>
                <a:lnTo>
                  <a:pt x="3411" y="742"/>
                </a:lnTo>
                <a:lnTo>
                  <a:pt x="3419" y="746"/>
                </a:lnTo>
                <a:lnTo>
                  <a:pt x="3426" y="750"/>
                </a:lnTo>
                <a:lnTo>
                  <a:pt x="3435" y="755"/>
                </a:lnTo>
                <a:lnTo>
                  <a:pt x="3442" y="761"/>
                </a:lnTo>
                <a:lnTo>
                  <a:pt x="3457" y="774"/>
                </a:lnTo>
                <a:lnTo>
                  <a:pt x="3472" y="789"/>
                </a:lnTo>
                <a:lnTo>
                  <a:pt x="3478" y="798"/>
                </a:lnTo>
                <a:lnTo>
                  <a:pt x="3484" y="806"/>
                </a:lnTo>
                <a:lnTo>
                  <a:pt x="3489" y="815"/>
                </a:lnTo>
                <a:lnTo>
                  <a:pt x="3495" y="826"/>
                </a:lnTo>
                <a:lnTo>
                  <a:pt x="3500" y="836"/>
                </a:lnTo>
                <a:lnTo>
                  <a:pt x="3504" y="847"/>
                </a:lnTo>
                <a:lnTo>
                  <a:pt x="3508" y="858"/>
                </a:lnTo>
                <a:lnTo>
                  <a:pt x="3512" y="871"/>
                </a:lnTo>
                <a:lnTo>
                  <a:pt x="3518" y="895"/>
                </a:lnTo>
                <a:lnTo>
                  <a:pt x="3522" y="924"/>
                </a:lnTo>
                <a:lnTo>
                  <a:pt x="3525" y="953"/>
                </a:lnTo>
                <a:lnTo>
                  <a:pt x="3526" y="985"/>
                </a:lnTo>
                <a:lnTo>
                  <a:pt x="3525" y="1018"/>
                </a:lnTo>
                <a:lnTo>
                  <a:pt x="3522" y="1049"/>
                </a:lnTo>
                <a:lnTo>
                  <a:pt x="3518" y="1079"/>
                </a:lnTo>
                <a:lnTo>
                  <a:pt x="3512" y="1106"/>
                </a:lnTo>
                <a:lnTo>
                  <a:pt x="3508" y="1119"/>
                </a:lnTo>
                <a:lnTo>
                  <a:pt x="3505" y="1131"/>
                </a:lnTo>
                <a:lnTo>
                  <a:pt x="3501" y="1143"/>
                </a:lnTo>
                <a:lnTo>
                  <a:pt x="3496" y="1153"/>
                </a:lnTo>
                <a:lnTo>
                  <a:pt x="3490" y="1165"/>
                </a:lnTo>
                <a:lnTo>
                  <a:pt x="3485" y="1174"/>
                </a:lnTo>
                <a:lnTo>
                  <a:pt x="3479" y="1185"/>
                </a:lnTo>
                <a:lnTo>
                  <a:pt x="3473" y="1193"/>
                </a:lnTo>
                <a:lnTo>
                  <a:pt x="3465" y="1201"/>
                </a:lnTo>
                <a:lnTo>
                  <a:pt x="3458" y="1210"/>
                </a:lnTo>
                <a:lnTo>
                  <a:pt x="3451" y="1217"/>
                </a:lnTo>
                <a:lnTo>
                  <a:pt x="3443" y="1224"/>
                </a:lnTo>
                <a:lnTo>
                  <a:pt x="3435" y="1230"/>
                </a:lnTo>
                <a:lnTo>
                  <a:pt x="3426" y="1236"/>
                </a:lnTo>
                <a:lnTo>
                  <a:pt x="3417" y="1241"/>
                </a:lnTo>
                <a:lnTo>
                  <a:pt x="3409" y="1246"/>
                </a:lnTo>
                <a:lnTo>
                  <a:pt x="3399" y="1250"/>
                </a:lnTo>
                <a:lnTo>
                  <a:pt x="3389" y="1253"/>
                </a:lnTo>
                <a:lnTo>
                  <a:pt x="3378" y="1256"/>
                </a:lnTo>
                <a:lnTo>
                  <a:pt x="3368" y="1258"/>
                </a:lnTo>
                <a:lnTo>
                  <a:pt x="3357" y="1261"/>
                </a:lnTo>
                <a:lnTo>
                  <a:pt x="3346" y="1262"/>
                </a:lnTo>
                <a:lnTo>
                  <a:pt x="3334" y="1263"/>
                </a:lnTo>
                <a:lnTo>
                  <a:pt x="3322" y="1263"/>
                </a:lnTo>
                <a:lnTo>
                  <a:pt x="3306" y="1263"/>
                </a:lnTo>
                <a:lnTo>
                  <a:pt x="3289" y="1261"/>
                </a:lnTo>
                <a:lnTo>
                  <a:pt x="3273" y="1256"/>
                </a:lnTo>
                <a:lnTo>
                  <a:pt x="3258" y="1251"/>
                </a:lnTo>
                <a:lnTo>
                  <a:pt x="3245" y="1245"/>
                </a:lnTo>
                <a:lnTo>
                  <a:pt x="3232" y="1237"/>
                </a:lnTo>
                <a:lnTo>
                  <a:pt x="3220" y="1227"/>
                </a:lnTo>
                <a:lnTo>
                  <a:pt x="3208" y="1217"/>
                </a:lnTo>
                <a:lnTo>
                  <a:pt x="3208" y="1434"/>
                </a:lnTo>
                <a:lnTo>
                  <a:pt x="3041" y="1434"/>
                </a:lnTo>
                <a:lnTo>
                  <a:pt x="3041" y="731"/>
                </a:lnTo>
                <a:close/>
                <a:moveTo>
                  <a:pt x="2636" y="1143"/>
                </a:moveTo>
                <a:lnTo>
                  <a:pt x="2737" y="1143"/>
                </a:lnTo>
                <a:lnTo>
                  <a:pt x="2745" y="1143"/>
                </a:lnTo>
                <a:lnTo>
                  <a:pt x="2752" y="1142"/>
                </a:lnTo>
                <a:lnTo>
                  <a:pt x="2760" y="1141"/>
                </a:lnTo>
                <a:lnTo>
                  <a:pt x="2766" y="1139"/>
                </a:lnTo>
                <a:lnTo>
                  <a:pt x="2771" y="1138"/>
                </a:lnTo>
                <a:lnTo>
                  <a:pt x="2776" y="1135"/>
                </a:lnTo>
                <a:lnTo>
                  <a:pt x="2781" y="1132"/>
                </a:lnTo>
                <a:lnTo>
                  <a:pt x="2784" y="1128"/>
                </a:lnTo>
                <a:lnTo>
                  <a:pt x="2786" y="1124"/>
                </a:lnTo>
                <a:lnTo>
                  <a:pt x="2789" y="1120"/>
                </a:lnTo>
                <a:lnTo>
                  <a:pt x="2791" y="1116"/>
                </a:lnTo>
                <a:lnTo>
                  <a:pt x="2792" y="1111"/>
                </a:lnTo>
                <a:lnTo>
                  <a:pt x="2795" y="1098"/>
                </a:lnTo>
                <a:lnTo>
                  <a:pt x="2795" y="1085"/>
                </a:lnTo>
                <a:lnTo>
                  <a:pt x="2794" y="1071"/>
                </a:lnTo>
                <a:lnTo>
                  <a:pt x="2792" y="1059"/>
                </a:lnTo>
                <a:lnTo>
                  <a:pt x="2791" y="1054"/>
                </a:lnTo>
                <a:lnTo>
                  <a:pt x="2788" y="1049"/>
                </a:lnTo>
                <a:lnTo>
                  <a:pt x="2786" y="1044"/>
                </a:lnTo>
                <a:lnTo>
                  <a:pt x="2783" y="1041"/>
                </a:lnTo>
                <a:lnTo>
                  <a:pt x="2780" y="1037"/>
                </a:lnTo>
                <a:lnTo>
                  <a:pt x="2775" y="1034"/>
                </a:lnTo>
                <a:lnTo>
                  <a:pt x="2770" y="1031"/>
                </a:lnTo>
                <a:lnTo>
                  <a:pt x="2765" y="1029"/>
                </a:lnTo>
                <a:lnTo>
                  <a:pt x="2759" y="1028"/>
                </a:lnTo>
                <a:lnTo>
                  <a:pt x="2752" y="1027"/>
                </a:lnTo>
                <a:lnTo>
                  <a:pt x="2745" y="1025"/>
                </a:lnTo>
                <a:lnTo>
                  <a:pt x="2737" y="1025"/>
                </a:lnTo>
                <a:lnTo>
                  <a:pt x="2636" y="1025"/>
                </a:lnTo>
                <a:lnTo>
                  <a:pt x="2636" y="1143"/>
                </a:lnTo>
                <a:close/>
                <a:moveTo>
                  <a:pt x="2636" y="935"/>
                </a:moveTo>
                <a:lnTo>
                  <a:pt x="2728" y="935"/>
                </a:lnTo>
                <a:lnTo>
                  <a:pt x="2742" y="935"/>
                </a:lnTo>
                <a:lnTo>
                  <a:pt x="2754" y="933"/>
                </a:lnTo>
                <a:lnTo>
                  <a:pt x="2764" y="929"/>
                </a:lnTo>
                <a:lnTo>
                  <a:pt x="2771" y="925"/>
                </a:lnTo>
                <a:lnTo>
                  <a:pt x="2774" y="921"/>
                </a:lnTo>
                <a:lnTo>
                  <a:pt x="2777" y="917"/>
                </a:lnTo>
                <a:lnTo>
                  <a:pt x="2780" y="913"/>
                </a:lnTo>
                <a:lnTo>
                  <a:pt x="2782" y="908"/>
                </a:lnTo>
                <a:lnTo>
                  <a:pt x="2784" y="898"/>
                </a:lnTo>
                <a:lnTo>
                  <a:pt x="2785" y="884"/>
                </a:lnTo>
                <a:lnTo>
                  <a:pt x="2784" y="873"/>
                </a:lnTo>
                <a:lnTo>
                  <a:pt x="2783" y="863"/>
                </a:lnTo>
                <a:lnTo>
                  <a:pt x="2780" y="854"/>
                </a:lnTo>
                <a:lnTo>
                  <a:pt x="2776" y="846"/>
                </a:lnTo>
                <a:lnTo>
                  <a:pt x="2773" y="841"/>
                </a:lnTo>
                <a:lnTo>
                  <a:pt x="2770" y="837"/>
                </a:lnTo>
                <a:lnTo>
                  <a:pt x="2766" y="835"/>
                </a:lnTo>
                <a:lnTo>
                  <a:pt x="2760" y="832"/>
                </a:lnTo>
                <a:lnTo>
                  <a:pt x="2753" y="830"/>
                </a:lnTo>
                <a:lnTo>
                  <a:pt x="2746" y="829"/>
                </a:lnTo>
                <a:lnTo>
                  <a:pt x="2738" y="828"/>
                </a:lnTo>
                <a:lnTo>
                  <a:pt x="2728" y="828"/>
                </a:lnTo>
                <a:lnTo>
                  <a:pt x="2636" y="828"/>
                </a:lnTo>
                <a:lnTo>
                  <a:pt x="2636" y="935"/>
                </a:lnTo>
                <a:close/>
                <a:moveTo>
                  <a:pt x="2456" y="1256"/>
                </a:moveTo>
                <a:lnTo>
                  <a:pt x="2456" y="731"/>
                </a:lnTo>
                <a:lnTo>
                  <a:pt x="2763" y="731"/>
                </a:lnTo>
                <a:lnTo>
                  <a:pt x="2789" y="732"/>
                </a:lnTo>
                <a:lnTo>
                  <a:pt x="2813" y="734"/>
                </a:lnTo>
                <a:lnTo>
                  <a:pt x="2835" y="737"/>
                </a:lnTo>
                <a:lnTo>
                  <a:pt x="2853" y="743"/>
                </a:lnTo>
                <a:lnTo>
                  <a:pt x="2861" y="746"/>
                </a:lnTo>
                <a:lnTo>
                  <a:pt x="2870" y="749"/>
                </a:lnTo>
                <a:lnTo>
                  <a:pt x="2877" y="753"/>
                </a:lnTo>
                <a:lnTo>
                  <a:pt x="2886" y="758"/>
                </a:lnTo>
                <a:lnTo>
                  <a:pt x="2893" y="764"/>
                </a:lnTo>
                <a:lnTo>
                  <a:pt x="2900" y="771"/>
                </a:lnTo>
                <a:lnTo>
                  <a:pt x="2907" y="778"/>
                </a:lnTo>
                <a:lnTo>
                  <a:pt x="2914" y="786"/>
                </a:lnTo>
                <a:lnTo>
                  <a:pt x="2920" y="795"/>
                </a:lnTo>
                <a:lnTo>
                  <a:pt x="2926" y="804"/>
                </a:lnTo>
                <a:lnTo>
                  <a:pt x="2930" y="813"/>
                </a:lnTo>
                <a:lnTo>
                  <a:pt x="2934" y="823"/>
                </a:lnTo>
                <a:lnTo>
                  <a:pt x="2937" y="833"/>
                </a:lnTo>
                <a:lnTo>
                  <a:pt x="2939" y="843"/>
                </a:lnTo>
                <a:lnTo>
                  <a:pt x="2940" y="854"/>
                </a:lnTo>
                <a:lnTo>
                  <a:pt x="2940" y="865"/>
                </a:lnTo>
                <a:lnTo>
                  <a:pt x="2940" y="874"/>
                </a:lnTo>
                <a:lnTo>
                  <a:pt x="2939" y="883"/>
                </a:lnTo>
                <a:lnTo>
                  <a:pt x="2938" y="891"/>
                </a:lnTo>
                <a:lnTo>
                  <a:pt x="2936" y="900"/>
                </a:lnTo>
                <a:lnTo>
                  <a:pt x="2933" y="907"/>
                </a:lnTo>
                <a:lnTo>
                  <a:pt x="2930" y="914"/>
                </a:lnTo>
                <a:lnTo>
                  <a:pt x="2926" y="921"/>
                </a:lnTo>
                <a:lnTo>
                  <a:pt x="2921" y="929"/>
                </a:lnTo>
                <a:lnTo>
                  <a:pt x="2916" y="936"/>
                </a:lnTo>
                <a:lnTo>
                  <a:pt x="2911" y="942"/>
                </a:lnTo>
                <a:lnTo>
                  <a:pt x="2905" y="949"/>
                </a:lnTo>
                <a:lnTo>
                  <a:pt x="2898" y="955"/>
                </a:lnTo>
                <a:lnTo>
                  <a:pt x="2891" y="961"/>
                </a:lnTo>
                <a:lnTo>
                  <a:pt x="2882" y="966"/>
                </a:lnTo>
                <a:lnTo>
                  <a:pt x="2874" y="971"/>
                </a:lnTo>
                <a:lnTo>
                  <a:pt x="2865" y="977"/>
                </a:lnTo>
                <a:lnTo>
                  <a:pt x="2876" y="982"/>
                </a:lnTo>
                <a:lnTo>
                  <a:pt x="2887" y="987"/>
                </a:lnTo>
                <a:lnTo>
                  <a:pt x="2896" y="992"/>
                </a:lnTo>
                <a:lnTo>
                  <a:pt x="2906" y="998"/>
                </a:lnTo>
                <a:lnTo>
                  <a:pt x="2914" y="1006"/>
                </a:lnTo>
                <a:lnTo>
                  <a:pt x="2921" y="1012"/>
                </a:lnTo>
                <a:lnTo>
                  <a:pt x="2929" y="1019"/>
                </a:lnTo>
                <a:lnTo>
                  <a:pt x="2935" y="1028"/>
                </a:lnTo>
                <a:lnTo>
                  <a:pt x="2940" y="1036"/>
                </a:lnTo>
                <a:lnTo>
                  <a:pt x="2944" y="1044"/>
                </a:lnTo>
                <a:lnTo>
                  <a:pt x="2949" y="1053"/>
                </a:lnTo>
                <a:lnTo>
                  <a:pt x="2952" y="1062"/>
                </a:lnTo>
                <a:lnTo>
                  <a:pt x="2955" y="1071"/>
                </a:lnTo>
                <a:lnTo>
                  <a:pt x="2956" y="1082"/>
                </a:lnTo>
                <a:lnTo>
                  <a:pt x="2957" y="1092"/>
                </a:lnTo>
                <a:lnTo>
                  <a:pt x="2958" y="1102"/>
                </a:lnTo>
                <a:lnTo>
                  <a:pt x="2957" y="1119"/>
                </a:lnTo>
                <a:lnTo>
                  <a:pt x="2955" y="1135"/>
                </a:lnTo>
                <a:lnTo>
                  <a:pt x="2952" y="1150"/>
                </a:lnTo>
                <a:lnTo>
                  <a:pt x="2947" y="1164"/>
                </a:lnTo>
                <a:lnTo>
                  <a:pt x="2940" y="1177"/>
                </a:lnTo>
                <a:lnTo>
                  <a:pt x="2932" y="1191"/>
                </a:lnTo>
                <a:lnTo>
                  <a:pt x="2922" y="1202"/>
                </a:lnTo>
                <a:lnTo>
                  <a:pt x="2912" y="1214"/>
                </a:lnTo>
                <a:lnTo>
                  <a:pt x="2900" y="1223"/>
                </a:lnTo>
                <a:lnTo>
                  <a:pt x="2888" y="1232"/>
                </a:lnTo>
                <a:lnTo>
                  <a:pt x="2873" y="1240"/>
                </a:lnTo>
                <a:lnTo>
                  <a:pt x="2858" y="1246"/>
                </a:lnTo>
                <a:lnTo>
                  <a:pt x="2842" y="1250"/>
                </a:lnTo>
                <a:lnTo>
                  <a:pt x="2825" y="1254"/>
                </a:lnTo>
                <a:lnTo>
                  <a:pt x="2806" y="1256"/>
                </a:lnTo>
                <a:lnTo>
                  <a:pt x="2786" y="1256"/>
                </a:lnTo>
                <a:lnTo>
                  <a:pt x="2456" y="1256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" name="TextBox 22"/>
          <p:cNvSpPr txBox="1"/>
          <p:nvPr userDrawn="1"/>
        </p:nvSpPr>
        <p:spPr>
          <a:xfrm>
            <a:off x="-2012659" y="53469"/>
            <a:ext cx="1447313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Clr>
                <a:schemeClr val="accent1"/>
              </a:buClr>
            </a:pPr>
            <a:r>
              <a:rPr lang="ru-RU" sz="1100" b="1" dirty="0" smtClean="0"/>
              <a:t>Вариант №2 титульного слайда</a:t>
            </a:r>
          </a:p>
          <a:p>
            <a:pPr>
              <a:spcBef>
                <a:spcPts val="1200"/>
              </a:spcBef>
              <a:buClr>
                <a:schemeClr val="accent1"/>
              </a:buClr>
            </a:pPr>
            <a:r>
              <a:rPr lang="ru-RU" sz="1100" b="1" dirty="0" smtClean="0"/>
              <a:t>Пример наполнения слайда</a:t>
            </a:r>
          </a:p>
        </p:txBody>
      </p:sp>
      <p:sp>
        <p:nvSpPr>
          <p:cNvPr id="24" name="TextBox 23"/>
          <p:cNvSpPr txBox="1"/>
          <p:nvPr userDrawn="1"/>
        </p:nvSpPr>
        <p:spPr>
          <a:xfrm>
            <a:off x="-1902892" y="2750977"/>
            <a:ext cx="1337546" cy="14157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Clr>
                <a:schemeClr val="accent1"/>
              </a:buClr>
            </a:pPr>
            <a:r>
              <a:rPr lang="ru-RU" sz="1100" b="1" dirty="0" smtClean="0"/>
              <a:t>Введите</a:t>
            </a:r>
            <a:r>
              <a:rPr lang="ru-RU" sz="1100" b="1" baseline="0" dirty="0" smtClean="0"/>
              <a:t> </a:t>
            </a:r>
            <a:br>
              <a:rPr lang="ru-RU" sz="1100" b="1" baseline="0" dirty="0" smtClean="0"/>
            </a:br>
            <a:r>
              <a:rPr lang="ru-RU" sz="1100" b="1" baseline="0" dirty="0" smtClean="0"/>
              <a:t>в заполнитель текст:</a:t>
            </a:r>
          </a:p>
          <a:p>
            <a:pPr marL="171450" indent="-1714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b="0" baseline="0" dirty="0" smtClean="0"/>
              <a:t>Заголовок</a:t>
            </a:r>
          </a:p>
          <a:p>
            <a:pPr marL="171450" indent="-1714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b="0" baseline="0" dirty="0" smtClean="0"/>
              <a:t>Подзаголовок (если требуется)</a:t>
            </a:r>
          </a:p>
          <a:p>
            <a:pPr marL="171450" indent="-17145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b="0" baseline="0" dirty="0" smtClean="0"/>
              <a:t>Данные</a:t>
            </a:r>
            <a:endParaRPr lang="ru-RU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16587157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1957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ный слайд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2527300" y="1332291"/>
            <a:ext cx="6353176" cy="1302311"/>
          </a:xfrm>
          <a:prstGeom prst="rect">
            <a:avLst/>
          </a:prstGeom>
        </p:spPr>
        <p:txBody>
          <a:bodyPr lIns="0" anchor="b" anchorCtr="0"/>
          <a:lstStyle>
            <a:lvl1pPr>
              <a:defRPr lang="en-US" b="1" dirty="0">
                <a:solidFill>
                  <a:schemeClr val="tx1"/>
                </a:solidFill>
              </a:defRPr>
            </a:lvl1pPr>
          </a:lstStyle>
          <a:p>
            <a:pPr marL="0" lvl="0"/>
            <a:r>
              <a:rPr lang="ru-RU" dirty="0" smtClean="0"/>
              <a:t>Название раздела в одну</a:t>
            </a:r>
            <a:br>
              <a:rPr lang="ru-RU" dirty="0" smtClean="0"/>
            </a:br>
            <a:r>
              <a:rPr lang="ru-RU" dirty="0" smtClean="0"/>
              <a:t>или несколько строк</a:t>
            </a:r>
            <a:endParaRPr lang="en-US" dirty="0"/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2535517" y="420976"/>
            <a:ext cx="0" cy="746497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Текст 15"/>
          <p:cNvSpPr>
            <a:spLocks noGrp="1"/>
          </p:cNvSpPr>
          <p:nvPr>
            <p:ph type="body" sz="quarter" idx="11" hasCustomPrompt="1"/>
          </p:nvPr>
        </p:nvSpPr>
        <p:spPr>
          <a:xfrm>
            <a:off x="2663114" y="461825"/>
            <a:ext cx="894476" cy="6647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buNone/>
              <a:defRPr lang="ru-RU" sz="4800" dirty="0">
                <a:solidFill>
                  <a:schemeClr val="accent1"/>
                </a:solidFill>
              </a:defRPr>
            </a:lvl1pPr>
          </a:lstStyle>
          <a:p>
            <a:pPr marL="0" lvl="0"/>
            <a:r>
              <a:rPr lang="en-US" dirty="0" smtClean="0"/>
              <a:t>##</a:t>
            </a:r>
            <a:endParaRPr lang="ru-RU" dirty="0"/>
          </a:p>
        </p:txBody>
      </p:sp>
      <p:sp>
        <p:nvSpPr>
          <p:cNvPr id="12" name="AutoShape 4"/>
          <p:cNvSpPr>
            <a:spLocks noChangeAspect="1" noChangeArrowheads="1" noTextEdit="1"/>
          </p:cNvSpPr>
          <p:nvPr userDrawn="1"/>
        </p:nvSpPr>
        <p:spPr bwMode="auto">
          <a:xfrm>
            <a:off x="-406400" y="2819400"/>
            <a:ext cx="6335713" cy="5330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Freeform 6"/>
          <p:cNvSpPr>
            <a:spLocks/>
          </p:cNvSpPr>
          <p:nvPr userDrawn="1"/>
        </p:nvSpPr>
        <p:spPr bwMode="auto">
          <a:xfrm>
            <a:off x="-7937" y="2818607"/>
            <a:ext cx="5937250" cy="1428750"/>
          </a:xfrm>
          <a:custGeom>
            <a:avLst/>
            <a:gdLst>
              <a:gd name="T0" fmla="*/ 18699 w 18699"/>
              <a:gd name="T1" fmla="*/ 4502 h 4502"/>
              <a:gd name="T2" fmla="*/ 18693 w 18699"/>
              <a:gd name="T3" fmla="*/ 4502 h 4502"/>
              <a:gd name="T4" fmla="*/ 7179 w 18699"/>
              <a:gd name="T5" fmla="*/ 4493 h 4502"/>
              <a:gd name="T6" fmla="*/ 0 w 18699"/>
              <a:gd name="T7" fmla="*/ 4367 h 4502"/>
              <a:gd name="T8" fmla="*/ 0 w 18699"/>
              <a:gd name="T9" fmla="*/ 403 h 4502"/>
              <a:gd name="T10" fmla="*/ 0 w 18699"/>
              <a:gd name="T11" fmla="*/ 0 h 4502"/>
              <a:gd name="T12" fmla="*/ 7579 w 18699"/>
              <a:gd name="T13" fmla="*/ 3857 h 4502"/>
              <a:gd name="T14" fmla="*/ 7643 w 18699"/>
              <a:gd name="T15" fmla="*/ 3888 h 4502"/>
              <a:gd name="T16" fmla="*/ 7705 w 18699"/>
              <a:gd name="T17" fmla="*/ 3918 h 4502"/>
              <a:gd name="T18" fmla="*/ 7736 w 18699"/>
              <a:gd name="T19" fmla="*/ 3932 h 4502"/>
              <a:gd name="T20" fmla="*/ 7769 w 18699"/>
              <a:gd name="T21" fmla="*/ 3944 h 4502"/>
              <a:gd name="T22" fmla="*/ 7801 w 18699"/>
              <a:gd name="T23" fmla="*/ 3957 h 4502"/>
              <a:gd name="T24" fmla="*/ 7832 w 18699"/>
              <a:gd name="T25" fmla="*/ 3968 h 4502"/>
              <a:gd name="T26" fmla="*/ 7866 w 18699"/>
              <a:gd name="T27" fmla="*/ 3978 h 4502"/>
              <a:gd name="T28" fmla="*/ 7898 w 18699"/>
              <a:gd name="T29" fmla="*/ 3987 h 4502"/>
              <a:gd name="T30" fmla="*/ 7932 w 18699"/>
              <a:gd name="T31" fmla="*/ 3995 h 4502"/>
              <a:gd name="T32" fmla="*/ 7967 w 18699"/>
              <a:gd name="T33" fmla="*/ 4001 h 4502"/>
              <a:gd name="T34" fmla="*/ 8002 w 18699"/>
              <a:gd name="T35" fmla="*/ 4006 h 4502"/>
              <a:gd name="T36" fmla="*/ 8037 w 18699"/>
              <a:gd name="T37" fmla="*/ 4010 h 4502"/>
              <a:gd name="T38" fmla="*/ 8073 w 18699"/>
              <a:gd name="T39" fmla="*/ 4013 h 4502"/>
              <a:gd name="T40" fmla="*/ 8110 w 18699"/>
              <a:gd name="T41" fmla="*/ 4014 h 4502"/>
              <a:gd name="T42" fmla="*/ 8265 w 18699"/>
              <a:gd name="T43" fmla="*/ 4013 h 4502"/>
              <a:gd name="T44" fmla="*/ 8592 w 18699"/>
              <a:gd name="T45" fmla="*/ 4013 h 4502"/>
              <a:gd name="T46" fmla="*/ 9068 w 18699"/>
              <a:gd name="T47" fmla="*/ 4011 h 4502"/>
              <a:gd name="T48" fmla="*/ 9671 w 18699"/>
              <a:gd name="T49" fmla="*/ 4010 h 4502"/>
              <a:gd name="T50" fmla="*/ 10379 w 18699"/>
              <a:gd name="T51" fmla="*/ 4009 h 4502"/>
              <a:gd name="T52" fmla="*/ 11170 w 18699"/>
              <a:gd name="T53" fmla="*/ 4009 h 4502"/>
              <a:gd name="T54" fmla="*/ 12020 w 18699"/>
              <a:gd name="T55" fmla="*/ 4008 h 4502"/>
              <a:gd name="T56" fmla="*/ 12910 w 18699"/>
              <a:gd name="T57" fmla="*/ 4006 h 4502"/>
              <a:gd name="T58" fmla="*/ 13814 w 18699"/>
              <a:gd name="T59" fmla="*/ 4005 h 4502"/>
              <a:gd name="T60" fmla="*/ 14710 w 18699"/>
              <a:gd name="T61" fmla="*/ 4005 h 4502"/>
              <a:gd name="T62" fmla="*/ 15579 w 18699"/>
              <a:gd name="T63" fmla="*/ 4004 h 4502"/>
              <a:gd name="T64" fmla="*/ 16395 w 18699"/>
              <a:gd name="T65" fmla="*/ 4004 h 4502"/>
              <a:gd name="T66" fmla="*/ 17138 w 18699"/>
              <a:gd name="T67" fmla="*/ 4004 h 4502"/>
              <a:gd name="T68" fmla="*/ 17785 w 18699"/>
              <a:gd name="T69" fmla="*/ 4004 h 4502"/>
              <a:gd name="T70" fmla="*/ 18312 w 18699"/>
              <a:gd name="T71" fmla="*/ 4004 h 4502"/>
              <a:gd name="T72" fmla="*/ 18699 w 18699"/>
              <a:gd name="T73" fmla="*/ 4004 h 4502"/>
              <a:gd name="T74" fmla="*/ 18699 w 18699"/>
              <a:gd name="T75" fmla="*/ 4502 h 45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8699" h="4502">
                <a:moveTo>
                  <a:pt x="18699" y="4502"/>
                </a:moveTo>
                <a:lnTo>
                  <a:pt x="18693" y="4502"/>
                </a:lnTo>
                <a:lnTo>
                  <a:pt x="7179" y="4493"/>
                </a:lnTo>
                <a:lnTo>
                  <a:pt x="0" y="4367"/>
                </a:lnTo>
                <a:lnTo>
                  <a:pt x="0" y="403"/>
                </a:lnTo>
                <a:lnTo>
                  <a:pt x="0" y="0"/>
                </a:lnTo>
                <a:lnTo>
                  <a:pt x="7579" y="3857"/>
                </a:lnTo>
                <a:lnTo>
                  <a:pt x="7643" y="3888"/>
                </a:lnTo>
                <a:lnTo>
                  <a:pt x="7705" y="3918"/>
                </a:lnTo>
                <a:lnTo>
                  <a:pt x="7736" y="3932"/>
                </a:lnTo>
                <a:lnTo>
                  <a:pt x="7769" y="3944"/>
                </a:lnTo>
                <a:lnTo>
                  <a:pt x="7801" y="3957"/>
                </a:lnTo>
                <a:lnTo>
                  <a:pt x="7832" y="3968"/>
                </a:lnTo>
                <a:lnTo>
                  <a:pt x="7866" y="3978"/>
                </a:lnTo>
                <a:lnTo>
                  <a:pt x="7898" y="3987"/>
                </a:lnTo>
                <a:lnTo>
                  <a:pt x="7932" y="3995"/>
                </a:lnTo>
                <a:lnTo>
                  <a:pt x="7967" y="4001"/>
                </a:lnTo>
                <a:lnTo>
                  <a:pt x="8002" y="4006"/>
                </a:lnTo>
                <a:lnTo>
                  <a:pt x="8037" y="4010"/>
                </a:lnTo>
                <a:lnTo>
                  <a:pt x="8073" y="4013"/>
                </a:lnTo>
                <a:lnTo>
                  <a:pt x="8110" y="4014"/>
                </a:lnTo>
                <a:lnTo>
                  <a:pt x="8265" y="4013"/>
                </a:lnTo>
                <a:lnTo>
                  <a:pt x="8592" y="4013"/>
                </a:lnTo>
                <a:lnTo>
                  <a:pt x="9068" y="4011"/>
                </a:lnTo>
                <a:lnTo>
                  <a:pt x="9671" y="4010"/>
                </a:lnTo>
                <a:lnTo>
                  <a:pt x="10379" y="4009"/>
                </a:lnTo>
                <a:lnTo>
                  <a:pt x="11170" y="4009"/>
                </a:lnTo>
                <a:lnTo>
                  <a:pt x="12020" y="4008"/>
                </a:lnTo>
                <a:lnTo>
                  <a:pt x="12910" y="4006"/>
                </a:lnTo>
                <a:lnTo>
                  <a:pt x="13814" y="4005"/>
                </a:lnTo>
                <a:lnTo>
                  <a:pt x="14710" y="4005"/>
                </a:lnTo>
                <a:lnTo>
                  <a:pt x="15579" y="4004"/>
                </a:lnTo>
                <a:lnTo>
                  <a:pt x="16395" y="4004"/>
                </a:lnTo>
                <a:lnTo>
                  <a:pt x="17138" y="4004"/>
                </a:lnTo>
                <a:lnTo>
                  <a:pt x="17785" y="4004"/>
                </a:lnTo>
                <a:lnTo>
                  <a:pt x="18312" y="4004"/>
                </a:lnTo>
                <a:lnTo>
                  <a:pt x="18699" y="4004"/>
                </a:lnTo>
                <a:lnTo>
                  <a:pt x="18699" y="450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2" name="Полилиния 41"/>
          <p:cNvSpPr>
            <a:spLocks/>
          </p:cNvSpPr>
          <p:nvPr userDrawn="1"/>
        </p:nvSpPr>
        <p:spPr bwMode="auto">
          <a:xfrm>
            <a:off x="-7937" y="4442619"/>
            <a:ext cx="4533900" cy="2417762"/>
          </a:xfrm>
          <a:custGeom>
            <a:avLst/>
            <a:gdLst>
              <a:gd name="connsiteX0" fmla="*/ 2871989 w 4533900"/>
              <a:gd name="connsiteY0" fmla="*/ 0 h 2417762"/>
              <a:gd name="connsiteX1" fmla="*/ 2961212 w 4533900"/>
              <a:gd name="connsiteY1" fmla="*/ 0 h 2417762"/>
              <a:gd name="connsiteX2" fmla="*/ 3056469 w 4533900"/>
              <a:gd name="connsiteY2" fmla="*/ 0 h 2417762"/>
              <a:gd name="connsiteX3" fmla="*/ 3156489 w 4533900"/>
              <a:gd name="connsiteY3" fmla="*/ 0 h 2417762"/>
              <a:gd name="connsiteX4" fmla="*/ 3261271 w 4533900"/>
              <a:gd name="connsiteY4" fmla="*/ 0 h 2417762"/>
              <a:gd name="connsiteX5" fmla="*/ 3368276 w 4533900"/>
              <a:gd name="connsiteY5" fmla="*/ 0 h 2417762"/>
              <a:gd name="connsiteX6" fmla="*/ 3478456 w 4533900"/>
              <a:gd name="connsiteY6" fmla="*/ 0 h 2417762"/>
              <a:gd name="connsiteX7" fmla="*/ 3590224 w 4533900"/>
              <a:gd name="connsiteY7" fmla="*/ 0 h 2417762"/>
              <a:gd name="connsiteX8" fmla="*/ 3702627 w 4533900"/>
              <a:gd name="connsiteY8" fmla="*/ 0 h 2417762"/>
              <a:gd name="connsiteX9" fmla="*/ 3815030 w 4533900"/>
              <a:gd name="connsiteY9" fmla="*/ 0 h 2417762"/>
              <a:gd name="connsiteX10" fmla="*/ 3926798 w 4533900"/>
              <a:gd name="connsiteY10" fmla="*/ 0 h 2417762"/>
              <a:gd name="connsiteX11" fmla="*/ 4036978 w 4533900"/>
              <a:gd name="connsiteY11" fmla="*/ 0 h 2417762"/>
              <a:gd name="connsiteX12" fmla="*/ 4144300 w 4533900"/>
              <a:gd name="connsiteY12" fmla="*/ 0 h 2417762"/>
              <a:gd name="connsiteX13" fmla="*/ 4248765 w 4533900"/>
              <a:gd name="connsiteY13" fmla="*/ 0 h 2417762"/>
              <a:gd name="connsiteX14" fmla="*/ 4349102 w 4533900"/>
              <a:gd name="connsiteY14" fmla="*/ 0 h 2417762"/>
              <a:gd name="connsiteX15" fmla="*/ 4444359 w 4533900"/>
              <a:gd name="connsiteY15" fmla="*/ 0 h 2417762"/>
              <a:gd name="connsiteX16" fmla="*/ 4533900 w 4533900"/>
              <a:gd name="connsiteY16" fmla="*/ 0 h 2417762"/>
              <a:gd name="connsiteX17" fmla="*/ 4533900 w 4533900"/>
              <a:gd name="connsiteY17" fmla="*/ 154923 h 2417762"/>
              <a:gd name="connsiteX18" fmla="*/ 4428165 w 4533900"/>
              <a:gd name="connsiteY18" fmla="*/ 154923 h 2417762"/>
              <a:gd name="connsiteX19" fmla="*/ 4317033 w 4533900"/>
              <a:gd name="connsiteY19" fmla="*/ 154923 h 2417762"/>
              <a:gd name="connsiteX20" fmla="*/ 4200502 w 4533900"/>
              <a:gd name="connsiteY20" fmla="*/ 154923 h 2417762"/>
              <a:gd name="connsiteX21" fmla="*/ 4080161 w 4533900"/>
              <a:gd name="connsiteY21" fmla="*/ 154923 h 2417762"/>
              <a:gd name="connsiteX22" fmla="*/ 3956645 w 4533900"/>
              <a:gd name="connsiteY22" fmla="*/ 154923 h 2417762"/>
              <a:gd name="connsiteX23" fmla="*/ 3830271 w 4533900"/>
              <a:gd name="connsiteY23" fmla="*/ 155241 h 2417762"/>
              <a:gd name="connsiteX24" fmla="*/ 3702309 w 4533900"/>
              <a:gd name="connsiteY24" fmla="*/ 155241 h 2417762"/>
              <a:gd name="connsiteX25" fmla="*/ 3573713 w 4533900"/>
              <a:gd name="connsiteY25" fmla="*/ 155241 h 2417762"/>
              <a:gd name="connsiteX26" fmla="*/ 3444799 w 4533900"/>
              <a:gd name="connsiteY26" fmla="*/ 155241 h 2417762"/>
              <a:gd name="connsiteX27" fmla="*/ 3316837 w 4533900"/>
              <a:gd name="connsiteY27" fmla="*/ 155241 h 2417762"/>
              <a:gd name="connsiteX28" fmla="*/ 3191099 w 4533900"/>
              <a:gd name="connsiteY28" fmla="*/ 155241 h 2417762"/>
              <a:gd name="connsiteX29" fmla="*/ 3066947 w 4533900"/>
              <a:gd name="connsiteY29" fmla="*/ 155241 h 2417762"/>
              <a:gd name="connsiteX30" fmla="*/ 2946606 w 4533900"/>
              <a:gd name="connsiteY30" fmla="*/ 155241 h 2417762"/>
              <a:gd name="connsiteX31" fmla="*/ 2830393 w 4533900"/>
              <a:gd name="connsiteY31" fmla="*/ 155241 h 2417762"/>
              <a:gd name="connsiteX32" fmla="*/ 2718943 w 4533900"/>
              <a:gd name="connsiteY32" fmla="*/ 154923 h 2417762"/>
              <a:gd name="connsiteX33" fmla="*/ 2613208 w 4533900"/>
              <a:gd name="connsiteY33" fmla="*/ 154923 h 2417762"/>
              <a:gd name="connsiteX34" fmla="*/ 2579868 w 4533900"/>
              <a:gd name="connsiteY34" fmla="*/ 154923 h 2417762"/>
              <a:gd name="connsiteX35" fmla="*/ 2552561 w 4533900"/>
              <a:gd name="connsiteY35" fmla="*/ 155241 h 2417762"/>
              <a:gd name="connsiteX36" fmla="*/ 2540813 w 4533900"/>
              <a:gd name="connsiteY36" fmla="*/ 155876 h 2417762"/>
              <a:gd name="connsiteX37" fmla="*/ 2529700 w 4533900"/>
              <a:gd name="connsiteY37" fmla="*/ 156510 h 2417762"/>
              <a:gd name="connsiteX38" fmla="*/ 2520174 w 4533900"/>
              <a:gd name="connsiteY38" fmla="*/ 157463 h 2417762"/>
              <a:gd name="connsiteX39" fmla="*/ 2510966 w 4533900"/>
              <a:gd name="connsiteY39" fmla="*/ 159050 h 2417762"/>
              <a:gd name="connsiteX40" fmla="*/ 2502710 w 4533900"/>
              <a:gd name="connsiteY40" fmla="*/ 160955 h 2417762"/>
              <a:gd name="connsiteX41" fmla="*/ 2495090 w 4533900"/>
              <a:gd name="connsiteY41" fmla="*/ 163177 h 2417762"/>
              <a:gd name="connsiteX42" fmla="*/ 2488422 w 4533900"/>
              <a:gd name="connsiteY42" fmla="*/ 166034 h 2417762"/>
              <a:gd name="connsiteX43" fmla="*/ 2481754 w 4533900"/>
              <a:gd name="connsiteY43" fmla="*/ 169527 h 2417762"/>
              <a:gd name="connsiteX44" fmla="*/ 2475086 w 4533900"/>
              <a:gd name="connsiteY44" fmla="*/ 173971 h 2417762"/>
              <a:gd name="connsiteX45" fmla="*/ 2468736 w 4533900"/>
              <a:gd name="connsiteY45" fmla="*/ 179050 h 2417762"/>
              <a:gd name="connsiteX46" fmla="*/ 2462385 w 4533900"/>
              <a:gd name="connsiteY46" fmla="*/ 185082 h 2417762"/>
              <a:gd name="connsiteX47" fmla="*/ 2456035 w 4533900"/>
              <a:gd name="connsiteY47" fmla="*/ 191749 h 2417762"/>
              <a:gd name="connsiteX48" fmla="*/ 419696 w 4533900"/>
              <a:gd name="connsiteY48" fmla="*/ 2417762 h 2417762"/>
              <a:gd name="connsiteX49" fmla="*/ 0 w 4533900"/>
              <a:gd name="connsiteY49" fmla="*/ 2417762 h 2417762"/>
              <a:gd name="connsiteX50" fmla="*/ 0 w 4533900"/>
              <a:gd name="connsiteY50" fmla="*/ 1483831 h 2417762"/>
              <a:gd name="connsiteX51" fmla="*/ 2475403 w 4533900"/>
              <a:gd name="connsiteY51" fmla="*/ 31747 h 2417762"/>
              <a:gd name="connsiteX52" fmla="*/ 2484612 w 4533900"/>
              <a:gd name="connsiteY52" fmla="*/ 26667 h 2417762"/>
              <a:gd name="connsiteX53" fmla="*/ 2492867 w 4533900"/>
              <a:gd name="connsiteY53" fmla="*/ 22223 h 2417762"/>
              <a:gd name="connsiteX54" fmla="*/ 2501123 w 4533900"/>
              <a:gd name="connsiteY54" fmla="*/ 18731 h 2417762"/>
              <a:gd name="connsiteX55" fmla="*/ 2509061 w 4533900"/>
              <a:gd name="connsiteY55" fmla="*/ 15239 h 2417762"/>
              <a:gd name="connsiteX56" fmla="*/ 2516999 w 4533900"/>
              <a:gd name="connsiteY56" fmla="*/ 12381 h 2417762"/>
              <a:gd name="connsiteX57" fmla="*/ 2524937 w 4533900"/>
              <a:gd name="connsiteY57" fmla="*/ 9842 h 2417762"/>
              <a:gd name="connsiteX58" fmla="*/ 2532875 w 4533900"/>
              <a:gd name="connsiteY58" fmla="*/ 7937 h 2417762"/>
              <a:gd name="connsiteX59" fmla="*/ 2540813 w 4533900"/>
              <a:gd name="connsiteY59" fmla="*/ 6350 h 2417762"/>
              <a:gd name="connsiteX60" fmla="*/ 2549386 w 4533900"/>
              <a:gd name="connsiteY60" fmla="*/ 5080 h 2417762"/>
              <a:gd name="connsiteX61" fmla="*/ 2558277 w 4533900"/>
              <a:gd name="connsiteY61" fmla="*/ 4445 h 2417762"/>
              <a:gd name="connsiteX62" fmla="*/ 2567802 w 4533900"/>
              <a:gd name="connsiteY62" fmla="*/ 3175 h 2417762"/>
              <a:gd name="connsiteX63" fmla="*/ 2577328 w 4533900"/>
              <a:gd name="connsiteY63" fmla="*/ 2857 h 2417762"/>
              <a:gd name="connsiteX64" fmla="*/ 2598920 w 4533900"/>
              <a:gd name="connsiteY64" fmla="*/ 1588 h 2417762"/>
              <a:gd name="connsiteX65" fmla="*/ 2624004 w 4533900"/>
              <a:gd name="connsiteY65" fmla="*/ 953 h 2417762"/>
              <a:gd name="connsiteX66" fmla="*/ 2655756 w 4533900"/>
              <a:gd name="connsiteY66" fmla="*/ 318 h 2417762"/>
              <a:gd name="connsiteX67" fmla="*/ 2687191 w 4533900"/>
              <a:gd name="connsiteY67" fmla="*/ 318 h 2417762"/>
              <a:gd name="connsiteX68" fmla="*/ 2719896 w 4533900"/>
              <a:gd name="connsiteY68" fmla="*/ 318 h 2417762"/>
              <a:gd name="connsiteX69" fmla="*/ 2751965 w 4533900"/>
              <a:gd name="connsiteY69" fmla="*/ 1270 h 2417762"/>
              <a:gd name="connsiteX70" fmla="*/ 2783400 w 4533900"/>
              <a:gd name="connsiteY70" fmla="*/ 1588 h 2417762"/>
              <a:gd name="connsiteX71" fmla="*/ 2814517 w 4533900"/>
              <a:gd name="connsiteY71" fmla="*/ 1588 h 2417762"/>
              <a:gd name="connsiteX72" fmla="*/ 2829123 w 4533900"/>
              <a:gd name="connsiteY72" fmla="*/ 1588 h 2417762"/>
              <a:gd name="connsiteX73" fmla="*/ 2843729 w 4533900"/>
              <a:gd name="connsiteY73" fmla="*/ 1270 h 2417762"/>
              <a:gd name="connsiteX74" fmla="*/ 2858018 w 4533900"/>
              <a:gd name="connsiteY74" fmla="*/ 953 h 241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4533900" h="2417762">
                <a:moveTo>
                  <a:pt x="2871989" y="0"/>
                </a:moveTo>
                <a:lnTo>
                  <a:pt x="2961212" y="0"/>
                </a:lnTo>
                <a:lnTo>
                  <a:pt x="3056469" y="0"/>
                </a:lnTo>
                <a:lnTo>
                  <a:pt x="3156489" y="0"/>
                </a:lnTo>
                <a:lnTo>
                  <a:pt x="3261271" y="0"/>
                </a:lnTo>
                <a:lnTo>
                  <a:pt x="3368276" y="0"/>
                </a:lnTo>
                <a:lnTo>
                  <a:pt x="3478456" y="0"/>
                </a:lnTo>
                <a:lnTo>
                  <a:pt x="3590224" y="0"/>
                </a:lnTo>
                <a:lnTo>
                  <a:pt x="3702627" y="0"/>
                </a:lnTo>
                <a:lnTo>
                  <a:pt x="3815030" y="0"/>
                </a:lnTo>
                <a:lnTo>
                  <a:pt x="3926798" y="0"/>
                </a:lnTo>
                <a:lnTo>
                  <a:pt x="4036978" y="0"/>
                </a:lnTo>
                <a:lnTo>
                  <a:pt x="4144300" y="0"/>
                </a:lnTo>
                <a:lnTo>
                  <a:pt x="4248765" y="0"/>
                </a:lnTo>
                <a:lnTo>
                  <a:pt x="4349102" y="0"/>
                </a:lnTo>
                <a:lnTo>
                  <a:pt x="4444359" y="0"/>
                </a:lnTo>
                <a:lnTo>
                  <a:pt x="4533900" y="0"/>
                </a:lnTo>
                <a:lnTo>
                  <a:pt x="4533900" y="154923"/>
                </a:lnTo>
                <a:lnTo>
                  <a:pt x="4428165" y="154923"/>
                </a:lnTo>
                <a:lnTo>
                  <a:pt x="4317033" y="154923"/>
                </a:lnTo>
                <a:lnTo>
                  <a:pt x="4200502" y="154923"/>
                </a:lnTo>
                <a:lnTo>
                  <a:pt x="4080161" y="154923"/>
                </a:lnTo>
                <a:lnTo>
                  <a:pt x="3956645" y="154923"/>
                </a:lnTo>
                <a:lnTo>
                  <a:pt x="3830271" y="155241"/>
                </a:lnTo>
                <a:lnTo>
                  <a:pt x="3702309" y="155241"/>
                </a:lnTo>
                <a:lnTo>
                  <a:pt x="3573713" y="155241"/>
                </a:lnTo>
                <a:lnTo>
                  <a:pt x="3444799" y="155241"/>
                </a:lnTo>
                <a:lnTo>
                  <a:pt x="3316837" y="155241"/>
                </a:lnTo>
                <a:lnTo>
                  <a:pt x="3191099" y="155241"/>
                </a:lnTo>
                <a:lnTo>
                  <a:pt x="3066947" y="155241"/>
                </a:lnTo>
                <a:lnTo>
                  <a:pt x="2946606" y="155241"/>
                </a:lnTo>
                <a:lnTo>
                  <a:pt x="2830393" y="155241"/>
                </a:lnTo>
                <a:lnTo>
                  <a:pt x="2718943" y="154923"/>
                </a:lnTo>
                <a:lnTo>
                  <a:pt x="2613208" y="154923"/>
                </a:lnTo>
                <a:lnTo>
                  <a:pt x="2579868" y="154923"/>
                </a:lnTo>
                <a:lnTo>
                  <a:pt x="2552561" y="155241"/>
                </a:lnTo>
                <a:lnTo>
                  <a:pt x="2540813" y="155876"/>
                </a:lnTo>
                <a:lnTo>
                  <a:pt x="2529700" y="156510"/>
                </a:lnTo>
                <a:lnTo>
                  <a:pt x="2520174" y="157463"/>
                </a:lnTo>
                <a:lnTo>
                  <a:pt x="2510966" y="159050"/>
                </a:lnTo>
                <a:lnTo>
                  <a:pt x="2502710" y="160955"/>
                </a:lnTo>
                <a:lnTo>
                  <a:pt x="2495090" y="163177"/>
                </a:lnTo>
                <a:lnTo>
                  <a:pt x="2488422" y="166034"/>
                </a:lnTo>
                <a:lnTo>
                  <a:pt x="2481754" y="169527"/>
                </a:lnTo>
                <a:lnTo>
                  <a:pt x="2475086" y="173971"/>
                </a:lnTo>
                <a:lnTo>
                  <a:pt x="2468736" y="179050"/>
                </a:lnTo>
                <a:lnTo>
                  <a:pt x="2462385" y="185082"/>
                </a:lnTo>
                <a:lnTo>
                  <a:pt x="2456035" y="191749"/>
                </a:lnTo>
                <a:lnTo>
                  <a:pt x="419696" y="2417762"/>
                </a:lnTo>
                <a:lnTo>
                  <a:pt x="0" y="2417762"/>
                </a:lnTo>
                <a:lnTo>
                  <a:pt x="0" y="1483831"/>
                </a:lnTo>
                <a:lnTo>
                  <a:pt x="2475403" y="31747"/>
                </a:lnTo>
                <a:lnTo>
                  <a:pt x="2484612" y="26667"/>
                </a:lnTo>
                <a:lnTo>
                  <a:pt x="2492867" y="22223"/>
                </a:lnTo>
                <a:lnTo>
                  <a:pt x="2501123" y="18731"/>
                </a:lnTo>
                <a:lnTo>
                  <a:pt x="2509061" y="15239"/>
                </a:lnTo>
                <a:lnTo>
                  <a:pt x="2516999" y="12381"/>
                </a:lnTo>
                <a:lnTo>
                  <a:pt x="2524937" y="9842"/>
                </a:lnTo>
                <a:lnTo>
                  <a:pt x="2532875" y="7937"/>
                </a:lnTo>
                <a:lnTo>
                  <a:pt x="2540813" y="6350"/>
                </a:lnTo>
                <a:lnTo>
                  <a:pt x="2549386" y="5080"/>
                </a:lnTo>
                <a:lnTo>
                  <a:pt x="2558277" y="4445"/>
                </a:lnTo>
                <a:lnTo>
                  <a:pt x="2567802" y="3175"/>
                </a:lnTo>
                <a:lnTo>
                  <a:pt x="2577328" y="2857"/>
                </a:lnTo>
                <a:lnTo>
                  <a:pt x="2598920" y="1588"/>
                </a:lnTo>
                <a:lnTo>
                  <a:pt x="2624004" y="953"/>
                </a:lnTo>
                <a:lnTo>
                  <a:pt x="2655756" y="318"/>
                </a:lnTo>
                <a:lnTo>
                  <a:pt x="2687191" y="318"/>
                </a:lnTo>
                <a:lnTo>
                  <a:pt x="2719896" y="318"/>
                </a:lnTo>
                <a:lnTo>
                  <a:pt x="2751965" y="1270"/>
                </a:lnTo>
                <a:lnTo>
                  <a:pt x="2783400" y="1588"/>
                </a:lnTo>
                <a:lnTo>
                  <a:pt x="2814517" y="1588"/>
                </a:lnTo>
                <a:lnTo>
                  <a:pt x="2829123" y="1588"/>
                </a:lnTo>
                <a:lnTo>
                  <a:pt x="2843729" y="1270"/>
                </a:lnTo>
                <a:lnTo>
                  <a:pt x="2858018" y="953"/>
                </a:lnTo>
                <a:close/>
              </a:path>
            </a:pathLst>
          </a:custGeom>
          <a:solidFill>
            <a:srgbClr val="B3B3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41" name="Полилиния 40"/>
          <p:cNvSpPr>
            <a:spLocks/>
          </p:cNvSpPr>
          <p:nvPr userDrawn="1"/>
        </p:nvSpPr>
        <p:spPr bwMode="auto">
          <a:xfrm>
            <a:off x="572859" y="4617244"/>
            <a:ext cx="3705454" cy="2243137"/>
          </a:xfrm>
          <a:custGeom>
            <a:avLst/>
            <a:gdLst>
              <a:gd name="connsiteX0" fmla="*/ 1968176 w 3705454"/>
              <a:gd name="connsiteY0" fmla="*/ 0 h 2243137"/>
              <a:gd name="connsiteX1" fmla="*/ 1979608 w 3705454"/>
              <a:gd name="connsiteY1" fmla="*/ 0 h 2243137"/>
              <a:gd name="connsiteX2" fmla="*/ 2006916 w 3705454"/>
              <a:gd name="connsiteY2" fmla="*/ 635 h 2243137"/>
              <a:gd name="connsiteX3" fmla="*/ 2041846 w 3705454"/>
              <a:gd name="connsiteY3" fmla="*/ 953 h 2243137"/>
              <a:gd name="connsiteX4" fmla="*/ 3705454 w 3705454"/>
              <a:gd name="connsiteY4" fmla="*/ 1588 h 2243137"/>
              <a:gd name="connsiteX5" fmla="*/ 3703549 w 3705454"/>
              <a:gd name="connsiteY5" fmla="*/ 126695 h 2243137"/>
              <a:gd name="connsiteX6" fmla="*/ 3598442 w 3705454"/>
              <a:gd name="connsiteY6" fmla="*/ 125425 h 2243137"/>
              <a:gd name="connsiteX7" fmla="*/ 3493971 w 3705454"/>
              <a:gd name="connsiteY7" fmla="*/ 125107 h 2243137"/>
              <a:gd name="connsiteX8" fmla="*/ 3388546 w 3705454"/>
              <a:gd name="connsiteY8" fmla="*/ 124472 h 2243137"/>
              <a:gd name="connsiteX9" fmla="*/ 3283757 w 3705454"/>
              <a:gd name="connsiteY9" fmla="*/ 125107 h 2243137"/>
              <a:gd name="connsiteX10" fmla="*/ 3178333 w 3705454"/>
              <a:gd name="connsiteY10" fmla="*/ 125425 h 2243137"/>
              <a:gd name="connsiteX11" fmla="*/ 3072908 w 3705454"/>
              <a:gd name="connsiteY11" fmla="*/ 126060 h 2243137"/>
              <a:gd name="connsiteX12" fmla="*/ 2967484 w 3705454"/>
              <a:gd name="connsiteY12" fmla="*/ 127012 h 2243137"/>
              <a:gd name="connsiteX13" fmla="*/ 2862377 w 3705454"/>
              <a:gd name="connsiteY13" fmla="*/ 128282 h 2243137"/>
              <a:gd name="connsiteX14" fmla="*/ 2756953 w 3705454"/>
              <a:gd name="connsiteY14" fmla="*/ 128917 h 2243137"/>
              <a:gd name="connsiteX15" fmla="*/ 2651529 w 3705454"/>
              <a:gd name="connsiteY15" fmla="*/ 130187 h 2243137"/>
              <a:gd name="connsiteX16" fmla="*/ 2546104 w 3705454"/>
              <a:gd name="connsiteY16" fmla="*/ 130505 h 2243137"/>
              <a:gd name="connsiteX17" fmla="*/ 2440998 w 3705454"/>
              <a:gd name="connsiteY17" fmla="*/ 131458 h 2243137"/>
              <a:gd name="connsiteX18" fmla="*/ 2335573 w 3705454"/>
              <a:gd name="connsiteY18" fmla="*/ 131458 h 2243137"/>
              <a:gd name="connsiteX19" fmla="*/ 2230467 w 3705454"/>
              <a:gd name="connsiteY19" fmla="*/ 131458 h 2243137"/>
              <a:gd name="connsiteX20" fmla="*/ 2125677 w 3705454"/>
              <a:gd name="connsiteY20" fmla="*/ 130505 h 2243137"/>
              <a:gd name="connsiteX21" fmla="*/ 2020571 w 3705454"/>
              <a:gd name="connsiteY21" fmla="*/ 129235 h 2243137"/>
              <a:gd name="connsiteX22" fmla="*/ 1997390 w 3705454"/>
              <a:gd name="connsiteY22" fmla="*/ 128917 h 2243137"/>
              <a:gd name="connsiteX23" fmla="*/ 1978337 w 3705454"/>
              <a:gd name="connsiteY23" fmla="*/ 128917 h 2243137"/>
              <a:gd name="connsiteX24" fmla="*/ 1970399 w 3705454"/>
              <a:gd name="connsiteY24" fmla="*/ 129235 h 2243137"/>
              <a:gd name="connsiteX25" fmla="*/ 1962778 w 3705454"/>
              <a:gd name="connsiteY25" fmla="*/ 129870 h 2243137"/>
              <a:gd name="connsiteX26" fmla="*/ 1956427 w 3705454"/>
              <a:gd name="connsiteY26" fmla="*/ 130823 h 2243137"/>
              <a:gd name="connsiteX27" fmla="*/ 1950711 w 3705454"/>
              <a:gd name="connsiteY27" fmla="*/ 132093 h 2243137"/>
              <a:gd name="connsiteX28" fmla="*/ 1944995 w 3705454"/>
              <a:gd name="connsiteY28" fmla="*/ 133680 h 2243137"/>
              <a:gd name="connsiteX29" fmla="*/ 1939915 w 3705454"/>
              <a:gd name="connsiteY29" fmla="*/ 135903 h 2243137"/>
              <a:gd name="connsiteX30" fmla="*/ 1935151 w 3705454"/>
              <a:gd name="connsiteY30" fmla="*/ 138761 h 2243137"/>
              <a:gd name="connsiteX31" fmla="*/ 1930706 w 3705454"/>
              <a:gd name="connsiteY31" fmla="*/ 142254 h 2243137"/>
              <a:gd name="connsiteX32" fmla="*/ 1926578 w 3705454"/>
              <a:gd name="connsiteY32" fmla="*/ 146699 h 2243137"/>
              <a:gd name="connsiteX33" fmla="*/ 1922450 w 3705454"/>
              <a:gd name="connsiteY33" fmla="*/ 151462 h 2243137"/>
              <a:gd name="connsiteX34" fmla="*/ 1918004 w 3705454"/>
              <a:gd name="connsiteY34" fmla="*/ 157495 h 2243137"/>
              <a:gd name="connsiteX35" fmla="*/ 1913876 w 3705454"/>
              <a:gd name="connsiteY35" fmla="*/ 164163 h 2243137"/>
              <a:gd name="connsiteX36" fmla="*/ 535014 w 3705454"/>
              <a:gd name="connsiteY36" fmla="*/ 2243137 h 2243137"/>
              <a:gd name="connsiteX37" fmla="*/ 0 w 3705454"/>
              <a:gd name="connsiteY37" fmla="*/ 2243137 h 2243137"/>
              <a:gd name="connsiteX38" fmla="*/ 1876406 w 3705454"/>
              <a:gd name="connsiteY38" fmla="*/ 59061 h 2243137"/>
              <a:gd name="connsiteX39" fmla="*/ 1885932 w 3705454"/>
              <a:gd name="connsiteY39" fmla="*/ 46677 h 2243137"/>
              <a:gd name="connsiteX40" fmla="*/ 1895141 w 3705454"/>
              <a:gd name="connsiteY40" fmla="*/ 36516 h 2243137"/>
              <a:gd name="connsiteX41" fmla="*/ 1903080 w 3705454"/>
              <a:gd name="connsiteY41" fmla="*/ 27625 h 2243137"/>
              <a:gd name="connsiteX42" fmla="*/ 1910701 w 3705454"/>
              <a:gd name="connsiteY42" fmla="*/ 20322 h 2243137"/>
              <a:gd name="connsiteX43" fmla="*/ 1914511 w 3705454"/>
              <a:gd name="connsiteY43" fmla="*/ 17147 h 2243137"/>
              <a:gd name="connsiteX44" fmla="*/ 1918004 w 3705454"/>
              <a:gd name="connsiteY44" fmla="*/ 14289 h 2243137"/>
              <a:gd name="connsiteX45" fmla="*/ 1921815 w 3705454"/>
              <a:gd name="connsiteY45" fmla="*/ 12066 h 2243137"/>
              <a:gd name="connsiteX46" fmla="*/ 1925308 w 3705454"/>
              <a:gd name="connsiteY46" fmla="*/ 9844 h 2243137"/>
              <a:gd name="connsiteX47" fmla="*/ 1928801 w 3705454"/>
              <a:gd name="connsiteY47" fmla="*/ 7938 h 2243137"/>
              <a:gd name="connsiteX48" fmla="*/ 1932929 w 3705454"/>
              <a:gd name="connsiteY48" fmla="*/ 6033 h 2243137"/>
              <a:gd name="connsiteX49" fmla="*/ 1936422 w 3705454"/>
              <a:gd name="connsiteY49" fmla="*/ 4763 h 2243137"/>
              <a:gd name="connsiteX50" fmla="*/ 1940232 w 3705454"/>
              <a:gd name="connsiteY50" fmla="*/ 3811 h 2243137"/>
              <a:gd name="connsiteX51" fmla="*/ 1944678 w 3705454"/>
              <a:gd name="connsiteY51" fmla="*/ 2540 h 2243137"/>
              <a:gd name="connsiteX52" fmla="*/ 1948488 w 3705454"/>
              <a:gd name="connsiteY52" fmla="*/ 1588 h 2243137"/>
              <a:gd name="connsiteX53" fmla="*/ 1952934 w 3705454"/>
              <a:gd name="connsiteY53" fmla="*/ 1270 h 2243137"/>
              <a:gd name="connsiteX54" fmla="*/ 1957697 w 3705454"/>
              <a:gd name="connsiteY54" fmla="*/ 953 h 2243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3705454" h="2243137">
                <a:moveTo>
                  <a:pt x="1968176" y="0"/>
                </a:moveTo>
                <a:lnTo>
                  <a:pt x="1979608" y="0"/>
                </a:lnTo>
                <a:lnTo>
                  <a:pt x="2006916" y="635"/>
                </a:lnTo>
                <a:lnTo>
                  <a:pt x="2041846" y="953"/>
                </a:lnTo>
                <a:lnTo>
                  <a:pt x="3705454" y="1588"/>
                </a:lnTo>
                <a:lnTo>
                  <a:pt x="3703549" y="126695"/>
                </a:lnTo>
                <a:lnTo>
                  <a:pt x="3598442" y="125425"/>
                </a:lnTo>
                <a:lnTo>
                  <a:pt x="3493971" y="125107"/>
                </a:lnTo>
                <a:lnTo>
                  <a:pt x="3388546" y="124472"/>
                </a:lnTo>
                <a:lnTo>
                  <a:pt x="3283757" y="125107"/>
                </a:lnTo>
                <a:lnTo>
                  <a:pt x="3178333" y="125425"/>
                </a:lnTo>
                <a:lnTo>
                  <a:pt x="3072908" y="126060"/>
                </a:lnTo>
                <a:lnTo>
                  <a:pt x="2967484" y="127012"/>
                </a:lnTo>
                <a:lnTo>
                  <a:pt x="2862377" y="128282"/>
                </a:lnTo>
                <a:lnTo>
                  <a:pt x="2756953" y="128917"/>
                </a:lnTo>
                <a:lnTo>
                  <a:pt x="2651529" y="130187"/>
                </a:lnTo>
                <a:lnTo>
                  <a:pt x="2546104" y="130505"/>
                </a:lnTo>
                <a:lnTo>
                  <a:pt x="2440998" y="131458"/>
                </a:lnTo>
                <a:lnTo>
                  <a:pt x="2335573" y="131458"/>
                </a:lnTo>
                <a:lnTo>
                  <a:pt x="2230467" y="131458"/>
                </a:lnTo>
                <a:lnTo>
                  <a:pt x="2125677" y="130505"/>
                </a:lnTo>
                <a:lnTo>
                  <a:pt x="2020571" y="129235"/>
                </a:lnTo>
                <a:lnTo>
                  <a:pt x="1997390" y="128917"/>
                </a:lnTo>
                <a:lnTo>
                  <a:pt x="1978337" y="128917"/>
                </a:lnTo>
                <a:lnTo>
                  <a:pt x="1970399" y="129235"/>
                </a:lnTo>
                <a:lnTo>
                  <a:pt x="1962778" y="129870"/>
                </a:lnTo>
                <a:lnTo>
                  <a:pt x="1956427" y="130823"/>
                </a:lnTo>
                <a:lnTo>
                  <a:pt x="1950711" y="132093"/>
                </a:lnTo>
                <a:lnTo>
                  <a:pt x="1944995" y="133680"/>
                </a:lnTo>
                <a:lnTo>
                  <a:pt x="1939915" y="135903"/>
                </a:lnTo>
                <a:lnTo>
                  <a:pt x="1935151" y="138761"/>
                </a:lnTo>
                <a:lnTo>
                  <a:pt x="1930706" y="142254"/>
                </a:lnTo>
                <a:lnTo>
                  <a:pt x="1926578" y="146699"/>
                </a:lnTo>
                <a:lnTo>
                  <a:pt x="1922450" y="151462"/>
                </a:lnTo>
                <a:lnTo>
                  <a:pt x="1918004" y="157495"/>
                </a:lnTo>
                <a:lnTo>
                  <a:pt x="1913876" y="164163"/>
                </a:lnTo>
                <a:lnTo>
                  <a:pt x="535014" y="2243137"/>
                </a:lnTo>
                <a:lnTo>
                  <a:pt x="0" y="2243137"/>
                </a:lnTo>
                <a:lnTo>
                  <a:pt x="1876406" y="59061"/>
                </a:lnTo>
                <a:lnTo>
                  <a:pt x="1885932" y="46677"/>
                </a:lnTo>
                <a:lnTo>
                  <a:pt x="1895141" y="36516"/>
                </a:lnTo>
                <a:lnTo>
                  <a:pt x="1903080" y="27625"/>
                </a:lnTo>
                <a:lnTo>
                  <a:pt x="1910701" y="20322"/>
                </a:lnTo>
                <a:lnTo>
                  <a:pt x="1914511" y="17147"/>
                </a:lnTo>
                <a:lnTo>
                  <a:pt x="1918004" y="14289"/>
                </a:lnTo>
                <a:lnTo>
                  <a:pt x="1921815" y="12066"/>
                </a:lnTo>
                <a:lnTo>
                  <a:pt x="1925308" y="9844"/>
                </a:lnTo>
                <a:lnTo>
                  <a:pt x="1928801" y="7938"/>
                </a:lnTo>
                <a:lnTo>
                  <a:pt x="1932929" y="6033"/>
                </a:lnTo>
                <a:lnTo>
                  <a:pt x="1936422" y="4763"/>
                </a:lnTo>
                <a:lnTo>
                  <a:pt x="1940232" y="3811"/>
                </a:lnTo>
                <a:lnTo>
                  <a:pt x="1944678" y="2540"/>
                </a:lnTo>
                <a:lnTo>
                  <a:pt x="1948488" y="1588"/>
                </a:lnTo>
                <a:lnTo>
                  <a:pt x="1952934" y="1270"/>
                </a:lnTo>
                <a:lnTo>
                  <a:pt x="1957697" y="953"/>
                </a:lnTo>
                <a:close/>
              </a:path>
            </a:pathLst>
          </a:custGeom>
          <a:solidFill>
            <a:srgbClr val="B3B3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40" name="Полилиния 39"/>
          <p:cNvSpPr>
            <a:spLocks/>
          </p:cNvSpPr>
          <p:nvPr userDrawn="1"/>
        </p:nvSpPr>
        <p:spPr bwMode="auto">
          <a:xfrm>
            <a:off x="1220202" y="4764881"/>
            <a:ext cx="2464386" cy="2095500"/>
          </a:xfrm>
          <a:custGeom>
            <a:avLst/>
            <a:gdLst>
              <a:gd name="connsiteX0" fmla="*/ 1359279 w 2464386"/>
              <a:gd name="connsiteY0" fmla="*/ 0 h 2095500"/>
              <a:gd name="connsiteX1" fmla="*/ 2464386 w 2464386"/>
              <a:gd name="connsiteY1" fmla="*/ 1588 h 2095500"/>
              <a:gd name="connsiteX2" fmla="*/ 2463751 w 2464386"/>
              <a:gd name="connsiteY2" fmla="*/ 133694 h 2095500"/>
              <a:gd name="connsiteX3" fmla="*/ 1387852 w 2464386"/>
              <a:gd name="connsiteY3" fmla="*/ 133694 h 2095500"/>
              <a:gd name="connsiteX4" fmla="*/ 1375153 w 2464386"/>
              <a:gd name="connsiteY4" fmla="*/ 134012 h 2095500"/>
              <a:gd name="connsiteX5" fmla="*/ 1363724 w 2464386"/>
              <a:gd name="connsiteY5" fmla="*/ 134647 h 2095500"/>
              <a:gd name="connsiteX6" fmla="*/ 1352930 w 2464386"/>
              <a:gd name="connsiteY6" fmla="*/ 135917 h 2095500"/>
              <a:gd name="connsiteX7" fmla="*/ 1343406 w 2464386"/>
              <a:gd name="connsiteY7" fmla="*/ 137822 h 2095500"/>
              <a:gd name="connsiteX8" fmla="*/ 1334834 w 2464386"/>
              <a:gd name="connsiteY8" fmla="*/ 140363 h 2095500"/>
              <a:gd name="connsiteX9" fmla="*/ 1326898 w 2464386"/>
              <a:gd name="connsiteY9" fmla="*/ 142903 h 2095500"/>
              <a:gd name="connsiteX10" fmla="*/ 1323406 w 2464386"/>
              <a:gd name="connsiteY10" fmla="*/ 145126 h 2095500"/>
              <a:gd name="connsiteX11" fmla="*/ 1319913 w 2464386"/>
              <a:gd name="connsiteY11" fmla="*/ 146714 h 2095500"/>
              <a:gd name="connsiteX12" fmla="*/ 1316739 w 2464386"/>
              <a:gd name="connsiteY12" fmla="*/ 148619 h 2095500"/>
              <a:gd name="connsiteX13" fmla="*/ 1312929 w 2464386"/>
              <a:gd name="connsiteY13" fmla="*/ 150525 h 2095500"/>
              <a:gd name="connsiteX14" fmla="*/ 1307215 w 2464386"/>
              <a:gd name="connsiteY14" fmla="*/ 155288 h 2095500"/>
              <a:gd name="connsiteX15" fmla="*/ 1301500 w 2464386"/>
              <a:gd name="connsiteY15" fmla="*/ 160687 h 2095500"/>
              <a:gd name="connsiteX16" fmla="*/ 1296103 w 2464386"/>
              <a:gd name="connsiteY16" fmla="*/ 166720 h 2095500"/>
              <a:gd name="connsiteX17" fmla="*/ 1291024 w 2464386"/>
              <a:gd name="connsiteY17" fmla="*/ 173389 h 2095500"/>
              <a:gd name="connsiteX18" fmla="*/ 1286262 w 2464386"/>
              <a:gd name="connsiteY18" fmla="*/ 181011 h 2095500"/>
              <a:gd name="connsiteX19" fmla="*/ 1280865 w 2464386"/>
              <a:gd name="connsiteY19" fmla="*/ 189267 h 2095500"/>
              <a:gd name="connsiteX20" fmla="*/ 1276103 w 2464386"/>
              <a:gd name="connsiteY20" fmla="*/ 197842 h 2095500"/>
              <a:gd name="connsiteX21" fmla="*/ 1271023 w 2464386"/>
              <a:gd name="connsiteY21" fmla="*/ 207686 h 2095500"/>
              <a:gd name="connsiteX22" fmla="*/ 1231022 w 2464386"/>
              <a:gd name="connsiteY22" fmla="*/ 287394 h 2095500"/>
              <a:gd name="connsiteX23" fmla="*/ 1169433 w 2464386"/>
              <a:gd name="connsiteY23" fmla="*/ 411244 h 2095500"/>
              <a:gd name="connsiteX24" fmla="*/ 1089749 w 2464386"/>
              <a:gd name="connsiteY24" fmla="*/ 573835 h 2095500"/>
              <a:gd name="connsiteX25" fmla="*/ 994826 w 2464386"/>
              <a:gd name="connsiteY25" fmla="*/ 768184 h 2095500"/>
              <a:gd name="connsiteX26" fmla="*/ 887522 w 2464386"/>
              <a:gd name="connsiteY26" fmla="*/ 987937 h 2095500"/>
              <a:gd name="connsiteX27" fmla="*/ 771328 w 2464386"/>
              <a:gd name="connsiteY27" fmla="*/ 1226744 h 2095500"/>
              <a:gd name="connsiteX28" fmla="*/ 649420 w 2464386"/>
              <a:gd name="connsiteY28" fmla="*/ 1478253 h 2095500"/>
              <a:gd name="connsiteX29" fmla="*/ 524655 w 2464386"/>
              <a:gd name="connsiteY29" fmla="*/ 1735161 h 2095500"/>
              <a:gd name="connsiteX30" fmla="*/ 400843 w 2464386"/>
              <a:gd name="connsiteY30" fmla="*/ 1992069 h 2095500"/>
              <a:gd name="connsiteX31" fmla="*/ 350721 w 2464386"/>
              <a:gd name="connsiteY31" fmla="*/ 2095500 h 2095500"/>
              <a:gd name="connsiteX32" fmla="*/ 0 w 2464386"/>
              <a:gd name="connsiteY32" fmla="*/ 2095500 h 2095500"/>
              <a:gd name="connsiteX33" fmla="*/ 1279277 w 2464386"/>
              <a:gd name="connsiteY33" fmla="*/ 30804 h 2095500"/>
              <a:gd name="connsiteX34" fmla="*/ 1282452 w 2464386"/>
              <a:gd name="connsiteY34" fmla="*/ 25723 h 2095500"/>
              <a:gd name="connsiteX35" fmla="*/ 1286262 w 2464386"/>
              <a:gd name="connsiteY35" fmla="*/ 21277 h 2095500"/>
              <a:gd name="connsiteX36" fmla="*/ 1290071 w 2464386"/>
              <a:gd name="connsiteY36" fmla="*/ 17784 h 2095500"/>
              <a:gd name="connsiteX37" fmla="*/ 1294516 w 2464386"/>
              <a:gd name="connsiteY37" fmla="*/ 14291 h 2095500"/>
              <a:gd name="connsiteX38" fmla="*/ 1299278 w 2464386"/>
              <a:gd name="connsiteY38" fmla="*/ 11432 h 2095500"/>
              <a:gd name="connsiteX39" fmla="*/ 1304040 w 2464386"/>
              <a:gd name="connsiteY39" fmla="*/ 8892 h 2095500"/>
              <a:gd name="connsiteX40" fmla="*/ 1309119 w 2464386"/>
              <a:gd name="connsiteY40" fmla="*/ 6669 h 2095500"/>
              <a:gd name="connsiteX41" fmla="*/ 1314199 w 2464386"/>
              <a:gd name="connsiteY41" fmla="*/ 5081 h 2095500"/>
              <a:gd name="connsiteX42" fmla="*/ 1319913 w 2464386"/>
              <a:gd name="connsiteY42" fmla="*/ 3493 h 2095500"/>
              <a:gd name="connsiteX43" fmla="*/ 1325310 w 2464386"/>
              <a:gd name="connsiteY43" fmla="*/ 2858 h 2095500"/>
              <a:gd name="connsiteX44" fmla="*/ 1330707 w 2464386"/>
              <a:gd name="connsiteY44" fmla="*/ 1588 h 2095500"/>
              <a:gd name="connsiteX45" fmla="*/ 1336739 w 2464386"/>
              <a:gd name="connsiteY45" fmla="*/ 1270 h 2095500"/>
              <a:gd name="connsiteX46" fmla="*/ 1348168 w 2464386"/>
              <a:gd name="connsiteY46" fmla="*/ 318 h 209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2464386" h="2095500">
                <a:moveTo>
                  <a:pt x="1359279" y="0"/>
                </a:moveTo>
                <a:lnTo>
                  <a:pt x="2464386" y="1588"/>
                </a:lnTo>
                <a:lnTo>
                  <a:pt x="2463751" y="133694"/>
                </a:lnTo>
                <a:lnTo>
                  <a:pt x="1387852" y="133694"/>
                </a:lnTo>
                <a:lnTo>
                  <a:pt x="1375153" y="134012"/>
                </a:lnTo>
                <a:lnTo>
                  <a:pt x="1363724" y="134647"/>
                </a:lnTo>
                <a:lnTo>
                  <a:pt x="1352930" y="135917"/>
                </a:lnTo>
                <a:lnTo>
                  <a:pt x="1343406" y="137822"/>
                </a:lnTo>
                <a:lnTo>
                  <a:pt x="1334834" y="140363"/>
                </a:lnTo>
                <a:lnTo>
                  <a:pt x="1326898" y="142903"/>
                </a:lnTo>
                <a:lnTo>
                  <a:pt x="1323406" y="145126"/>
                </a:lnTo>
                <a:lnTo>
                  <a:pt x="1319913" y="146714"/>
                </a:lnTo>
                <a:lnTo>
                  <a:pt x="1316739" y="148619"/>
                </a:lnTo>
                <a:lnTo>
                  <a:pt x="1312929" y="150525"/>
                </a:lnTo>
                <a:lnTo>
                  <a:pt x="1307215" y="155288"/>
                </a:lnTo>
                <a:lnTo>
                  <a:pt x="1301500" y="160687"/>
                </a:lnTo>
                <a:lnTo>
                  <a:pt x="1296103" y="166720"/>
                </a:lnTo>
                <a:lnTo>
                  <a:pt x="1291024" y="173389"/>
                </a:lnTo>
                <a:lnTo>
                  <a:pt x="1286262" y="181011"/>
                </a:lnTo>
                <a:lnTo>
                  <a:pt x="1280865" y="189267"/>
                </a:lnTo>
                <a:lnTo>
                  <a:pt x="1276103" y="197842"/>
                </a:lnTo>
                <a:lnTo>
                  <a:pt x="1271023" y="207686"/>
                </a:lnTo>
                <a:lnTo>
                  <a:pt x="1231022" y="287394"/>
                </a:lnTo>
                <a:lnTo>
                  <a:pt x="1169433" y="411244"/>
                </a:lnTo>
                <a:lnTo>
                  <a:pt x="1089749" y="573835"/>
                </a:lnTo>
                <a:lnTo>
                  <a:pt x="994826" y="768184"/>
                </a:lnTo>
                <a:lnTo>
                  <a:pt x="887522" y="987937"/>
                </a:lnTo>
                <a:lnTo>
                  <a:pt x="771328" y="1226744"/>
                </a:lnTo>
                <a:lnTo>
                  <a:pt x="649420" y="1478253"/>
                </a:lnTo>
                <a:lnTo>
                  <a:pt x="524655" y="1735161"/>
                </a:lnTo>
                <a:lnTo>
                  <a:pt x="400843" y="1992069"/>
                </a:lnTo>
                <a:lnTo>
                  <a:pt x="350721" y="2095500"/>
                </a:lnTo>
                <a:lnTo>
                  <a:pt x="0" y="2095500"/>
                </a:lnTo>
                <a:lnTo>
                  <a:pt x="1279277" y="30804"/>
                </a:lnTo>
                <a:lnTo>
                  <a:pt x="1282452" y="25723"/>
                </a:lnTo>
                <a:lnTo>
                  <a:pt x="1286262" y="21277"/>
                </a:lnTo>
                <a:lnTo>
                  <a:pt x="1290071" y="17784"/>
                </a:lnTo>
                <a:lnTo>
                  <a:pt x="1294516" y="14291"/>
                </a:lnTo>
                <a:lnTo>
                  <a:pt x="1299278" y="11432"/>
                </a:lnTo>
                <a:lnTo>
                  <a:pt x="1304040" y="8892"/>
                </a:lnTo>
                <a:lnTo>
                  <a:pt x="1309119" y="6669"/>
                </a:lnTo>
                <a:lnTo>
                  <a:pt x="1314199" y="5081"/>
                </a:lnTo>
                <a:lnTo>
                  <a:pt x="1319913" y="3493"/>
                </a:lnTo>
                <a:lnTo>
                  <a:pt x="1325310" y="2858"/>
                </a:lnTo>
                <a:lnTo>
                  <a:pt x="1330707" y="1588"/>
                </a:lnTo>
                <a:lnTo>
                  <a:pt x="1336739" y="1270"/>
                </a:lnTo>
                <a:lnTo>
                  <a:pt x="1348168" y="318"/>
                </a:lnTo>
                <a:close/>
              </a:path>
            </a:pathLst>
          </a:custGeom>
          <a:solidFill>
            <a:srgbClr val="B3B3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20" name="Freeform 10"/>
          <p:cNvSpPr>
            <a:spLocks/>
          </p:cNvSpPr>
          <p:nvPr userDrawn="1"/>
        </p:nvSpPr>
        <p:spPr bwMode="auto">
          <a:xfrm>
            <a:off x="-7937" y="4264025"/>
            <a:ext cx="4094163" cy="1479550"/>
          </a:xfrm>
          <a:custGeom>
            <a:avLst/>
            <a:gdLst>
              <a:gd name="T0" fmla="*/ 0 w 12896"/>
              <a:gd name="T1" fmla="*/ 337 h 4659"/>
              <a:gd name="T2" fmla="*/ 8248 w 12896"/>
              <a:gd name="T3" fmla="*/ 6 h 4659"/>
              <a:gd name="T4" fmla="*/ 8862 w 12896"/>
              <a:gd name="T5" fmla="*/ 1 h 4659"/>
              <a:gd name="T6" fmla="*/ 9481 w 12896"/>
              <a:gd name="T7" fmla="*/ 0 h 4659"/>
              <a:gd name="T8" fmla="*/ 10105 w 12896"/>
              <a:gd name="T9" fmla="*/ 0 h 4659"/>
              <a:gd name="T10" fmla="*/ 10729 w 12896"/>
              <a:gd name="T11" fmla="*/ 3 h 4659"/>
              <a:gd name="T12" fmla="*/ 11353 w 12896"/>
              <a:gd name="T13" fmla="*/ 5 h 4659"/>
              <a:gd name="T14" fmla="*/ 11974 w 12896"/>
              <a:gd name="T15" fmla="*/ 8 h 4659"/>
              <a:gd name="T16" fmla="*/ 12590 w 12896"/>
              <a:gd name="T17" fmla="*/ 9 h 4659"/>
              <a:gd name="T18" fmla="*/ 12896 w 12896"/>
              <a:gd name="T19" fmla="*/ 498 h 4659"/>
              <a:gd name="T20" fmla="*/ 12378 w 12896"/>
              <a:gd name="T21" fmla="*/ 498 h 4659"/>
              <a:gd name="T22" fmla="*/ 11861 w 12896"/>
              <a:gd name="T23" fmla="*/ 498 h 4659"/>
              <a:gd name="T24" fmla="*/ 11343 w 12896"/>
              <a:gd name="T25" fmla="*/ 498 h 4659"/>
              <a:gd name="T26" fmla="*/ 10827 w 12896"/>
              <a:gd name="T27" fmla="*/ 498 h 4659"/>
              <a:gd name="T28" fmla="*/ 10309 w 12896"/>
              <a:gd name="T29" fmla="*/ 498 h 4659"/>
              <a:gd name="T30" fmla="*/ 9792 w 12896"/>
              <a:gd name="T31" fmla="*/ 498 h 4659"/>
              <a:gd name="T32" fmla="*/ 9274 w 12896"/>
              <a:gd name="T33" fmla="*/ 498 h 4659"/>
              <a:gd name="T34" fmla="*/ 8756 w 12896"/>
              <a:gd name="T35" fmla="*/ 498 h 4659"/>
              <a:gd name="T36" fmla="*/ 8649 w 12896"/>
              <a:gd name="T37" fmla="*/ 502 h 4659"/>
              <a:gd name="T38" fmla="*/ 8534 w 12896"/>
              <a:gd name="T39" fmla="*/ 500 h 4659"/>
              <a:gd name="T40" fmla="*/ 8413 w 12896"/>
              <a:gd name="T41" fmla="*/ 498 h 4659"/>
              <a:gd name="T42" fmla="*/ 8291 w 12896"/>
              <a:gd name="T43" fmla="*/ 497 h 4659"/>
              <a:gd name="T44" fmla="*/ 8168 w 12896"/>
              <a:gd name="T45" fmla="*/ 498 h 4659"/>
              <a:gd name="T46" fmla="*/ 8048 w 12896"/>
              <a:gd name="T47" fmla="*/ 505 h 4659"/>
              <a:gd name="T48" fmla="*/ 7989 w 12896"/>
              <a:gd name="T49" fmla="*/ 513 h 4659"/>
              <a:gd name="T50" fmla="*/ 7932 w 12896"/>
              <a:gd name="T51" fmla="*/ 523 h 4659"/>
              <a:gd name="T52" fmla="*/ 7876 w 12896"/>
              <a:gd name="T53" fmla="*/ 535 h 4659"/>
              <a:gd name="T54" fmla="*/ 7822 w 12896"/>
              <a:gd name="T55" fmla="*/ 551 h 4659"/>
              <a:gd name="T56" fmla="*/ 7780 w 12896"/>
              <a:gd name="T57" fmla="*/ 570 h 4659"/>
              <a:gd name="T58" fmla="*/ 7737 w 12896"/>
              <a:gd name="T59" fmla="*/ 593 h 4659"/>
              <a:gd name="T60" fmla="*/ 7254 w 12896"/>
              <a:gd name="T61" fmla="*/ 856 h 4659"/>
              <a:gd name="T62" fmla="*/ 6771 w 12896"/>
              <a:gd name="T63" fmla="*/ 1115 h 4659"/>
              <a:gd name="T64" fmla="*/ 5804 w 12896"/>
              <a:gd name="T65" fmla="*/ 1627 h 4659"/>
              <a:gd name="T66" fmla="*/ 4837 w 12896"/>
              <a:gd name="T67" fmla="*/ 2130 h 4659"/>
              <a:gd name="T68" fmla="*/ 3870 w 12896"/>
              <a:gd name="T69" fmla="*/ 2628 h 4659"/>
              <a:gd name="T70" fmla="*/ 2902 w 12896"/>
              <a:gd name="T71" fmla="*/ 3127 h 4659"/>
              <a:gd name="T72" fmla="*/ 1934 w 12896"/>
              <a:gd name="T73" fmla="*/ 3628 h 4659"/>
              <a:gd name="T74" fmla="*/ 968 w 12896"/>
              <a:gd name="T75" fmla="*/ 4137 h 4659"/>
              <a:gd name="T76" fmla="*/ 484 w 12896"/>
              <a:gd name="T77" fmla="*/ 4396 h 4659"/>
              <a:gd name="T78" fmla="*/ 0 w 12896"/>
              <a:gd name="T79" fmla="*/ 4659 h 46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2896" h="4659">
                <a:moveTo>
                  <a:pt x="0" y="4659"/>
                </a:moveTo>
                <a:lnTo>
                  <a:pt x="0" y="337"/>
                </a:lnTo>
                <a:lnTo>
                  <a:pt x="7943" y="9"/>
                </a:lnTo>
                <a:lnTo>
                  <a:pt x="8248" y="6"/>
                </a:lnTo>
                <a:lnTo>
                  <a:pt x="8554" y="3"/>
                </a:lnTo>
                <a:lnTo>
                  <a:pt x="8862" y="1"/>
                </a:lnTo>
                <a:lnTo>
                  <a:pt x="9172" y="0"/>
                </a:lnTo>
                <a:lnTo>
                  <a:pt x="9481" y="0"/>
                </a:lnTo>
                <a:lnTo>
                  <a:pt x="9793" y="0"/>
                </a:lnTo>
                <a:lnTo>
                  <a:pt x="10105" y="0"/>
                </a:lnTo>
                <a:lnTo>
                  <a:pt x="10416" y="1"/>
                </a:lnTo>
                <a:lnTo>
                  <a:pt x="10729" y="3"/>
                </a:lnTo>
                <a:lnTo>
                  <a:pt x="11041" y="4"/>
                </a:lnTo>
                <a:lnTo>
                  <a:pt x="11353" y="5"/>
                </a:lnTo>
                <a:lnTo>
                  <a:pt x="11664" y="6"/>
                </a:lnTo>
                <a:lnTo>
                  <a:pt x="11974" y="8"/>
                </a:lnTo>
                <a:lnTo>
                  <a:pt x="12283" y="9"/>
                </a:lnTo>
                <a:lnTo>
                  <a:pt x="12590" y="9"/>
                </a:lnTo>
                <a:lnTo>
                  <a:pt x="12896" y="10"/>
                </a:lnTo>
                <a:lnTo>
                  <a:pt x="12896" y="498"/>
                </a:lnTo>
                <a:lnTo>
                  <a:pt x="12636" y="498"/>
                </a:lnTo>
                <a:lnTo>
                  <a:pt x="12378" y="498"/>
                </a:lnTo>
                <a:lnTo>
                  <a:pt x="12119" y="498"/>
                </a:lnTo>
                <a:lnTo>
                  <a:pt x="11861" y="498"/>
                </a:lnTo>
                <a:lnTo>
                  <a:pt x="11603" y="498"/>
                </a:lnTo>
                <a:lnTo>
                  <a:pt x="11343" y="498"/>
                </a:lnTo>
                <a:lnTo>
                  <a:pt x="11085" y="498"/>
                </a:lnTo>
                <a:lnTo>
                  <a:pt x="10827" y="498"/>
                </a:lnTo>
                <a:lnTo>
                  <a:pt x="10567" y="498"/>
                </a:lnTo>
                <a:lnTo>
                  <a:pt x="10309" y="498"/>
                </a:lnTo>
                <a:lnTo>
                  <a:pt x="10050" y="498"/>
                </a:lnTo>
                <a:lnTo>
                  <a:pt x="9792" y="498"/>
                </a:lnTo>
                <a:lnTo>
                  <a:pt x="9533" y="498"/>
                </a:lnTo>
                <a:lnTo>
                  <a:pt x="9274" y="498"/>
                </a:lnTo>
                <a:lnTo>
                  <a:pt x="9016" y="498"/>
                </a:lnTo>
                <a:lnTo>
                  <a:pt x="8756" y="498"/>
                </a:lnTo>
                <a:lnTo>
                  <a:pt x="8704" y="500"/>
                </a:lnTo>
                <a:lnTo>
                  <a:pt x="8649" y="502"/>
                </a:lnTo>
                <a:lnTo>
                  <a:pt x="8592" y="502"/>
                </a:lnTo>
                <a:lnTo>
                  <a:pt x="8534" y="500"/>
                </a:lnTo>
                <a:lnTo>
                  <a:pt x="8475" y="499"/>
                </a:lnTo>
                <a:lnTo>
                  <a:pt x="8413" y="498"/>
                </a:lnTo>
                <a:lnTo>
                  <a:pt x="8352" y="497"/>
                </a:lnTo>
                <a:lnTo>
                  <a:pt x="8291" y="497"/>
                </a:lnTo>
                <a:lnTo>
                  <a:pt x="8229" y="497"/>
                </a:lnTo>
                <a:lnTo>
                  <a:pt x="8168" y="498"/>
                </a:lnTo>
                <a:lnTo>
                  <a:pt x="8108" y="502"/>
                </a:lnTo>
                <a:lnTo>
                  <a:pt x="8048" y="505"/>
                </a:lnTo>
                <a:lnTo>
                  <a:pt x="8018" y="509"/>
                </a:lnTo>
                <a:lnTo>
                  <a:pt x="7989" y="513"/>
                </a:lnTo>
                <a:lnTo>
                  <a:pt x="7959" y="518"/>
                </a:lnTo>
                <a:lnTo>
                  <a:pt x="7932" y="523"/>
                </a:lnTo>
                <a:lnTo>
                  <a:pt x="7903" y="529"/>
                </a:lnTo>
                <a:lnTo>
                  <a:pt x="7876" y="535"/>
                </a:lnTo>
                <a:lnTo>
                  <a:pt x="7850" y="543"/>
                </a:lnTo>
                <a:lnTo>
                  <a:pt x="7822" y="551"/>
                </a:lnTo>
                <a:lnTo>
                  <a:pt x="7801" y="560"/>
                </a:lnTo>
                <a:lnTo>
                  <a:pt x="7780" y="570"/>
                </a:lnTo>
                <a:lnTo>
                  <a:pt x="7759" y="581"/>
                </a:lnTo>
                <a:lnTo>
                  <a:pt x="7737" y="593"/>
                </a:lnTo>
                <a:lnTo>
                  <a:pt x="7496" y="724"/>
                </a:lnTo>
                <a:lnTo>
                  <a:pt x="7254" y="856"/>
                </a:lnTo>
                <a:lnTo>
                  <a:pt x="7013" y="986"/>
                </a:lnTo>
                <a:lnTo>
                  <a:pt x="6771" y="1115"/>
                </a:lnTo>
                <a:lnTo>
                  <a:pt x="6287" y="1373"/>
                </a:lnTo>
                <a:lnTo>
                  <a:pt x="5804" y="1627"/>
                </a:lnTo>
                <a:lnTo>
                  <a:pt x="5320" y="1879"/>
                </a:lnTo>
                <a:lnTo>
                  <a:pt x="4837" y="2130"/>
                </a:lnTo>
                <a:lnTo>
                  <a:pt x="4354" y="2379"/>
                </a:lnTo>
                <a:lnTo>
                  <a:pt x="3870" y="2628"/>
                </a:lnTo>
                <a:lnTo>
                  <a:pt x="3386" y="2876"/>
                </a:lnTo>
                <a:lnTo>
                  <a:pt x="2902" y="3127"/>
                </a:lnTo>
                <a:lnTo>
                  <a:pt x="2418" y="3377"/>
                </a:lnTo>
                <a:lnTo>
                  <a:pt x="1934" y="3628"/>
                </a:lnTo>
                <a:lnTo>
                  <a:pt x="1450" y="3881"/>
                </a:lnTo>
                <a:lnTo>
                  <a:pt x="968" y="4137"/>
                </a:lnTo>
                <a:lnTo>
                  <a:pt x="726" y="4267"/>
                </a:lnTo>
                <a:lnTo>
                  <a:pt x="484" y="4396"/>
                </a:lnTo>
                <a:lnTo>
                  <a:pt x="242" y="4527"/>
                </a:lnTo>
                <a:lnTo>
                  <a:pt x="0" y="46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9" name="Полилиния 38"/>
          <p:cNvSpPr>
            <a:spLocks/>
          </p:cNvSpPr>
          <p:nvPr userDrawn="1"/>
        </p:nvSpPr>
        <p:spPr bwMode="auto">
          <a:xfrm>
            <a:off x="1656777" y="4918076"/>
            <a:ext cx="2029399" cy="1939925"/>
          </a:xfrm>
          <a:custGeom>
            <a:avLst/>
            <a:gdLst>
              <a:gd name="connsiteX0" fmla="*/ 956143 w 2029399"/>
              <a:gd name="connsiteY0" fmla="*/ 0 h 1939925"/>
              <a:gd name="connsiteX1" fmla="*/ 2029399 w 2029399"/>
              <a:gd name="connsiteY1" fmla="*/ 1542 h 1939925"/>
              <a:gd name="connsiteX2" fmla="*/ 2029399 w 2029399"/>
              <a:gd name="connsiteY2" fmla="*/ 133681 h 1939925"/>
              <a:gd name="connsiteX3" fmla="*/ 985022 w 2029399"/>
              <a:gd name="connsiteY3" fmla="*/ 133681 h 1939925"/>
              <a:gd name="connsiteX4" fmla="*/ 972328 w 2029399"/>
              <a:gd name="connsiteY4" fmla="*/ 133998 h 1939925"/>
              <a:gd name="connsiteX5" fmla="*/ 960586 w 2029399"/>
              <a:gd name="connsiteY5" fmla="*/ 134951 h 1939925"/>
              <a:gd name="connsiteX6" fmla="*/ 950113 w 2029399"/>
              <a:gd name="connsiteY6" fmla="*/ 136221 h 1939925"/>
              <a:gd name="connsiteX7" fmla="*/ 940275 w 2029399"/>
              <a:gd name="connsiteY7" fmla="*/ 138126 h 1939925"/>
              <a:gd name="connsiteX8" fmla="*/ 932024 w 2029399"/>
              <a:gd name="connsiteY8" fmla="*/ 140349 h 1939925"/>
              <a:gd name="connsiteX9" fmla="*/ 924091 w 2029399"/>
              <a:gd name="connsiteY9" fmla="*/ 143207 h 1939925"/>
              <a:gd name="connsiteX10" fmla="*/ 919965 w 2029399"/>
              <a:gd name="connsiteY10" fmla="*/ 144794 h 1939925"/>
              <a:gd name="connsiteX11" fmla="*/ 916474 w 2029399"/>
              <a:gd name="connsiteY11" fmla="*/ 146700 h 1939925"/>
              <a:gd name="connsiteX12" fmla="*/ 913301 w 2029399"/>
              <a:gd name="connsiteY12" fmla="*/ 148605 h 1939925"/>
              <a:gd name="connsiteX13" fmla="*/ 910127 w 2029399"/>
              <a:gd name="connsiteY13" fmla="*/ 150828 h 1939925"/>
              <a:gd name="connsiteX14" fmla="*/ 903780 w 2029399"/>
              <a:gd name="connsiteY14" fmla="*/ 155591 h 1939925"/>
              <a:gd name="connsiteX15" fmla="*/ 898386 w 2029399"/>
              <a:gd name="connsiteY15" fmla="*/ 160989 h 1939925"/>
              <a:gd name="connsiteX16" fmla="*/ 893308 w 2029399"/>
              <a:gd name="connsiteY16" fmla="*/ 167022 h 1939925"/>
              <a:gd name="connsiteX17" fmla="*/ 887913 w 2029399"/>
              <a:gd name="connsiteY17" fmla="*/ 173690 h 1939925"/>
              <a:gd name="connsiteX18" fmla="*/ 882835 w 2029399"/>
              <a:gd name="connsiteY18" fmla="*/ 180993 h 1939925"/>
              <a:gd name="connsiteX19" fmla="*/ 878075 w 2029399"/>
              <a:gd name="connsiteY19" fmla="*/ 189566 h 1939925"/>
              <a:gd name="connsiteX20" fmla="*/ 872998 w 2029399"/>
              <a:gd name="connsiteY20" fmla="*/ 198140 h 1939925"/>
              <a:gd name="connsiteX21" fmla="*/ 867920 w 2029399"/>
              <a:gd name="connsiteY21" fmla="*/ 207983 h 1939925"/>
              <a:gd name="connsiteX22" fmla="*/ 852370 w 2029399"/>
              <a:gd name="connsiteY22" fmla="*/ 241641 h 1939925"/>
              <a:gd name="connsiteX23" fmla="*/ 833647 w 2029399"/>
              <a:gd name="connsiteY23" fmla="*/ 287366 h 1939925"/>
              <a:gd name="connsiteX24" fmla="*/ 812384 w 2029399"/>
              <a:gd name="connsiteY24" fmla="*/ 344522 h 1939925"/>
              <a:gd name="connsiteX25" fmla="*/ 788583 w 2029399"/>
              <a:gd name="connsiteY25" fmla="*/ 411521 h 1939925"/>
              <a:gd name="connsiteX26" fmla="*/ 762561 w 2029399"/>
              <a:gd name="connsiteY26" fmla="*/ 488681 h 1939925"/>
              <a:gd name="connsiteX27" fmla="*/ 733999 w 2029399"/>
              <a:gd name="connsiteY27" fmla="*/ 574097 h 1939925"/>
              <a:gd name="connsiteX28" fmla="*/ 703851 w 2029399"/>
              <a:gd name="connsiteY28" fmla="*/ 667768 h 1939925"/>
              <a:gd name="connsiteX29" fmla="*/ 671799 w 2029399"/>
              <a:gd name="connsiteY29" fmla="*/ 768426 h 1939925"/>
              <a:gd name="connsiteX30" fmla="*/ 638160 w 2029399"/>
              <a:gd name="connsiteY30" fmla="*/ 875434 h 1939925"/>
              <a:gd name="connsiteX31" fmla="*/ 603886 w 2029399"/>
              <a:gd name="connsiteY31" fmla="*/ 988157 h 1939925"/>
              <a:gd name="connsiteX32" fmla="*/ 567709 w 2029399"/>
              <a:gd name="connsiteY32" fmla="*/ 1105644 h 1939925"/>
              <a:gd name="connsiteX33" fmla="*/ 530896 w 2029399"/>
              <a:gd name="connsiteY33" fmla="*/ 1226941 h 1939925"/>
              <a:gd name="connsiteX34" fmla="*/ 455367 w 2029399"/>
              <a:gd name="connsiteY34" fmla="*/ 1478108 h 1939925"/>
              <a:gd name="connsiteX35" fmla="*/ 378569 w 2029399"/>
              <a:gd name="connsiteY35" fmla="*/ 1734991 h 1939925"/>
              <a:gd name="connsiteX36" fmla="*/ 318061 w 2029399"/>
              <a:gd name="connsiteY36" fmla="*/ 1939925 h 1939925"/>
              <a:gd name="connsiteX37" fmla="*/ 0 w 2029399"/>
              <a:gd name="connsiteY37" fmla="*/ 1939925 h 1939925"/>
              <a:gd name="connsiteX38" fmla="*/ 876171 w 2029399"/>
              <a:gd name="connsiteY38" fmla="*/ 31118 h 1939925"/>
              <a:gd name="connsiteX39" fmla="*/ 879345 w 2029399"/>
              <a:gd name="connsiteY39" fmla="*/ 25720 h 1939925"/>
              <a:gd name="connsiteX40" fmla="*/ 882835 w 2029399"/>
              <a:gd name="connsiteY40" fmla="*/ 21592 h 1939925"/>
              <a:gd name="connsiteX41" fmla="*/ 886961 w 2029399"/>
              <a:gd name="connsiteY41" fmla="*/ 17782 h 1939925"/>
              <a:gd name="connsiteX42" fmla="*/ 891087 w 2029399"/>
              <a:gd name="connsiteY42" fmla="*/ 14289 h 1939925"/>
              <a:gd name="connsiteX43" fmla="*/ 895847 w 2029399"/>
              <a:gd name="connsiteY43" fmla="*/ 11749 h 1939925"/>
              <a:gd name="connsiteX44" fmla="*/ 900607 w 2029399"/>
              <a:gd name="connsiteY44" fmla="*/ 9209 h 1939925"/>
              <a:gd name="connsiteX45" fmla="*/ 905685 w 2029399"/>
              <a:gd name="connsiteY45" fmla="*/ 6986 h 1939925"/>
              <a:gd name="connsiteX46" fmla="*/ 911397 w 2029399"/>
              <a:gd name="connsiteY46" fmla="*/ 5398 h 1939925"/>
              <a:gd name="connsiteX47" fmla="*/ 916474 w 2029399"/>
              <a:gd name="connsiteY47" fmla="*/ 3811 h 1939925"/>
              <a:gd name="connsiteX48" fmla="*/ 922504 w 2029399"/>
              <a:gd name="connsiteY48" fmla="*/ 2858 h 1939925"/>
              <a:gd name="connsiteX49" fmla="*/ 927899 w 2029399"/>
              <a:gd name="connsiteY49" fmla="*/ 1588 h 1939925"/>
              <a:gd name="connsiteX50" fmla="*/ 933611 w 2029399"/>
              <a:gd name="connsiteY50" fmla="*/ 1270 h 1939925"/>
              <a:gd name="connsiteX51" fmla="*/ 945036 w 2029399"/>
              <a:gd name="connsiteY51" fmla="*/ 635 h 1939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2029399" h="1939925">
                <a:moveTo>
                  <a:pt x="956143" y="0"/>
                </a:moveTo>
                <a:lnTo>
                  <a:pt x="2029399" y="1542"/>
                </a:lnTo>
                <a:lnTo>
                  <a:pt x="2029399" y="133681"/>
                </a:lnTo>
                <a:lnTo>
                  <a:pt x="985022" y="133681"/>
                </a:lnTo>
                <a:lnTo>
                  <a:pt x="972328" y="133998"/>
                </a:lnTo>
                <a:lnTo>
                  <a:pt x="960586" y="134951"/>
                </a:lnTo>
                <a:lnTo>
                  <a:pt x="950113" y="136221"/>
                </a:lnTo>
                <a:lnTo>
                  <a:pt x="940275" y="138126"/>
                </a:lnTo>
                <a:lnTo>
                  <a:pt x="932024" y="140349"/>
                </a:lnTo>
                <a:lnTo>
                  <a:pt x="924091" y="143207"/>
                </a:lnTo>
                <a:lnTo>
                  <a:pt x="919965" y="144794"/>
                </a:lnTo>
                <a:lnTo>
                  <a:pt x="916474" y="146700"/>
                </a:lnTo>
                <a:lnTo>
                  <a:pt x="913301" y="148605"/>
                </a:lnTo>
                <a:lnTo>
                  <a:pt x="910127" y="150828"/>
                </a:lnTo>
                <a:lnTo>
                  <a:pt x="903780" y="155591"/>
                </a:lnTo>
                <a:lnTo>
                  <a:pt x="898386" y="160989"/>
                </a:lnTo>
                <a:lnTo>
                  <a:pt x="893308" y="167022"/>
                </a:lnTo>
                <a:lnTo>
                  <a:pt x="887913" y="173690"/>
                </a:lnTo>
                <a:lnTo>
                  <a:pt x="882835" y="180993"/>
                </a:lnTo>
                <a:lnTo>
                  <a:pt x="878075" y="189566"/>
                </a:lnTo>
                <a:lnTo>
                  <a:pt x="872998" y="198140"/>
                </a:lnTo>
                <a:lnTo>
                  <a:pt x="867920" y="207983"/>
                </a:lnTo>
                <a:lnTo>
                  <a:pt x="852370" y="241641"/>
                </a:lnTo>
                <a:lnTo>
                  <a:pt x="833647" y="287366"/>
                </a:lnTo>
                <a:lnTo>
                  <a:pt x="812384" y="344522"/>
                </a:lnTo>
                <a:lnTo>
                  <a:pt x="788583" y="411521"/>
                </a:lnTo>
                <a:lnTo>
                  <a:pt x="762561" y="488681"/>
                </a:lnTo>
                <a:lnTo>
                  <a:pt x="733999" y="574097"/>
                </a:lnTo>
                <a:lnTo>
                  <a:pt x="703851" y="667768"/>
                </a:lnTo>
                <a:lnTo>
                  <a:pt x="671799" y="768426"/>
                </a:lnTo>
                <a:lnTo>
                  <a:pt x="638160" y="875434"/>
                </a:lnTo>
                <a:lnTo>
                  <a:pt x="603886" y="988157"/>
                </a:lnTo>
                <a:lnTo>
                  <a:pt x="567709" y="1105644"/>
                </a:lnTo>
                <a:lnTo>
                  <a:pt x="530896" y="1226941"/>
                </a:lnTo>
                <a:lnTo>
                  <a:pt x="455367" y="1478108"/>
                </a:lnTo>
                <a:lnTo>
                  <a:pt x="378569" y="1734991"/>
                </a:lnTo>
                <a:lnTo>
                  <a:pt x="318061" y="1939925"/>
                </a:lnTo>
                <a:lnTo>
                  <a:pt x="0" y="1939925"/>
                </a:lnTo>
                <a:lnTo>
                  <a:pt x="876171" y="31118"/>
                </a:lnTo>
                <a:lnTo>
                  <a:pt x="879345" y="25720"/>
                </a:lnTo>
                <a:lnTo>
                  <a:pt x="882835" y="21592"/>
                </a:lnTo>
                <a:lnTo>
                  <a:pt x="886961" y="17782"/>
                </a:lnTo>
                <a:lnTo>
                  <a:pt x="891087" y="14289"/>
                </a:lnTo>
                <a:lnTo>
                  <a:pt x="895847" y="11749"/>
                </a:lnTo>
                <a:lnTo>
                  <a:pt x="900607" y="9209"/>
                </a:lnTo>
                <a:lnTo>
                  <a:pt x="905685" y="6986"/>
                </a:lnTo>
                <a:lnTo>
                  <a:pt x="911397" y="5398"/>
                </a:lnTo>
                <a:lnTo>
                  <a:pt x="916474" y="3811"/>
                </a:lnTo>
                <a:lnTo>
                  <a:pt x="922504" y="2858"/>
                </a:lnTo>
                <a:lnTo>
                  <a:pt x="927899" y="1588"/>
                </a:lnTo>
                <a:lnTo>
                  <a:pt x="933611" y="1270"/>
                </a:lnTo>
                <a:lnTo>
                  <a:pt x="945036" y="63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51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2527300" y="2751494"/>
            <a:ext cx="6357938" cy="105850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spcBef>
                <a:spcPts val="0"/>
              </a:spcBef>
              <a:defRPr lang="ru-RU" dirty="0" smtClean="0">
                <a:solidFill>
                  <a:schemeClr val="tx1"/>
                </a:solidFill>
              </a:defRPr>
            </a:lvl1pPr>
          </a:lstStyle>
          <a:p>
            <a:pPr marL="0" lvl="0" indent="0">
              <a:buNone/>
            </a:pPr>
            <a:r>
              <a:rPr lang="ru-RU" dirty="0" smtClean="0"/>
              <a:t>Подзаголовок в одну </a:t>
            </a:r>
            <a:br>
              <a:rPr lang="ru-RU" dirty="0" smtClean="0"/>
            </a:br>
            <a:r>
              <a:rPr lang="ru-RU" dirty="0" smtClean="0"/>
              <a:t>или две строки</a:t>
            </a:r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15645" y="711050"/>
            <a:ext cx="1440847" cy="1080000"/>
          </a:xfrm>
          <a:prstGeom prst="rect">
            <a:avLst/>
          </a:prstGeom>
          <a:ln>
            <a:solidFill>
              <a:schemeClr val="accent3"/>
            </a:solidFill>
          </a:ln>
        </p:spPr>
      </p:pic>
      <p:sp>
        <p:nvSpPr>
          <p:cNvPr id="18" name="TextBox 17"/>
          <p:cNvSpPr txBox="1"/>
          <p:nvPr userDrawn="1"/>
        </p:nvSpPr>
        <p:spPr>
          <a:xfrm>
            <a:off x="-1715645" y="150732"/>
            <a:ext cx="1362807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Clr>
                <a:schemeClr val="accent1"/>
              </a:buClr>
            </a:pPr>
            <a:r>
              <a:rPr lang="ru-RU" sz="1100" b="1" dirty="0" smtClean="0"/>
              <a:t>Этот разделитель предназначен</a:t>
            </a:r>
            <a:r>
              <a:rPr lang="ru-RU" sz="1100" b="1" baseline="0" dirty="0" smtClean="0"/>
              <a:t> </a:t>
            </a:r>
            <a:br>
              <a:rPr lang="ru-RU" sz="1100" b="1" baseline="0" dirty="0" smtClean="0"/>
            </a:br>
            <a:r>
              <a:rPr lang="ru-RU" sz="1100" b="1" baseline="0" dirty="0" smtClean="0"/>
              <a:t>для титула №2</a:t>
            </a:r>
            <a:endParaRPr lang="ru-RU" sz="1100" b="1" dirty="0" smtClean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-1566857" y="2324392"/>
            <a:ext cx="1337546" cy="13234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Clr>
                <a:schemeClr val="accent1"/>
              </a:buClr>
            </a:pPr>
            <a:r>
              <a:rPr lang="ru-RU" sz="1100" b="1" dirty="0" smtClean="0"/>
              <a:t>Введите</a:t>
            </a:r>
            <a:r>
              <a:rPr lang="ru-RU" sz="1100" b="1" baseline="0" dirty="0" smtClean="0"/>
              <a:t> </a:t>
            </a:r>
            <a:br>
              <a:rPr lang="ru-RU" sz="1100" b="1" baseline="0" dirty="0" smtClean="0"/>
            </a:br>
            <a:r>
              <a:rPr lang="ru-RU" sz="1100" b="1" baseline="0" dirty="0" smtClean="0"/>
              <a:t>в заполнитель текст:</a:t>
            </a:r>
          </a:p>
          <a:p>
            <a:pPr marL="171450" indent="-171450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b="0" baseline="0" dirty="0" smtClean="0"/>
              <a:t>Заголовок</a:t>
            </a:r>
          </a:p>
          <a:p>
            <a:pPr marL="171450" indent="-171450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100" b="0" baseline="0" dirty="0" smtClean="0"/>
              <a:t>Подзаголовок (если требуется)</a:t>
            </a:r>
          </a:p>
        </p:txBody>
      </p:sp>
    </p:spTree>
    <p:extLst>
      <p:ext uri="{BB962C8B-B14F-4D97-AF65-F5344CB8AC3E}">
        <p14:creationId xmlns:p14="http://schemas.microsoft.com/office/powerpoint/2010/main" val="41445978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159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"/>
          <p:cNvSpPr>
            <a:spLocks noGrp="1"/>
          </p:cNvSpPr>
          <p:nvPr>
            <p:ph idx="1" hasCustomPrompt="1"/>
          </p:nvPr>
        </p:nvSpPr>
        <p:spPr>
          <a:xfrm>
            <a:off x="247650" y="1385155"/>
            <a:ext cx="8621019" cy="5090258"/>
          </a:xfrm>
          <a:prstGeom prst="rect">
            <a:avLst/>
          </a:prstGeom>
        </p:spPr>
        <p:txBody>
          <a:bodyPr/>
          <a:lstStyle>
            <a:lvl1pPr marL="358775" indent="-358775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633413" indent="-269875">
              <a:buClr>
                <a:schemeClr val="accent1"/>
              </a:buClr>
              <a:defRPr sz="2200">
                <a:solidFill>
                  <a:schemeClr val="tx2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 smtClean="0"/>
              <a:t>Образец текста 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41190B-96E3-4B62-87B2-9FF793F6223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250824" y="249239"/>
            <a:ext cx="7850189" cy="7416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</a:pPr>
            <a:r>
              <a:rPr lang="ru-RU" sz="2800" dirty="0" smtClean="0"/>
              <a:t>Содержание</a:t>
            </a:r>
          </a:p>
        </p:txBody>
      </p:sp>
      <p:pic>
        <p:nvPicPr>
          <p:cNvPr id="394" name="Рисунок 39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9306" y="3416300"/>
            <a:ext cx="25388" cy="25400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-1315225" y="1376363"/>
            <a:ext cx="1093866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ru-RU" sz="1100" b="1" dirty="0" smtClean="0"/>
              <a:t>Следует</a:t>
            </a:r>
            <a:r>
              <a:rPr lang="ru-RU" sz="1100" b="1" baseline="0" dirty="0" smtClean="0"/>
              <a:t> разбивать информацию </a:t>
            </a:r>
            <a:br>
              <a:rPr lang="ru-RU" sz="1100" b="1" baseline="0" dirty="0" smtClean="0"/>
            </a:br>
            <a:r>
              <a:rPr lang="ru-RU" sz="1100" b="0" baseline="0" dirty="0" smtClean="0"/>
              <a:t>на разделы </a:t>
            </a:r>
            <a:br>
              <a:rPr lang="ru-RU" sz="1100" b="0" baseline="0" dirty="0" smtClean="0"/>
            </a:br>
            <a:r>
              <a:rPr lang="ru-RU" sz="1100" b="1" baseline="0" dirty="0" smtClean="0">
                <a:solidFill>
                  <a:schemeClr val="accent1"/>
                </a:solidFill>
              </a:rPr>
              <a:t>до 3 – 5 </a:t>
            </a:r>
            <a:r>
              <a:rPr lang="ru-RU" sz="1100" b="1" baseline="0" dirty="0" err="1" smtClean="0">
                <a:solidFill>
                  <a:schemeClr val="accent1"/>
                </a:solidFill>
              </a:rPr>
              <a:t>шт</a:t>
            </a:r>
            <a:endParaRPr lang="ru-RU" sz="1100" b="1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4235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41190B-96E3-4B62-87B2-9FF793F6223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56397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Объект 14"/>
          <p:cNvSpPr>
            <a:spLocks noGrp="1"/>
          </p:cNvSpPr>
          <p:nvPr>
            <p:ph sz="quarter" idx="11"/>
          </p:nvPr>
        </p:nvSpPr>
        <p:spPr>
          <a:xfrm>
            <a:off x="247650" y="1376363"/>
            <a:ext cx="8645525" cy="5099050"/>
          </a:xfrm>
        </p:spPr>
        <p:txBody>
          <a:bodyPr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41190B-96E3-4B62-87B2-9FF793F6223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658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(по вертикал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0200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" name="think-cell Slide" r:id="rId4" imgW="308" imgH="308" progId="TCLayout.ActiveDocument.1">
                  <p:embed/>
                </p:oleObj>
              </mc:Choice>
              <mc:Fallback>
                <p:oleObj name="think-cell Slide" r:id="rId4" imgW="308" imgH="3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835153" y="523074"/>
            <a:ext cx="1480899" cy="1108265"/>
          </a:xfrm>
          <a:prstGeom prst="rect">
            <a:avLst/>
          </a:prstGeom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1"/>
          </p:nvPr>
        </p:nvSpPr>
        <p:spPr>
          <a:xfrm>
            <a:off x="247650" y="1376363"/>
            <a:ext cx="4114800" cy="509905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0" name="Объект 8"/>
          <p:cNvSpPr>
            <a:spLocks noGrp="1"/>
          </p:cNvSpPr>
          <p:nvPr>
            <p:ph sz="quarter" idx="12"/>
          </p:nvPr>
        </p:nvSpPr>
        <p:spPr>
          <a:xfrm>
            <a:off x="4778375" y="1376363"/>
            <a:ext cx="4114800" cy="509905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AF41190B-96E3-4B62-87B2-9FF793F6223E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51" r="38300"/>
          <a:stretch/>
        </p:blipFill>
        <p:spPr>
          <a:xfrm>
            <a:off x="-1446624" y="3527257"/>
            <a:ext cx="1078790" cy="1933575"/>
          </a:xfrm>
          <a:prstGeom prst="rect">
            <a:avLst/>
          </a:prstGeom>
        </p:spPr>
      </p:pic>
      <p:sp>
        <p:nvSpPr>
          <p:cNvPr id="7" name="Прямоугольник 6"/>
          <p:cNvSpPr/>
          <p:nvPr userDrawn="1"/>
        </p:nvSpPr>
        <p:spPr>
          <a:xfrm>
            <a:off x="-1139359" y="3698708"/>
            <a:ext cx="581025" cy="1905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 flipV="1">
            <a:off x="-1015534" y="3391853"/>
            <a:ext cx="0" cy="3068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-1730641" y="1806509"/>
            <a:ext cx="1362807" cy="15594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Clr>
                <a:schemeClr val="accent1"/>
              </a:buClr>
            </a:pPr>
            <a:r>
              <a:rPr lang="ru-RU" sz="1100" b="1" dirty="0" smtClean="0"/>
              <a:t>Выбираем макет:</a:t>
            </a:r>
            <a:r>
              <a:rPr lang="ru-RU" sz="1100" b="1" baseline="0" dirty="0" smtClean="0"/>
              <a:t> </a:t>
            </a:r>
          </a:p>
          <a:p>
            <a:pPr>
              <a:spcBef>
                <a:spcPts val="800"/>
              </a:spcBef>
              <a:buClr>
                <a:schemeClr val="accent1"/>
              </a:buClr>
            </a:pPr>
            <a:r>
              <a:rPr lang="ru-RU" sz="1100" baseline="0" dirty="0" smtClean="0"/>
              <a:t>1. Кликаем </a:t>
            </a:r>
            <a:br>
              <a:rPr lang="ru-RU" sz="1100" baseline="0" dirty="0" smtClean="0"/>
            </a:br>
            <a:r>
              <a:rPr lang="ru-RU" sz="1100" baseline="0" dirty="0" smtClean="0"/>
              <a:t>на вкладке «Макет» на панели инструментов.</a:t>
            </a:r>
          </a:p>
          <a:p>
            <a:pPr>
              <a:spcBef>
                <a:spcPts val="800"/>
              </a:spcBef>
              <a:buClr>
                <a:schemeClr val="accent1"/>
              </a:buClr>
            </a:pPr>
            <a:r>
              <a:rPr lang="ru-RU" sz="1100" baseline="0" dirty="0" smtClean="0"/>
              <a:t>2. Выбираем нужный макет, исходя </a:t>
            </a:r>
            <a:br>
              <a:rPr lang="ru-RU" sz="1100" baseline="0" dirty="0" smtClean="0"/>
            </a:br>
            <a:r>
              <a:rPr lang="ru-RU" sz="1100" baseline="0" dirty="0" smtClean="0"/>
              <a:t>из контента.</a:t>
            </a:r>
            <a:endParaRPr lang="ru-RU" sz="1100" dirty="0" smtClean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-1835153" y="28041"/>
            <a:ext cx="1447313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Clr>
                <a:schemeClr val="accent1"/>
              </a:buClr>
            </a:pPr>
            <a:r>
              <a:rPr lang="ru-RU" sz="1100" b="1" dirty="0" smtClean="0"/>
              <a:t>Пример наполнения слайда</a:t>
            </a:r>
          </a:p>
        </p:txBody>
      </p:sp>
    </p:spTree>
    <p:extLst>
      <p:ext uri="{BB962C8B-B14F-4D97-AF65-F5344CB8AC3E}">
        <p14:creationId xmlns:p14="http://schemas.microsoft.com/office/powerpoint/2010/main" val="17079228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2" pos="274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два изобра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Два изображения, два объекта</a:t>
            </a:r>
            <a:endParaRPr lang="ru-RU" dirty="0"/>
          </a:p>
        </p:txBody>
      </p:sp>
      <p:sp>
        <p:nvSpPr>
          <p:cNvPr id="274" name="Объект 2"/>
          <p:cNvSpPr>
            <a:spLocks noGrp="1"/>
          </p:cNvSpPr>
          <p:nvPr>
            <p:ph sz="quarter" idx="16"/>
          </p:nvPr>
        </p:nvSpPr>
        <p:spPr>
          <a:xfrm>
            <a:off x="247650" y="4601244"/>
            <a:ext cx="4162425" cy="187417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277" name="Объект 2"/>
          <p:cNvSpPr>
            <a:spLocks noGrp="1"/>
          </p:cNvSpPr>
          <p:nvPr>
            <p:ph sz="quarter" idx="18"/>
          </p:nvPr>
        </p:nvSpPr>
        <p:spPr>
          <a:xfrm>
            <a:off x="4730750" y="4601244"/>
            <a:ext cx="4162425" cy="187417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9"/>
          </p:nvPr>
        </p:nvSpPr>
        <p:spPr>
          <a:xfrm>
            <a:off x="0" y="1376363"/>
            <a:ext cx="4413250" cy="2959394"/>
          </a:xfrm>
        </p:spPr>
        <p:txBody>
          <a:bodyPr/>
          <a:lstStyle/>
          <a:p>
            <a:endParaRPr lang="ru-RU"/>
          </a:p>
        </p:txBody>
      </p:sp>
      <p:sp>
        <p:nvSpPr>
          <p:cNvPr id="12" name="Рисунок 6"/>
          <p:cNvSpPr>
            <a:spLocks noGrp="1"/>
          </p:cNvSpPr>
          <p:nvPr>
            <p:ph type="pic" sz="quarter" idx="20"/>
          </p:nvPr>
        </p:nvSpPr>
        <p:spPr>
          <a:xfrm>
            <a:off x="4727574" y="1376363"/>
            <a:ext cx="4416425" cy="2959394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F41190B-96E3-4B62-87B2-9FF793F6223E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32" name="Рисунок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835153" y="523074"/>
            <a:ext cx="1480899" cy="1108265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851" r="38300"/>
          <a:stretch/>
        </p:blipFill>
        <p:spPr>
          <a:xfrm>
            <a:off x="-1446624" y="3527257"/>
            <a:ext cx="1078790" cy="1933575"/>
          </a:xfrm>
          <a:prstGeom prst="rect">
            <a:avLst/>
          </a:prstGeom>
        </p:spPr>
      </p:pic>
      <p:sp>
        <p:nvSpPr>
          <p:cNvPr id="34" name="Прямоугольник 33"/>
          <p:cNvSpPr/>
          <p:nvPr userDrawn="1"/>
        </p:nvSpPr>
        <p:spPr>
          <a:xfrm>
            <a:off x="-1139359" y="3698708"/>
            <a:ext cx="581025" cy="1905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cxnSp>
        <p:nvCxnSpPr>
          <p:cNvPr id="35" name="Прямая соединительная линия 34"/>
          <p:cNvCxnSpPr/>
          <p:nvPr userDrawn="1"/>
        </p:nvCxnSpPr>
        <p:spPr>
          <a:xfrm flipV="1">
            <a:off x="-1015534" y="3391853"/>
            <a:ext cx="0" cy="3068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 userDrawn="1"/>
        </p:nvSpPr>
        <p:spPr>
          <a:xfrm>
            <a:off x="-1730641" y="1806509"/>
            <a:ext cx="1362807" cy="15594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Clr>
                <a:schemeClr val="accent1"/>
              </a:buClr>
            </a:pPr>
            <a:r>
              <a:rPr lang="ru-RU" sz="1100" b="1" dirty="0" smtClean="0"/>
              <a:t>Выбираем макет:</a:t>
            </a:r>
            <a:r>
              <a:rPr lang="ru-RU" sz="1100" b="1" baseline="0" dirty="0" smtClean="0"/>
              <a:t> </a:t>
            </a:r>
          </a:p>
          <a:p>
            <a:pPr>
              <a:spcBef>
                <a:spcPts val="800"/>
              </a:spcBef>
              <a:buClr>
                <a:schemeClr val="accent1"/>
              </a:buClr>
            </a:pPr>
            <a:r>
              <a:rPr lang="ru-RU" sz="1100" baseline="0" dirty="0" smtClean="0"/>
              <a:t>1. Кликаем </a:t>
            </a:r>
            <a:br>
              <a:rPr lang="ru-RU" sz="1100" baseline="0" dirty="0" smtClean="0"/>
            </a:br>
            <a:r>
              <a:rPr lang="ru-RU" sz="1100" baseline="0" dirty="0" smtClean="0"/>
              <a:t>на вкладке «Макет» на панели инструментов.</a:t>
            </a:r>
          </a:p>
          <a:p>
            <a:pPr>
              <a:spcBef>
                <a:spcPts val="800"/>
              </a:spcBef>
              <a:buClr>
                <a:schemeClr val="accent1"/>
              </a:buClr>
            </a:pPr>
            <a:r>
              <a:rPr lang="ru-RU" sz="1100" baseline="0" dirty="0" smtClean="0"/>
              <a:t>2. Выбираем нужный макет, исходя </a:t>
            </a:r>
            <a:br>
              <a:rPr lang="ru-RU" sz="1100" baseline="0" dirty="0" smtClean="0"/>
            </a:br>
            <a:r>
              <a:rPr lang="ru-RU" sz="1100" baseline="0" dirty="0" smtClean="0"/>
              <a:t>из контента.</a:t>
            </a:r>
            <a:endParaRPr lang="ru-RU" sz="1100" dirty="0" smtClean="0"/>
          </a:p>
        </p:txBody>
      </p:sp>
      <p:sp>
        <p:nvSpPr>
          <p:cNvPr id="37" name="TextBox 36"/>
          <p:cNvSpPr txBox="1"/>
          <p:nvPr userDrawn="1"/>
        </p:nvSpPr>
        <p:spPr>
          <a:xfrm>
            <a:off x="-1835153" y="28041"/>
            <a:ext cx="1447313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1200"/>
              </a:spcBef>
              <a:buClr>
                <a:schemeClr val="accent1"/>
              </a:buClr>
            </a:pPr>
            <a:r>
              <a:rPr lang="ru-RU" sz="1100" b="1" dirty="0" smtClean="0"/>
              <a:t>Пример наполнения слайда</a:t>
            </a:r>
          </a:p>
        </p:txBody>
      </p:sp>
      <p:pic>
        <p:nvPicPr>
          <p:cNvPr id="38" name="Рисунок 3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4680" y="1045658"/>
            <a:ext cx="1524442" cy="1256709"/>
          </a:xfrm>
          <a:prstGeom prst="rect">
            <a:avLst/>
          </a:prstGeom>
        </p:spPr>
      </p:pic>
      <p:sp>
        <p:nvSpPr>
          <p:cNvPr id="39" name="TextBox 38"/>
          <p:cNvSpPr txBox="1"/>
          <p:nvPr userDrawn="1"/>
        </p:nvSpPr>
        <p:spPr>
          <a:xfrm>
            <a:off x="9437666" y="0"/>
            <a:ext cx="1362807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buClr>
                <a:schemeClr val="accent1"/>
              </a:buClr>
            </a:pPr>
            <a:r>
              <a:rPr lang="ru-RU" sz="1100" b="1" dirty="0" err="1" smtClean="0"/>
              <a:t>Кадрировать</a:t>
            </a:r>
            <a:r>
              <a:rPr lang="ru-RU" sz="1100" b="1" dirty="0" smtClean="0"/>
              <a:t> изображение </a:t>
            </a:r>
            <a:r>
              <a:rPr lang="ru-RU" sz="1100" dirty="0" smtClean="0"/>
              <a:t>(увеличить, подвинуть</a:t>
            </a:r>
            <a:r>
              <a:rPr lang="ru-RU" sz="1100" baseline="0" dirty="0" smtClean="0"/>
              <a:t> для оптимального вписывания)</a:t>
            </a:r>
            <a:endParaRPr lang="ru-RU" sz="1100" dirty="0" smtClean="0"/>
          </a:p>
        </p:txBody>
      </p:sp>
      <p:cxnSp>
        <p:nvCxnSpPr>
          <p:cNvPr id="40" name="Прямая соединительная линия 39"/>
          <p:cNvCxnSpPr/>
          <p:nvPr userDrawn="1"/>
        </p:nvCxnSpPr>
        <p:spPr>
          <a:xfrm flipV="1">
            <a:off x="10742261" y="700461"/>
            <a:ext cx="0" cy="63511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 userDrawn="1"/>
        </p:nvCxnSpPr>
        <p:spPr>
          <a:xfrm>
            <a:off x="10355545" y="690936"/>
            <a:ext cx="38671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 userDrawn="1"/>
        </p:nvSpPr>
        <p:spPr>
          <a:xfrm>
            <a:off x="10466416" y="1285852"/>
            <a:ext cx="281941" cy="18067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43" name="TextBox 42"/>
          <p:cNvSpPr txBox="1"/>
          <p:nvPr userDrawn="1"/>
        </p:nvSpPr>
        <p:spPr>
          <a:xfrm>
            <a:off x="9437666" y="2408500"/>
            <a:ext cx="1742796" cy="34163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1" dirty="0" smtClean="0">
                <a:solidFill>
                  <a:schemeClr val="tx1"/>
                </a:solidFill>
              </a:rPr>
              <a:t>Два варианта замены изображения </a:t>
            </a:r>
            <a:br>
              <a:rPr lang="ru-RU" sz="1100" b="1" dirty="0" smtClean="0">
                <a:solidFill>
                  <a:schemeClr val="tx1"/>
                </a:solidFill>
              </a:rPr>
            </a:br>
            <a:r>
              <a:rPr lang="ru-RU" sz="1100" b="1" dirty="0" smtClean="0">
                <a:solidFill>
                  <a:schemeClr val="tx1"/>
                </a:solidFill>
              </a:rPr>
              <a:t>в заполнителе</a:t>
            </a: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0" dirty="0" smtClean="0">
                <a:solidFill>
                  <a:schemeClr val="tx1"/>
                </a:solidFill>
              </a:rPr>
              <a:t>1.Удаляем </a:t>
            </a:r>
            <a:r>
              <a:rPr lang="ru-RU" sz="1100" b="0" baseline="0" dirty="0" smtClean="0">
                <a:solidFill>
                  <a:schemeClr val="tx1"/>
                </a:solidFill>
              </a:rPr>
              <a:t>ненужное,</a:t>
            </a:r>
            <a:r>
              <a:rPr lang="en-US" sz="1100" b="0" baseline="0" dirty="0" smtClean="0">
                <a:solidFill>
                  <a:schemeClr val="tx1"/>
                </a:solidFill>
              </a:rPr>
              <a:t/>
            </a:r>
            <a:br>
              <a:rPr lang="en-US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нажав на значок, выбираем новое.</a:t>
            </a: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ru-RU" sz="1100" b="0" baseline="0" dirty="0" smtClean="0">
                <a:solidFill>
                  <a:schemeClr val="tx1"/>
                </a:solidFill>
              </a:rPr>
              <a:t>2. </a:t>
            </a:r>
            <a:r>
              <a:rPr lang="ru-RU" sz="1100" b="0" dirty="0" smtClean="0">
                <a:solidFill>
                  <a:schemeClr val="tx1"/>
                </a:solidFill>
              </a:rPr>
              <a:t>Удаляем </a:t>
            </a:r>
            <a:r>
              <a:rPr lang="ru-RU" sz="1100" b="0" baseline="0" dirty="0" smtClean="0">
                <a:solidFill>
                  <a:schemeClr val="tx1"/>
                </a:solidFill>
              </a:rPr>
              <a:t>ненужное, копируем новое фото </a:t>
            </a:r>
            <a:r>
              <a:rPr lang="en-US" sz="1100" b="0" baseline="0" dirty="0" smtClean="0">
                <a:solidFill>
                  <a:schemeClr val="tx1"/>
                </a:solidFill>
              </a:rPr>
              <a:t> (</a:t>
            </a:r>
            <a:r>
              <a:rPr lang="en-US" sz="1100" b="0" baseline="0" dirty="0" err="1" smtClean="0">
                <a:solidFill>
                  <a:schemeClr val="tx1"/>
                </a:solidFill>
              </a:rPr>
              <a:t>Ctrl+C</a:t>
            </a:r>
            <a:r>
              <a:rPr lang="en-US" sz="1100" b="0" baseline="0" dirty="0" smtClean="0">
                <a:solidFill>
                  <a:schemeClr val="tx1"/>
                </a:solidFill>
              </a:rPr>
              <a:t>)</a:t>
            </a:r>
            <a:r>
              <a:rPr lang="ru-RU" sz="1100" b="0" baseline="0" dirty="0" smtClean="0">
                <a:solidFill>
                  <a:schemeClr val="tx1"/>
                </a:solidFill>
              </a:rPr>
              <a:t>, нажимаем на край области заполнителя </a:t>
            </a:r>
            <a:r>
              <a:rPr lang="en-US" sz="1100" b="0" baseline="0" dirty="0" smtClean="0">
                <a:solidFill>
                  <a:schemeClr val="tx1"/>
                </a:solidFill>
              </a:rPr>
              <a:t/>
            </a:r>
            <a:br>
              <a:rPr lang="en-US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и вставляем изображение </a:t>
            </a:r>
            <a:r>
              <a:rPr lang="en-US" sz="1100" b="0" baseline="0" dirty="0" smtClean="0">
                <a:solidFill>
                  <a:schemeClr val="tx1"/>
                </a:solidFill>
              </a:rPr>
              <a:t>(</a:t>
            </a:r>
            <a:r>
              <a:rPr lang="en-US" sz="1100" b="0" baseline="0" dirty="0" err="1" smtClean="0">
                <a:solidFill>
                  <a:schemeClr val="tx1"/>
                </a:solidFill>
              </a:rPr>
              <a:t>Ctrl+V</a:t>
            </a:r>
            <a:r>
              <a:rPr lang="en-US" sz="1100" b="0" baseline="0" dirty="0" smtClean="0">
                <a:solidFill>
                  <a:schemeClr val="tx1"/>
                </a:solidFill>
              </a:rPr>
              <a:t>)</a:t>
            </a:r>
            <a:r>
              <a:rPr lang="ru-RU" sz="1100" b="0" baseline="0" dirty="0" smtClean="0">
                <a:solidFill>
                  <a:schemeClr val="tx1"/>
                </a:solidFill>
              </a:rPr>
              <a:t>.</a:t>
            </a:r>
            <a:endParaRPr lang="en-US" sz="1100" b="0" baseline="0" dirty="0" smtClean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en-US" sz="2000" b="1" baseline="0" dirty="0" smtClean="0">
                <a:solidFill>
                  <a:schemeClr val="tx1"/>
                </a:solidFill>
              </a:rPr>
              <a:t>! </a:t>
            </a:r>
            <a:r>
              <a:rPr lang="ru-RU" sz="1100" b="0" baseline="0" dirty="0" smtClean="0">
                <a:solidFill>
                  <a:schemeClr val="tx1"/>
                </a:solidFill>
              </a:rPr>
              <a:t>Если фото </a:t>
            </a:r>
            <a:br>
              <a:rPr lang="ru-RU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не обрезается </a:t>
            </a:r>
            <a:br>
              <a:rPr lang="ru-RU" sz="1100" b="0" baseline="0" dirty="0" smtClean="0">
                <a:solidFill>
                  <a:schemeClr val="tx1"/>
                </a:solidFill>
              </a:rPr>
            </a:br>
            <a:r>
              <a:rPr lang="ru-RU" sz="1100" b="0" baseline="0" dirty="0" smtClean="0">
                <a:solidFill>
                  <a:schemeClr val="tx1"/>
                </a:solidFill>
              </a:rPr>
              <a:t>по форме заполнителя, нажмите кнопку «Восстановить/Сбросить» на вкладке «Главная»</a:t>
            </a:r>
            <a:endParaRPr lang="ru-RU" sz="1100" b="1" dirty="0" smtClean="0"/>
          </a:p>
        </p:txBody>
      </p:sp>
      <p:pic>
        <p:nvPicPr>
          <p:cNvPr id="44" name="Рисунок 43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57" t="51784" r="59151" b="23605"/>
          <a:stretch/>
        </p:blipFill>
        <p:spPr>
          <a:xfrm>
            <a:off x="10624904" y="3244047"/>
            <a:ext cx="351137" cy="335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8396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974">
          <p15:clr>
            <a:srgbClr val="FBAE40"/>
          </p15:clr>
        </p15:guide>
        <p15:guide id="3" pos="278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250825" y="258761"/>
            <a:ext cx="7850188" cy="742952"/>
          </a:xfrm>
          <a:prstGeom prst="rect">
            <a:avLst/>
          </a:prstGeom>
        </p:spPr>
        <p:txBody>
          <a:bodyPr lIns="0" anchor="ctr" anchorCtr="0"/>
          <a:lstStyle/>
          <a:p>
            <a:pPr marL="0" lvl="0"/>
            <a:endParaRPr lang="ru-RU" dirty="0"/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8297093" y="-7938"/>
            <a:ext cx="845193" cy="1148675"/>
            <a:chOff x="8260881" y="-7938"/>
            <a:chExt cx="884237" cy="1201738"/>
          </a:xfrm>
        </p:grpSpPr>
        <p:sp>
          <p:nvSpPr>
            <p:cNvPr id="9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8260881" y="-7938"/>
              <a:ext cx="884237" cy="12017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" name="Freeform 5"/>
            <p:cNvSpPr>
              <a:spLocks/>
            </p:cNvSpPr>
            <p:nvPr userDrawn="1"/>
          </p:nvSpPr>
          <p:spPr bwMode="auto">
            <a:xfrm>
              <a:off x="8611718" y="320675"/>
              <a:ext cx="533400" cy="296863"/>
            </a:xfrm>
            <a:custGeom>
              <a:avLst/>
              <a:gdLst>
                <a:gd name="T0" fmla="*/ 7102 w 7398"/>
                <a:gd name="T1" fmla="*/ 4108 h 4128"/>
                <a:gd name="T2" fmla="*/ 6674 w 7398"/>
                <a:gd name="T3" fmla="*/ 4068 h 4128"/>
                <a:gd name="T4" fmla="*/ 6259 w 7398"/>
                <a:gd name="T5" fmla="*/ 4015 h 4128"/>
                <a:gd name="T6" fmla="*/ 5860 w 7398"/>
                <a:gd name="T7" fmla="*/ 3950 h 4128"/>
                <a:gd name="T8" fmla="*/ 5473 w 7398"/>
                <a:gd name="T9" fmla="*/ 3872 h 4128"/>
                <a:gd name="T10" fmla="*/ 5100 w 7398"/>
                <a:gd name="T11" fmla="*/ 3780 h 4128"/>
                <a:gd name="T12" fmla="*/ 4739 w 7398"/>
                <a:gd name="T13" fmla="*/ 3674 h 4128"/>
                <a:gd name="T14" fmla="*/ 4388 w 7398"/>
                <a:gd name="T15" fmla="*/ 3555 h 4128"/>
                <a:gd name="T16" fmla="*/ 4047 w 7398"/>
                <a:gd name="T17" fmla="*/ 3423 h 4128"/>
                <a:gd name="T18" fmla="*/ 3716 w 7398"/>
                <a:gd name="T19" fmla="*/ 3276 h 4128"/>
                <a:gd name="T20" fmla="*/ 3395 w 7398"/>
                <a:gd name="T21" fmla="*/ 3116 h 4128"/>
                <a:gd name="T22" fmla="*/ 3051 w 7398"/>
                <a:gd name="T23" fmla="*/ 2924 h 4128"/>
                <a:gd name="T24" fmla="*/ 2716 w 7398"/>
                <a:gd name="T25" fmla="*/ 2716 h 4128"/>
                <a:gd name="T26" fmla="*/ 2388 w 7398"/>
                <a:gd name="T27" fmla="*/ 2490 h 4128"/>
                <a:gd name="T28" fmla="*/ 2067 w 7398"/>
                <a:gd name="T29" fmla="*/ 2247 h 4128"/>
                <a:gd name="T30" fmla="*/ 1750 w 7398"/>
                <a:gd name="T31" fmla="*/ 1987 h 4128"/>
                <a:gd name="T32" fmla="*/ 1438 w 7398"/>
                <a:gd name="T33" fmla="*/ 1709 h 4128"/>
                <a:gd name="T34" fmla="*/ 1128 w 7398"/>
                <a:gd name="T35" fmla="*/ 1412 h 4128"/>
                <a:gd name="T36" fmla="*/ 821 w 7398"/>
                <a:gd name="T37" fmla="*/ 1097 h 4128"/>
                <a:gd name="T38" fmla="*/ 514 w 7398"/>
                <a:gd name="T39" fmla="*/ 765 h 4128"/>
                <a:gd name="T40" fmla="*/ 206 w 7398"/>
                <a:gd name="T41" fmla="*/ 413 h 4128"/>
                <a:gd name="T42" fmla="*/ 204 w 7398"/>
                <a:gd name="T43" fmla="*/ 0 h 4128"/>
                <a:gd name="T44" fmla="*/ 505 w 7398"/>
                <a:gd name="T45" fmla="*/ 357 h 4128"/>
                <a:gd name="T46" fmla="*/ 806 w 7398"/>
                <a:gd name="T47" fmla="*/ 695 h 4128"/>
                <a:gd name="T48" fmla="*/ 1107 w 7398"/>
                <a:gd name="T49" fmla="*/ 1015 h 4128"/>
                <a:gd name="T50" fmla="*/ 1409 w 7398"/>
                <a:gd name="T51" fmla="*/ 1317 h 4128"/>
                <a:gd name="T52" fmla="*/ 1712 w 7398"/>
                <a:gd name="T53" fmla="*/ 1601 h 4128"/>
                <a:gd name="T54" fmla="*/ 2019 w 7398"/>
                <a:gd name="T55" fmla="*/ 1868 h 4128"/>
                <a:gd name="T56" fmla="*/ 2329 w 7398"/>
                <a:gd name="T57" fmla="*/ 2117 h 4128"/>
                <a:gd name="T58" fmla="*/ 2643 w 7398"/>
                <a:gd name="T59" fmla="*/ 2349 h 4128"/>
                <a:gd name="T60" fmla="*/ 2965 w 7398"/>
                <a:gd name="T61" fmla="*/ 2563 h 4128"/>
                <a:gd name="T62" fmla="*/ 3294 w 7398"/>
                <a:gd name="T63" fmla="*/ 2761 h 4128"/>
                <a:gd name="T64" fmla="*/ 3621 w 7398"/>
                <a:gd name="T65" fmla="*/ 2936 h 4128"/>
                <a:gd name="T66" fmla="*/ 3935 w 7398"/>
                <a:gd name="T67" fmla="*/ 3087 h 4128"/>
                <a:gd name="T68" fmla="*/ 4258 w 7398"/>
                <a:gd name="T69" fmla="*/ 3224 h 4128"/>
                <a:gd name="T70" fmla="*/ 4591 w 7398"/>
                <a:gd name="T71" fmla="*/ 3348 h 4128"/>
                <a:gd name="T72" fmla="*/ 4933 w 7398"/>
                <a:gd name="T73" fmla="*/ 3458 h 4128"/>
                <a:gd name="T74" fmla="*/ 5288 w 7398"/>
                <a:gd name="T75" fmla="*/ 3556 h 4128"/>
                <a:gd name="T76" fmla="*/ 5654 w 7398"/>
                <a:gd name="T77" fmla="*/ 3642 h 4128"/>
                <a:gd name="T78" fmla="*/ 6032 w 7398"/>
                <a:gd name="T79" fmla="*/ 3713 h 4128"/>
                <a:gd name="T80" fmla="*/ 6425 w 7398"/>
                <a:gd name="T81" fmla="*/ 3773 h 4128"/>
                <a:gd name="T82" fmla="*/ 6832 w 7398"/>
                <a:gd name="T83" fmla="*/ 3820 h 4128"/>
                <a:gd name="T84" fmla="*/ 7253 w 7398"/>
                <a:gd name="T85" fmla="*/ 3855 h 4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398" h="4128">
                  <a:moveTo>
                    <a:pt x="7398" y="4128"/>
                  </a:moveTo>
                  <a:lnTo>
                    <a:pt x="7249" y="4118"/>
                  </a:lnTo>
                  <a:lnTo>
                    <a:pt x="7102" y="4108"/>
                  </a:lnTo>
                  <a:lnTo>
                    <a:pt x="6958" y="4096"/>
                  </a:lnTo>
                  <a:lnTo>
                    <a:pt x="6815" y="4083"/>
                  </a:lnTo>
                  <a:lnTo>
                    <a:pt x="6674" y="4068"/>
                  </a:lnTo>
                  <a:lnTo>
                    <a:pt x="6534" y="4052"/>
                  </a:lnTo>
                  <a:lnTo>
                    <a:pt x="6396" y="4035"/>
                  </a:lnTo>
                  <a:lnTo>
                    <a:pt x="6259" y="4015"/>
                  </a:lnTo>
                  <a:lnTo>
                    <a:pt x="6124" y="3996"/>
                  </a:lnTo>
                  <a:lnTo>
                    <a:pt x="5991" y="3974"/>
                  </a:lnTo>
                  <a:lnTo>
                    <a:pt x="5860" y="3950"/>
                  </a:lnTo>
                  <a:lnTo>
                    <a:pt x="5730" y="3926"/>
                  </a:lnTo>
                  <a:lnTo>
                    <a:pt x="5600" y="3900"/>
                  </a:lnTo>
                  <a:lnTo>
                    <a:pt x="5473" y="3872"/>
                  </a:lnTo>
                  <a:lnTo>
                    <a:pt x="5348" y="3842"/>
                  </a:lnTo>
                  <a:lnTo>
                    <a:pt x="5223" y="3811"/>
                  </a:lnTo>
                  <a:lnTo>
                    <a:pt x="5100" y="3780"/>
                  </a:lnTo>
                  <a:lnTo>
                    <a:pt x="4978" y="3746"/>
                  </a:lnTo>
                  <a:lnTo>
                    <a:pt x="4857" y="3711"/>
                  </a:lnTo>
                  <a:lnTo>
                    <a:pt x="4739" y="3674"/>
                  </a:lnTo>
                  <a:lnTo>
                    <a:pt x="4620" y="3636"/>
                  </a:lnTo>
                  <a:lnTo>
                    <a:pt x="4503" y="3597"/>
                  </a:lnTo>
                  <a:lnTo>
                    <a:pt x="4388" y="3555"/>
                  </a:lnTo>
                  <a:lnTo>
                    <a:pt x="4273" y="3513"/>
                  </a:lnTo>
                  <a:lnTo>
                    <a:pt x="4160" y="3469"/>
                  </a:lnTo>
                  <a:lnTo>
                    <a:pt x="4047" y="3423"/>
                  </a:lnTo>
                  <a:lnTo>
                    <a:pt x="3936" y="3376"/>
                  </a:lnTo>
                  <a:lnTo>
                    <a:pt x="3826" y="3327"/>
                  </a:lnTo>
                  <a:lnTo>
                    <a:pt x="3716" y="3276"/>
                  </a:lnTo>
                  <a:lnTo>
                    <a:pt x="3608" y="3224"/>
                  </a:lnTo>
                  <a:lnTo>
                    <a:pt x="3501" y="3171"/>
                  </a:lnTo>
                  <a:lnTo>
                    <a:pt x="3395" y="3116"/>
                  </a:lnTo>
                  <a:lnTo>
                    <a:pt x="3279" y="3055"/>
                  </a:lnTo>
                  <a:lnTo>
                    <a:pt x="3165" y="2990"/>
                  </a:lnTo>
                  <a:lnTo>
                    <a:pt x="3051" y="2924"/>
                  </a:lnTo>
                  <a:lnTo>
                    <a:pt x="2939" y="2857"/>
                  </a:lnTo>
                  <a:lnTo>
                    <a:pt x="2827" y="2787"/>
                  </a:lnTo>
                  <a:lnTo>
                    <a:pt x="2716" y="2716"/>
                  </a:lnTo>
                  <a:lnTo>
                    <a:pt x="2606" y="2642"/>
                  </a:lnTo>
                  <a:lnTo>
                    <a:pt x="2497" y="2567"/>
                  </a:lnTo>
                  <a:lnTo>
                    <a:pt x="2388" y="2490"/>
                  </a:lnTo>
                  <a:lnTo>
                    <a:pt x="2280" y="2411"/>
                  </a:lnTo>
                  <a:lnTo>
                    <a:pt x="2173" y="2330"/>
                  </a:lnTo>
                  <a:lnTo>
                    <a:pt x="2067" y="2247"/>
                  </a:lnTo>
                  <a:lnTo>
                    <a:pt x="1961" y="2163"/>
                  </a:lnTo>
                  <a:lnTo>
                    <a:pt x="1855" y="2075"/>
                  </a:lnTo>
                  <a:lnTo>
                    <a:pt x="1750" y="1987"/>
                  </a:lnTo>
                  <a:lnTo>
                    <a:pt x="1646" y="1896"/>
                  </a:lnTo>
                  <a:lnTo>
                    <a:pt x="1541" y="1803"/>
                  </a:lnTo>
                  <a:lnTo>
                    <a:pt x="1438" y="1709"/>
                  </a:lnTo>
                  <a:lnTo>
                    <a:pt x="1334" y="1612"/>
                  </a:lnTo>
                  <a:lnTo>
                    <a:pt x="1231" y="1513"/>
                  </a:lnTo>
                  <a:lnTo>
                    <a:pt x="1128" y="1412"/>
                  </a:lnTo>
                  <a:lnTo>
                    <a:pt x="1026" y="1309"/>
                  </a:lnTo>
                  <a:lnTo>
                    <a:pt x="923" y="1204"/>
                  </a:lnTo>
                  <a:lnTo>
                    <a:pt x="821" y="1097"/>
                  </a:lnTo>
                  <a:lnTo>
                    <a:pt x="718" y="988"/>
                  </a:lnTo>
                  <a:lnTo>
                    <a:pt x="616" y="877"/>
                  </a:lnTo>
                  <a:lnTo>
                    <a:pt x="514" y="765"/>
                  </a:lnTo>
                  <a:lnTo>
                    <a:pt x="411" y="649"/>
                  </a:lnTo>
                  <a:lnTo>
                    <a:pt x="309" y="531"/>
                  </a:lnTo>
                  <a:lnTo>
                    <a:pt x="206" y="413"/>
                  </a:lnTo>
                  <a:lnTo>
                    <a:pt x="103" y="291"/>
                  </a:lnTo>
                  <a:lnTo>
                    <a:pt x="0" y="167"/>
                  </a:lnTo>
                  <a:lnTo>
                    <a:pt x="204" y="0"/>
                  </a:lnTo>
                  <a:lnTo>
                    <a:pt x="305" y="120"/>
                  </a:lnTo>
                  <a:lnTo>
                    <a:pt x="406" y="239"/>
                  </a:lnTo>
                  <a:lnTo>
                    <a:pt x="505" y="357"/>
                  </a:lnTo>
                  <a:lnTo>
                    <a:pt x="606" y="471"/>
                  </a:lnTo>
                  <a:lnTo>
                    <a:pt x="706" y="585"/>
                  </a:lnTo>
                  <a:lnTo>
                    <a:pt x="806" y="695"/>
                  </a:lnTo>
                  <a:lnTo>
                    <a:pt x="907" y="803"/>
                  </a:lnTo>
                  <a:lnTo>
                    <a:pt x="1007" y="910"/>
                  </a:lnTo>
                  <a:lnTo>
                    <a:pt x="1107" y="1015"/>
                  </a:lnTo>
                  <a:lnTo>
                    <a:pt x="1208" y="1117"/>
                  </a:lnTo>
                  <a:lnTo>
                    <a:pt x="1308" y="1218"/>
                  </a:lnTo>
                  <a:lnTo>
                    <a:pt x="1409" y="1317"/>
                  </a:lnTo>
                  <a:lnTo>
                    <a:pt x="1510" y="1414"/>
                  </a:lnTo>
                  <a:lnTo>
                    <a:pt x="1611" y="1509"/>
                  </a:lnTo>
                  <a:lnTo>
                    <a:pt x="1712" y="1601"/>
                  </a:lnTo>
                  <a:lnTo>
                    <a:pt x="1814" y="1692"/>
                  </a:lnTo>
                  <a:lnTo>
                    <a:pt x="1916" y="1781"/>
                  </a:lnTo>
                  <a:lnTo>
                    <a:pt x="2019" y="1868"/>
                  </a:lnTo>
                  <a:lnTo>
                    <a:pt x="2121" y="1953"/>
                  </a:lnTo>
                  <a:lnTo>
                    <a:pt x="2225" y="2036"/>
                  </a:lnTo>
                  <a:lnTo>
                    <a:pt x="2329" y="2117"/>
                  </a:lnTo>
                  <a:lnTo>
                    <a:pt x="2433" y="2196"/>
                  </a:lnTo>
                  <a:lnTo>
                    <a:pt x="2538" y="2273"/>
                  </a:lnTo>
                  <a:lnTo>
                    <a:pt x="2643" y="2349"/>
                  </a:lnTo>
                  <a:lnTo>
                    <a:pt x="2751" y="2422"/>
                  </a:lnTo>
                  <a:lnTo>
                    <a:pt x="2858" y="2494"/>
                  </a:lnTo>
                  <a:lnTo>
                    <a:pt x="2965" y="2563"/>
                  </a:lnTo>
                  <a:lnTo>
                    <a:pt x="3074" y="2631"/>
                  </a:lnTo>
                  <a:lnTo>
                    <a:pt x="3184" y="2696"/>
                  </a:lnTo>
                  <a:lnTo>
                    <a:pt x="3294" y="2761"/>
                  </a:lnTo>
                  <a:lnTo>
                    <a:pt x="3405" y="2822"/>
                  </a:lnTo>
                  <a:lnTo>
                    <a:pt x="3518" y="2883"/>
                  </a:lnTo>
                  <a:lnTo>
                    <a:pt x="3621" y="2936"/>
                  </a:lnTo>
                  <a:lnTo>
                    <a:pt x="3724" y="2988"/>
                  </a:lnTo>
                  <a:lnTo>
                    <a:pt x="3829" y="3038"/>
                  </a:lnTo>
                  <a:lnTo>
                    <a:pt x="3935" y="3087"/>
                  </a:lnTo>
                  <a:lnTo>
                    <a:pt x="4041" y="3134"/>
                  </a:lnTo>
                  <a:lnTo>
                    <a:pt x="4149" y="3179"/>
                  </a:lnTo>
                  <a:lnTo>
                    <a:pt x="4258" y="3224"/>
                  </a:lnTo>
                  <a:lnTo>
                    <a:pt x="4368" y="3267"/>
                  </a:lnTo>
                  <a:lnTo>
                    <a:pt x="4478" y="3307"/>
                  </a:lnTo>
                  <a:lnTo>
                    <a:pt x="4591" y="3348"/>
                  </a:lnTo>
                  <a:lnTo>
                    <a:pt x="4704" y="3387"/>
                  </a:lnTo>
                  <a:lnTo>
                    <a:pt x="4818" y="3423"/>
                  </a:lnTo>
                  <a:lnTo>
                    <a:pt x="4933" y="3458"/>
                  </a:lnTo>
                  <a:lnTo>
                    <a:pt x="5051" y="3493"/>
                  </a:lnTo>
                  <a:lnTo>
                    <a:pt x="5168" y="3525"/>
                  </a:lnTo>
                  <a:lnTo>
                    <a:pt x="5288" y="3556"/>
                  </a:lnTo>
                  <a:lnTo>
                    <a:pt x="5409" y="3586"/>
                  </a:lnTo>
                  <a:lnTo>
                    <a:pt x="5531" y="3615"/>
                  </a:lnTo>
                  <a:lnTo>
                    <a:pt x="5654" y="3642"/>
                  </a:lnTo>
                  <a:lnTo>
                    <a:pt x="5778" y="3667"/>
                  </a:lnTo>
                  <a:lnTo>
                    <a:pt x="5905" y="3691"/>
                  </a:lnTo>
                  <a:lnTo>
                    <a:pt x="6032" y="3713"/>
                  </a:lnTo>
                  <a:lnTo>
                    <a:pt x="6163" y="3734"/>
                  </a:lnTo>
                  <a:lnTo>
                    <a:pt x="6293" y="3754"/>
                  </a:lnTo>
                  <a:lnTo>
                    <a:pt x="6425" y="3773"/>
                  </a:lnTo>
                  <a:lnTo>
                    <a:pt x="6559" y="3790"/>
                  </a:lnTo>
                  <a:lnTo>
                    <a:pt x="6694" y="3806"/>
                  </a:lnTo>
                  <a:lnTo>
                    <a:pt x="6832" y="3820"/>
                  </a:lnTo>
                  <a:lnTo>
                    <a:pt x="6971" y="3833"/>
                  </a:lnTo>
                  <a:lnTo>
                    <a:pt x="7112" y="3845"/>
                  </a:lnTo>
                  <a:lnTo>
                    <a:pt x="7253" y="3855"/>
                  </a:lnTo>
                  <a:lnTo>
                    <a:pt x="7398" y="3864"/>
                  </a:lnTo>
                  <a:lnTo>
                    <a:pt x="7398" y="4128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6"/>
            <p:cNvSpPr>
              <a:spLocks/>
            </p:cNvSpPr>
            <p:nvPr userDrawn="1"/>
          </p:nvSpPr>
          <p:spPr bwMode="auto">
            <a:xfrm>
              <a:off x="8260881" y="-7938"/>
              <a:ext cx="884237" cy="1201738"/>
            </a:xfrm>
            <a:custGeom>
              <a:avLst/>
              <a:gdLst>
                <a:gd name="T0" fmla="*/ 310 w 12254"/>
                <a:gd name="T1" fmla="*/ 1028 h 16654"/>
                <a:gd name="T2" fmla="*/ 264 w 12254"/>
                <a:gd name="T3" fmla="*/ 2410 h 16654"/>
                <a:gd name="T4" fmla="*/ 346 w 12254"/>
                <a:gd name="T5" fmla="*/ 3795 h 16654"/>
                <a:gd name="T6" fmla="*/ 555 w 12254"/>
                <a:gd name="T7" fmla="*/ 5173 h 16654"/>
                <a:gd name="T8" fmla="*/ 894 w 12254"/>
                <a:gd name="T9" fmla="*/ 6538 h 16654"/>
                <a:gd name="T10" fmla="*/ 1365 w 12254"/>
                <a:gd name="T11" fmla="*/ 7878 h 16654"/>
                <a:gd name="T12" fmla="*/ 1968 w 12254"/>
                <a:gd name="T13" fmla="*/ 9186 h 16654"/>
                <a:gd name="T14" fmla="*/ 2706 w 12254"/>
                <a:gd name="T15" fmla="*/ 10450 h 16654"/>
                <a:gd name="T16" fmla="*/ 3261 w 12254"/>
                <a:gd name="T17" fmla="*/ 11245 h 16654"/>
                <a:gd name="T18" fmla="*/ 3750 w 12254"/>
                <a:gd name="T19" fmla="*/ 11852 h 16654"/>
                <a:gd name="T20" fmla="*/ 4264 w 12254"/>
                <a:gd name="T21" fmla="*/ 12416 h 16654"/>
                <a:gd name="T22" fmla="*/ 4805 w 12254"/>
                <a:gd name="T23" fmla="*/ 12937 h 16654"/>
                <a:gd name="T24" fmla="*/ 5368 w 12254"/>
                <a:gd name="T25" fmla="*/ 13417 h 16654"/>
                <a:gd name="T26" fmla="*/ 5953 w 12254"/>
                <a:gd name="T27" fmla="*/ 13858 h 16654"/>
                <a:gd name="T28" fmla="*/ 6558 w 12254"/>
                <a:gd name="T29" fmla="*/ 14262 h 16654"/>
                <a:gd name="T30" fmla="*/ 7183 w 12254"/>
                <a:gd name="T31" fmla="*/ 14629 h 16654"/>
                <a:gd name="T32" fmla="*/ 7772 w 12254"/>
                <a:gd name="T33" fmla="*/ 14937 h 16654"/>
                <a:gd name="T34" fmla="*/ 8356 w 12254"/>
                <a:gd name="T35" fmla="*/ 15207 h 16654"/>
                <a:gd name="T36" fmla="*/ 8953 w 12254"/>
                <a:gd name="T37" fmla="*/ 15454 h 16654"/>
                <a:gd name="T38" fmla="*/ 9562 w 12254"/>
                <a:gd name="T39" fmla="*/ 15677 h 16654"/>
                <a:gd name="T40" fmla="*/ 10181 w 12254"/>
                <a:gd name="T41" fmla="*/ 15878 h 16654"/>
                <a:gd name="T42" fmla="*/ 10809 w 12254"/>
                <a:gd name="T43" fmla="*/ 16057 h 16654"/>
                <a:gd name="T44" fmla="*/ 11447 w 12254"/>
                <a:gd name="T45" fmla="*/ 16215 h 16654"/>
                <a:gd name="T46" fmla="*/ 12092 w 12254"/>
                <a:gd name="T47" fmla="*/ 16354 h 16654"/>
                <a:gd name="T48" fmla="*/ 11922 w 12254"/>
                <a:gd name="T49" fmla="*/ 16588 h 16654"/>
                <a:gd name="T50" fmla="*/ 11263 w 12254"/>
                <a:gd name="T51" fmla="*/ 16442 h 16654"/>
                <a:gd name="T52" fmla="*/ 10613 w 12254"/>
                <a:gd name="T53" fmla="*/ 16276 h 16654"/>
                <a:gd name="T54" fmla="*/ 9970 w 12254"/>
                <a:gd name="T55" fmla="*/ 16088 h 16654"/>
                <a:gd name="T56" fmla="*/ 9339 w 12254"/>
                <a:gd name="T57" fmla="*/ 15878 h 16654"/>
                <a:gd name="T58" fmla="*/ 8717 w 12254"/>
                <a:gd name="T59" fmla="*/ 15644 h 16654"/>
                <a:gd name="T60" fmla="*/ 8108 w 12254"/>
                <a:gd name="T61" fmla="*/ 15385 h 16654"/>
                <a:gd name="T62" fmla="*/ 7512 w 12254"/>
                <a:gd name="T63" fmla="*/ 15101 h 16654"/>
                <a:gd name="T64" fmla="*/ 6895 w 12254"/>
                <a:gd name="T65" fmla="*/ 14769 h 16654"/>
                <a:gd name="T66" fmla="*/ 6261 w 12254"/>
                <a:gd name="T67" fmla="*/ 14385 h 16654"/>
                <a:gd name="T68" fmla="*/ 5648 w 12254"/>
                <a:gd name="T69" fmla="*/ 13963 h 16654"/>
                <a:gd name="T70" fmla="*/ 5055 w 12254"/>
                <a:gd name="T71" fmla="*/ 13503 h 16654"/>
                <a:gd name="T72" fmla="*/ 4486 w 12254"/>
                <a:gd name="T73" fmla="*/ 13002 h 16654"/>
                <a:gd name="T74" fmla="*/ 3942 w 12254"/>
                <a:gd name="T75" fmla="*/ 12459 h 16654"/>
                <a:gd name="T76" fmla="*/ 3422 w 12254"/>
                <a:gd name="T77" fmla="*/ 11873 h 16654"/>
                <a:gd name="T78" fmla="*/ 2930 w 12254"/>
                <a:gd name="T79" fmla="*/ 11241 h 16654"/>
                <a:gd name="T80" fmla="*/ 2286 w 12254"/>
                <a:gd name="T81" fmla="*/ 10279 h 16654"/>
                <a:gd name="T82" fmla="*/ 1571 w 12254"/>
                <a:gd name="T83" fmla="*/ 8985 h 16654"/>
                <a:gd name="T84" fmla="*/ 992 w 12254"/>
                <a:gd name="T85" fmla="*/ 7650 h 16654"/>
                <a:gd name="T86" fmla="*/ 547 w 12254"/>
                <a:gd name="T87" fmla="*/ 6285 h 16654"/>
                <a:gd name="T88" fmla="*/ 235 w 12254"/>
                <a:gd name="T89" fmla="*/ 4897 h 16654"/>
                <a:gd name="T90" fmla="*/ 53 w 12254"/>
                <a:gd name="T91" fmla="*/ 3497 h 16654"/>
                <a:gd name="T92" fmla="*/ 0 w 12254"/>
                <a:gd name="T93" fmla="*/ 2093 h 16654"/>
                <a:gd name="T94" fmla="*/ 75 w 12254"/>
                <a:gd name="T95" fmla="*/ 694 h 16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254" h="16654">
                  <a:moveTo>
                    <a:pt x="426" y="0"/>
                  </a:moveTo>
                  <a:lnTo>
                    <a:pt x="380" y="341"/>
                  </a:lnTo>
                  <a:lnTo>
                    <a:pt x="341" y="685"/>
                  </a:lnTo>
                  <a:lnTo>
                    <a:pt x="310" y="1028"/>
                  </a:lnTo>
                  <a:lnTo>
                    <a:pt x="287" y="1373"/>
                  </a:lnTo>
                  <a:lnTo>
                    <a:pt x="272" y="1718"/>
                  </a:lnTo>
                  <a:lnTo>
                    <a:pt x="264" y="2064"/>
                  </a:lnTo>
                  <a:lnTo>
                    <a:pt x="264" y="2410"/>
                  </a:lnTo>
                  <a:lnTo>
                    <a:pt x="274" y="2756"/>
                  </a:lnTo>
                  <a:lnTo>
                    <a:pt x="289" y="3103"/>
                  </a:lnTo>
                  <a:lnTo>
                    <a:pt x="313" y="3448"/>
                  </a:lnTo>
                  <a:lnTo>
                    <a:pt x="346" y="3795"/>
                  </a:lnTo>
                  <a:lnTo>
                    <a:pt x="386" y="4141"/>
                  </a:lnTo>
                  <a:lnTo>
                    <a:pt x="434" y="4485"/>
                  </a:lnTo>
                  <a:lnTo>
                    <a:pt x="490" y="4830"/>
                  </a:lnTo>
                  <a:lnTo>
                    <a:pt x="555" y="5173"/>
                  </a:lnTo>
                  <a:lnTo>
                    <a:pt x="628" y="5517"/>
                  </a:lnTo>
                  <a:lnTo>
                    <a:pt x="708" y="5858"/>
                  </a:lnTo>
                  <a:lnTo>
                    <a:pt x="797" y="6198"/>
                  </a:lnTo>
                  <a:lnTo>
                    <a:pt x="894" y="6538"/>
                  </a:lnTo>
                  <a:lnTo>
                    <a:pt x="999" y="6875"/>
                  </a:lnTo>
                  <a:lnTo>
                    <a:pt x="1113" y="7211"/>
                  </a:lnTo>
                  <a:lnTo>
                    <a:pt x="1234" y="7545"/>
                  </a:lnTo>
                  <a:lnTo>
                    <a:pt x="1365" y="7878"/>
                  </a:lnTo>
                  <a:lnTo>
                    <a:pt x="1503" y="8208"/>
                  </a:lnTo>
                  <a:lnTo>
                    <a:pt x="1650" y="8536"/>
                  </a:lnTo>
                  <a:lnTo>
                    <a:pt x="1805" y="8862"/>
                  </a:lnTo>
                  <a:lnTo>
                    <a:pt x="1968" y="9186"/>
                  </a:lnTo>
                  <a:lnTo>
                    <a:pt x="2140" y="9506"/>
                  </a:lnTo>
                  <a:lnTo>
                    <a:pt x="2320" y="9824"/>
                  </a:lnTo>
                  <a:lnTo>
                    <a:pt x="2508" y="10138"/>
                  </a:lnTo>
                  <a:lnTo>
                    <a:pt x="2706" y="10450"/>
                  </a:lnTo>
                  <a:lnTo>
                    <a:pt x="2912" y="10760"/>
                  </a:lnTo>
                  <a:lnTo>
                    <a:pt x="3027" y="10924"/>
                  </a:lnTo>
                  <a:lnTo>
                    <a:pt x="3142" y="11085"/>
                  </a:lnTo>
                  <a:lnTo>
                    <a:pt x="3261" y="11245"/>
                  </a:lnTo>
                  <a:lnTo>
                    <a:pt x="3381" y="11401"/>
                  </a:lnTo>
                  <a:lnTo>
                    <a:pt x="3502" y="11554"/>
                  </a:lnTo>
                  <a:lnTo>
                    <a:pt x="3625" y="11705"/>
                  </a:lnTo>
                  <a:lnTo>
                    <a:pt x="3750" y="11852"/>
                  </a:lnTo>
                  <a:lnTo>
                    <a:pt x="3876" y="11997"/>
                  </a:lnTo>
                  <a:lnTo>
                    <a:pt x="4004" y="12139"/>
                  </a:lnTo>
                  <a:lnTo>
                    <a:pt x="4133" y="12279"/>
                  </a:lnTo>
                  <a:lnTo>
                    <a:pt x="4264" y="12416"/>
                  </a:lnTo>
                  <a:lnTo>
                    <a:pt x="4398" y="12550"/>
                  </a:lnTo>
                  <a:lnTo>
                    <a:pt x="4532" y="12681"/>
                  </a:lnTo>
                  <a:lnTo>
                    <a:pt x="4667" y="12810"/>
                  </a:lnTo>
                  <a:lnTo>
                    <a:pt x="4805" y="12937"/>
                  </a:lnTo>
                  <a:lnTo>
                    <a:pt x="4943" y="13061"/>
                  </a:lnTo>
                  <a:lnTo>
                    <a:pt x="5084" y="13182"/>
                  </a:lnTo>
                  <a:lnTo>
                    <a:pt x="5225" y="13300"/>
                  </a:lnTo>
                  <a:lnTo>
                    <a:pt x="5368" y="13417"/>
                  </a:lnTo>
                  <a:lnTo>
                    <a:pt x="5511" y="13530"/>
                  </a:lnTo>
                  <a:lnTo>
                    <a:pt x="5657" y="13643"/>
                  </a:lnTo>
                  <a:lnTo>
                    <a:pt x="5804" y="13751"/>
                  </a:lnTo>
                  <a:lnTo>
                    <a:pt x="5953" y="13858"/>
                  </a:lnTo>
                  <a:lnTo>
                    <a:pt x="6103" y="13962"/>
                  </a:lnTo>
                  <a:lnTo>
                    <a:pt x="6252" y="14064"/>
                  </a:lnTo>
                  <a:lnTo>
                    <a:pt x="6404" y="14164"/>
                  </a:lnTo>
                  <a:lnTo>
                    <a:pt x="6558" y="14262"/>
                  </a:lnTo>
                  <a:lnTo>
                    <a:pt x="6712" y="14357"/>
                  </a:lnTo>
                  <a:lnTo>
                    <a:pt x="6869" y="14449"/>
                  </a:lnTo>
                  <a:lnTo>
                    <a:pt x="7025" y="14541"/>
                  </a:lnTo>
                  <a:lnTo>
                    <a:pt x="7183" y="14629"/>
                  </a:lnTo>
                  <a:lnTo>
                    <a:pt x="7342" y="14716"/>
                  </a:lnTo>
                  <a:lnTo>
                    <a:pt x="7485" y="14791"/>
                  </a:lnTo>
                  <a:lnTo>
                    <a:pt x="7627" y="14865"/>
                  </a:lnTo>
                  <a:lnTo>
                    <a:pt x="7772" y="14937"/>
                  </a:lnTo>
                  <a:lnTo>
                    <a:pt x="7917" y="15006"/>
                  </a:lnTo>
                  <a:lnTo>
                    <a:pt x="8062" y="15075"/>
                  </a:lnTo>
                  <a:lnTo>
                    <a:pt x="8209" y="15143"/>
                  </a:lnTo>
                  <a:lnTo>
                    <a:pt x="8356" y="15207"/>
                  </a:lnTo>
                  <a:lnTo>
                    <a:pt x="8505" y="15272"/>
                  </a:lnTo>
                  <a:lnTo>
                    <a:pt x="8654" y="15334"/>
                  </a:lnTo>
                  <a:lnTo>
                    <a:pt x="8804" y="15395"/>
                  </a:lnTo>
                  <a:lnTo>
                    <a:pt x="8953" y="15454"/>
                  </a:lnTo>
                  <a:lnTo>
                    <a:pt x="9104" y="15512"/>
                  </a:lnTo>
                  <a:lnTo>
                    <a:pt x="9256" y="15568"/>
                  </a:lnTo>
                  <a:lnTo>
                    <a:pt x="9409" y="15624"/>
                  </a:lnTo>
                  <a:lnTo>
                    <a:pt x="9562" y="15677"/>
                  </a:lnTo>
                  <a:lnTo>
                    <a:pt x="9715" y="15729"/>
                  </a:lnTo>
                  <a:lnTo>
                    <a:pt x="9870" y="15780"/>
                  </a:lnTo>
                  <a:lnTo>
                    <a:pt x="10026" y="15830"/>
                  </a:lnTo>
                  <a:lnTo>
                    <a:pt x="10181" y="15878"/>
                  </a:lnTo>
                  <a:lnTo>
                    <a:pt x="10338" y="15924"/>
                  </a:lnTo>
                  <a:lnTo>
                    <a:pt x="10494" y="15969"/>
                  </a:lnTo>
                  <a:lnTo>
                    <a:pt x="10652" y="16013"/>
                  </a:lnTo>
                  <a:lnTo>
                    <a:pt x="10809" y="16057"/>
                  </a:lnTo>
                  <a:lnTo>
                    <a:pt x="10969" y="16097"/>
                  </a:lnTo>
                  <a:lnTo>
                    <a:pt x="11127" y="16138"/>
                  </a:lnTo>
                  <a:lnTo>
                    <a:pt x="11287" y="16177"/>
                  </a:lnTo>
                  <a:lnTo>
                    <a:pt x="11447" y="16215"/>
                  </a:lnTo>
                  <a:lnTo>
                    <a:pt x="11608" y="16251"/>
                  </a:lnTo>
                  <a:lnTo>
                    <a:pt x="11768" y="16287"/>
                  </a:lnTo>
                  <a:lnTo>
                    <a:pt x="11930" y="16321"/>
                  </a:lnTo>
                  <a:lnTo>
                    <a:pt x="12092" y="16354"/>
                  </a:lnTo>
                  <a:lnTo>
                    <a:pt x="12254" y="16385"/>
                  </a:lnTo>
                  <a:lnTo>
                    <a:pt x="12254" y="16654"/>
                  </a:lnTo>
                  <a:lnTo>
                    <a:pt x="12087" y="16622"/>
                  </a:lnTo>
                  <a:lnTo>
                    <a:pt x="11922" y="16588"/>
                  </a:lnTo>
                  <a:lnTo>
                    <a:pt x="11756" y="16553"/>
                  </a:lnTo>
                  <a:lnTo>
                    <a:pt x="11592" y="16518"/>
                  </a:lnTo>
                  <a:lnTo>
                    <a:pt x="11428" y="16480"/>
                  </a:lnTo>
                  <a:lnTo>
                    <a:pt x="11263" y="16442"/>
                  </a:lnTo>
                  <a:lnTo>
                    <a:pt x="11100" y="16402"/>
                  </a:lnTo>
                  <a:lnTo>
                    <a:pt x="10937" y="16362"/>
                  </a:lnTo>
                  <a:lnTo>
                    <a:pt x="10775" y="16319"/>
                  </a:lnTo>
                  <a:lnTo>
                    <a:pt x="10613" y="16276"/>
                  </a:lnTo>
                  <a:lnTo>
                    <a:pt x="10451" y="16230"/>
                  </a:lnTo>
                  <a:lnTo>
                    <a:pt x="10291" y="16185"/>
                  </a:lnTo>
                  <a:lnTo>
                    <a:pt x="10131" y="16137"/>
                  </a:lnTo>
                  <a:lnTo>
                    <a:pt x="9970" y="16088"/>
                  </a:lnTo>
                  <a:lnTo>
                    <a:pt x="9812" y="16038"/>
                  </a:lnTo>
                  <a:lnTo>
                    <a:pt x="9653" y="15986"/>
                  </a:lnTo>
                  <a:lnTo>
                    <a:pt x="9496" y="15933"/>
                  </a:lnTo>
                  <a:lnTo>
                    <a:pt x="9339" y="15878"/>
                  </a:lnTo>
                  <a:lnTo>
                    <a:pt x="9182" y="15821"/>
                  </a:lnTo>
                  <a:lnTo>
                    <a:pt x="9026" y="15764"/>
                  </a:lnTo>
                  <a:lnTo>
                    <a:pt x="8871" y="15705"/>
                  </a:lnTo>
                  <a:lnTo>
                    <a:pt x="8717" y="15644"/>
                  </a:lnTo>
                  <a:lnTo>
                    <a:pt x="8564" y="15582"/>
                  </a:lnTo>
                  <a:lnTo>
                    <a:pt x="8411" y="15517"/>
                  </a:lnTo>
                  <a:lnTo>
                    <a:pt x="8259" y="15453"/>
                  </a:lnTo>
                  <a:lnTo>
                    <a:pt x="8108" y="15385"/>
                  </a:lnTo>
                  <a:lnTo>
                    <a:pt x="7957" y="15316"/>
                  </a:lnTo>
                  <a:lnTo>
                    <a:pt x="7809" y="15247"/>
                  </a:lnTo>
                  <a:lnTo>
                    <a:pt x="7660" y="15174"/>
                  </a:lnTo>
                  <a:lnTo>
                    <a:pt x="7512" y="15101"/>
                  </a:lnTo>
                  <a:lnTo>
                    <a:pt x="7364" y="15025"/>
                  </a:lnTo>
                  <a:lnTo>
                    <a:pt x="7218" y="14948"/>
                  </a:lnTo>
                  <a:lnTo>
                    <a:pt x="7056" y="14860"/>
                  </a:lnTo>
                  <a:lnTo>
                    <a:pt x="6895" y="14769"/>
                  </a:lnTo>
                  <a:lnTo>
                    <a:pt x="6734" y="14676"/>
                  </a:lnTo>
                  <a:lnTo>
                    <a:pt x="6575" y="14582"/>
                  </a:lnTo>
                  <a:lnTo>
                    <a:pt x="6418" y="14484"/>
                  </a:lnTo>
                  <a:lnTo>
                    <a:pt x="6261" y="14385"/>
                  </a:lnTo>
                  <a:lnTo>
                    <a:pt x="6106" y="14283"/>
                  </a:lnTo>
                  <a:lnTo>
                    <a:pt x="5952" y="14179"/>
                  </a:lnTo>
                  <a:lnTo>
                    <a:pt x="5799" y="14073"/>
                  </a:lnTo>
                  <a:lnTo>
                    <a:pt x="5648" y="13963"/>
                  </a:lnTo>
                  <a:lnTo>
                    <a:pt x="5498" y="13852"/>
                  </a:lnTo>
                  <a:lnTo>
                    <a:pt x="5349" y="13737"/>
                  </a:lnTo>
                  <a:lnTo>
                    <a:pt x="5201" y="13622"/>
                  </a:lnTo>
                  <a:lnTo>
                    <a:pt x="5055" y="13503"/>
                  </a:lnTo>
                  <a:lnTo>
                    <a:pt x="4911" y="13381"/>
                  </a:lnTo>
                  <a:lnTo>
                    <a:pt x="4768" y="13258"/>
                  </a:lnTo>
                  <a:lnTo>
                    <a:pt x="4627" y="13131"/>
                  </a:lnTo>
                  <a:lnTo>
                    <a:pt x="4486" y="13002"/>
                  </a:lnTo>
                  <a:lnTo>
                    <a:pt x="4348" y="12870"/>
                  </a:lnTo>
                  <a:lnTo>
                    <a:pt x="4211" y="12736"/>
                  </a:lnTo>
                  <a:lnTo>
                    <a:pt x="4076" y="12599"/>
                  </a:lnTo>
                  <a:lnTo>
                    <a:pt x="3942" y="12459"/>
                  </a:lnTo>
                  <a:lnTo>
                    <a:pt x="3810" y="12317"/>
                  </a:lnTo>
                  <a:lnTo>
                    <a:pt x="3678" y="12172"/>
                  </a:lnTo>
                  <a:lnTo>
                    <a:pt x="3549" y="12024"/>
                  </a:lnTo>
                  <a:lnTo>
                    <a:pt x="3422" y="11873"/>
                  </a:lnTo>
                  <a:lnTo>
                    <a:pt x="3296" y="11719"/>
                  </a:lnTo>
                  <a:lnTo>
                    <a:pt x="3173" y="11563"/>
                  </a:lnTo>
                  <a:lnTo>
                    <a:pt x="3051" y="11404"/>
                  </a:lnTo>
                  <a:lnTo>
                    <a:pt x="2930" y="11241"/>
                  </a:lnTo>
                  <a:lnTo>
                    <a:pt x="2811" y="11076"/>
                  </a:lnTo>
                  <a:lnTo>
                    <a:pt x="2694" y="10908"/>
                  </a:lnTo>
                  <a:lnTo>
                    <a:pt x="2486" y="10595"/>
                  </a:lnTo>
                  <a:lnTo>
                    <a:pt x="2286" y="10279"/>
                  </a:lnTo>
                  <a:lnTo>
                    <a:pt x="2094" y="9959"/>
                  </a:lnTo>
                  <a:lnTo>
                    <a:pt x="1911" y="9637"/>
                  </a:lnTo>
                  <a:lnTo>
                    <a:pt x="1736" y="9313"/>
                  </a:lnTo>
                  <a:lnTo>
                    <a:pt x="1571" y="8985"/>
                  </a:lnTo>
                  <a:lnTo>
                    <a:pt x="1413" y="8655"/>
                  </a:lnTo>
                  <a:lnTo>
                    <a:pt x="1265" y="8322"/>
                  </a:lnTo>
                  <a:lnTo>
                    <a:pt x="1124" y="7987"/>
                  </a:lnTo>
                  <a:lnTo>
                    <a:pt x="992" y="7650"/>
                  </a:lnTo>
                  <a:lnTo>
                    <a:pt x="868" y="7311"/>
                  </a:lnTo>
                  <a:lnTo>
                    <a:pt x="753" y="6971"/>
                  </a:lnTo>
                  <a:lnTo>
                    <a:pt x="646" y="6628"/>
                  </a:lnTo>
                  <a:lnTo>
                    <a:pt x="547" y="6285"/>
                  </a:lnTo>
                  <a:lnTo>
                    <a:pt x="457" y="5939"/>
                  </a:lnTo>
                  <a:lnTo>
                    <a:pt x="375" y="5594"/>
                  </a:lnTo>
                  <a:lnTo>
                    <a:pt x="301" y="5246"/>
                  </a:lnTo>
                  <a:lnTo>
                    <a:pt x="235" y="4897"/>
                  </a:lnTo>
                  <a:lnTo>
                    <a:pt x="177" y="4549"/>
                  </a:lnTo>
                  <a:lnTo>
                    <a:pt x="128" y="4198"/>
                  </a:lnTo>
                  <a:lnTo>
                    <a:pt x="86" y="3848"/>
                  </a:lnTo>
                  <a:lnTo>
                    <a:pt x="53" y="3497"/>
                  </a:lnTo>
                  <a:lnTo>
                    <a:pt x="28" y="3147"/>
                  </a:lnTo>
                  <a:lnTo>
                    <a:pt x="10" y="2795"/>
                  </a:lnTo>
                  <a:lnTo>
                    <a:pt x="2" y="2444"/>
                  </a:lnTo>
                  <a:lnTo>
                    <a:pt x="0" y="2093"/>
                  </a:lnTo>
                  <a:lnTo>
                    <a:pt x="7" y="1742"/>
                  </a:lnTo>
                  <a:lnTo>
                    <a:pt x="22" y="1393"/>
                  </a:lnTo>
                  <a:lnTo>
                    <a:pt x="45" y="1043"/>
                  </a:lnTo>
                  <a:lnTo>
                    <a:pt x="75" y="694"/>
                  </a:lnTo>
                  <a:lnTo>
                    <a:pt x="113" y="347"/>
                  </a:lnTo>
                  <a:lnTo>
                    <a:pt x="159" y="0"/>
                  </a:lnTo>
                  <a:lnTo>
                    <a:pt x="42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8322793" y="-7938"/>
              <a:ext cx="822325" cy="1190625"/>
            </a:xfrm>
            <a:custGeom>
              <a:avLst/>
              <a:gdLst>
                <a:gd name="T0" fmla="*/ 3685 w 11391"/>
                <a:gd name="T1" fmla="*/ 3895 h 16498"/>
                <a:gd name="T2" fmla="*/ 3829 w 11391"/>
                <a:gd name="T3" fmla="*/ 4095 h 16498"/>
                <a:gd name="T4" fmla="*/ 3979 w 11391"/>
                <a:gd name="T5" fmla="*/ 4290 h 16498"/>
                <a:gd name="T6" fmla="*/ 4132 w 11391"/>
                <a:gd name="T7" fmla="*/ 4482 h 16498"/>
                <a:gd name="T8" fmla="*/ 4114 w 11391"/>
                <a:gd name="T9" fmla="*/ 5234 h 16498"/>
                <a:gd name="T10" fmla="*/ 4103 w 11391"/>
                <a:gd name="T11" fmla="*/ 6215 h 16498"/>
                <a:gd name="T12" fmla="*/ 4165 w 11391"/>
                <a:gd name="T13" fmla="*/ 7226 h 16498"/>
                <a:gd name="T14" fmla="*/ 4308 w 11391"/>
                <a:gd name="T15" fmla="*/ 8249 h 16498"/>
                <a:gd name="T16" fmla="*/ 4532 w 11391"/>
                <a:gd name="T17" fmla="*/ 9265 h 16498"/>
                <a:gd name="T18" fmla="*/ 4842 w 11391"/>
                <a:gd name="T19" fmla="*/ 10254 h 16498"/>
                <a:gd name="T20" fmla="*/ 5241 w 11391"/>
                <a:gd name="T21" fmla="*/ 11199 h 16498"/>
                <a:gd name="T22" fmla="*/ 5732 w 11391"/>
                <a:gd name="T23" fmla="*/ 12080 h 16498"/>
                <a:gd name="T24" fmla="*/ 6269 w 11391"/>
                <a:gd name="T25" fmla="*/ 12833 h 16498"/>
                <a:gd name="T26" fmla="*/ 6851 w 11391"/>
                <a:gd name="T27" fmla="*/ 13511 h 16498"/>
                <a:gd name="T28" fmla="*/ 7484 w 11391"/>
                <a:gd name="T29" fmla="*/ 14132 h 16498"/>
                <a:gd name="T30" fmla="*/ 8162 w 11391"/>
                <a:gd name="T31" fmla="*/ 14696 h 16498"/>
                <a:gd name="T32" fmla="*/ 8877 w 11391"/>
                <a:gd name="T33" fmla="*/ 15201 h 16498"/>
                <a:gd name="T34" fmla="*/ 9626 w 11391"/>
                <a:gd name="T35" fmla="*/ 15645 h 16498"/>
                <a:gd name="T36" fmla="*/ 10398 w 11391"/>
                <a:gd name="T37" fmla="*/ 16027 h 16498"/>
                <a:gd name="T38" fmla="*/ 11191 w 11391"/>
                <a:gd name="T39" fmla="*/ 16346 h 16498"/>
                <a:gd name="T40" fmla="*/ 11137 w 11391"/>
                <a:gd name="T41" fmla="*/ 16435 h 16498"/>
                <a:gd name="T42" fmla="*/ 10629 w 11391"/>
                <a:gd name="T43" fmla="*/ 16296 h 16498"/>
                <a:gd name="T44" fmla="*/ 10121 w 11391"/>
                <a:gd name="T45" fmla="*/ 16138 h 16498"/>
                <a:gd name="T46" fmla="*/ 9617 w 11391"/>
                <a:gd name="T47" fmla="*/ 15962 h 16498"/>
                <a:gd name="T48" fmla="*/ 9120 w 11391"/>
                <a:gd name="T49" fmla="*/ 15769 h 16498"/>
                <a:gd name="T50" fmla="*/ 8630 w 11391"/>
                <a:gd name="T51" fmla="*/ 15561 h 16498"/>
                <a:gd name="T52" fmla="*/ 8151 w 11391"/>
                <a:gd name="T53" fmla="*/ 15337 h 16498"/>
                <a:gd name="T54" fmla="*/ 7686 w 11391"/>
                <a:gd name="T55" fmla="*/ 15099 h 16498"/>
                <a:gd name="T56" fmla="*/ 7104 w 11391"/>
                <a:gd name="T57" fmla="*/ 14769 h 16498"/>
                <a:gd name="T58" fmla="*/ 6412 w 11391"/>
                <a:gd name="T59" fmla="*/ 14329 h 16498"/>
                <a:gd name="T60" fmla="*/ 5742 w 11391"/>
                <a:gd name="T61" fmla="*/ 13847 h 16498"/>
                <a:gd name="T62" fmla="*/ 5098 w 11391"/>
                <a:gd name="T63" fmla="*/ 13324 h 16498"/>
                <a:gd name="T64" fmla="*/ 4480 w 11391"/>
                <a:gd name="T65" fmla="*/ 12761 h 16498"/>
                <a:gd name="T66" fmla="*/ 3890 w 11391"/>
                <a:gd name="T67" fmla="*/ 12158 h 16498"/>
                <a:gd name="T68" fmla="*/ 3331 w 11391"/>
                <a:gd name="T69" fmla="*/ 11516 h 16498"/>
                <a:gd name="T70" fmla="*/ 2804 w 11391"/>
                <a:gd name="T71" fmla="*/ 10836 h 16498"/>
                <a:gd name="T72" fmla="*/ 2161 w 11391"/>
                <a:gd name="T73" fmla="*/ 9876 h 16498"/>
                <a:gd name="T74" fmla="*/ 1476 w 11391"/>
                <a:gd name="T75" fmla="*/ 8632 h 16498"/>
                <a:gd name="T76" fmla="*/ 923 w 11391"/>
                <a:gd name="T77" fmla="*/ 7350 h 16498"/>
                <a:gd name="T78" fmla="*/ 502 w 11391"/>
                <a:gd name="T79" fmla="*/ 6037 h 16498"/>
                <a:gd name="T80" fmla="*/ 208 w 11391"/>
                <a:gd name="T81" fmla="*/ 4703 h 16498"/>
                <a:gd name="T82" fmla="*/ 42 w 11391"/>
                <a:gd name="T83" fmla="*/ 3358 h 16498"/>
                <a:gd name="T84" fmla="*/ 1 w 11391"/>
                <a:gd name="T85" fmla="*/ 2009 h 16498"/>
                <a:gd name="T86" fmla="*/ 84 w 11391"/>
                <a:gd name="T87" fmla="*/ 666 h 16498"/>
                <a:gd name="T88" fmla="*/ 1986 w 11391"/>
                <a:gd name="T89" fmla="*/ 119 h 16498"/>
                <a:gd name="T90" fmla="*/ 2107 w 11391"/>
                <a:gd name="T91" fmla="*/ 593 h 16498"/>
                <a:gd name="T92" fmla="*/ 2250 w 11391"/>
                <a:gd name="T93" fmla="*/ 1063 h 16498"/>
                <a:gd name="T94" fmla="*/ 2416 w 11391"/>
                <a:gd name="T95" fmla="*/ 1528 h 16498"/>
                <a:gd name="T96" fmla="*/ 2605 w 11391"/>
                <a:gd name="T97" fmla="*/ 1988 h 16498"/>
                <a:gd name="T98" fmla="*/ 2816 w 11391"/>
                <a:gd name="T99" fmla="*/ 2443 h 16498"/>
                <a:gd name="T100" fmla="*/ 3051 w 11391"/>
                <a:gd name="T101" fmla="*/ 2889 h 16498"/>
                <a:gd name="T102" fmla="*/ 3309 w 11391"/>
                <a:gd name="T103" fmla="*/ 3329 h 16498"/>
                <a:gd name="T104" fmla="*/ 3533 w 11391"/>
                <a:gd name="T105" fmla="*/ 3675 h 16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391" h="16498">
                  <a:moveTo>
                    <a:pt x="3577" y="3742"/>
                  </a:moveTo>
                  <a:lnTo>
                    <a:pt x="3613" y="3793"/>
                  </a:lnTo>
                  <a:lnTo>
                    <a:pt x="3648" y="3844"/>
                  </a:lnTo>
                  <a:lnTo>
                    <a:pt x="3685" y="3895"/>
                  </a:lnTo>
                  <a:lnTo>
                    <a:pt x="3720" y="3945"/>
                  </a:lnTo>
                  <a:lnTo>
                    <a:pt x="3756" y="3995"/>
                  </a:lnTo>
                  <a:lnTo>
                    <a:pt x="3793" y="4045"/>
                  </a:lnTo>
                  <a:lnTo>
                    <a:pt x="3829" y="4095"/>
                  </a:lnTo>
                  <a:lnTo>
                    <a:pt x="3867" y="4144"/>
                  </a:lnTo>
                  <a:lnTo>
                    <a:pt x="3904" y="4193"/>
                  </a:lnTo>
                  <a:lnTo>
                    <a:pt x="3942" y="4242"/>
                  </a:lnTo>
                  <a:lnTo>
                    <a:pt x="3979" y="4290"/>
                  </a:lnTo>
                  <a:lnTo>
                    <a:pt x="4017" y="4338"/>
                  </a:lnTo>
                  <a:lnTo>
                    <a:pt x="4055" y="4386"/>
                  </a:lnTo>
                  <a:lnTo>
                    <a:pt x="4094" y="4434"/>
                  </a:lnTo>
                  <a:lnTo>
                    <a:pt x="4132" y="4482"/>
                  </a:lnTo>
                  <a:lnTo>
                    <a:pt x="4171" y="4529"/>
                  </a:lnTo>
                  <a:lnTo>
                    <a:pt x="4148" y="4760"/>
                  </a:lnTo>
                  <a:lnTo>
                    <a:pt x="4129" y="4995"/>
                  </a:lnTo>
                  <a:lnTo>
                    <a:pt x="4114" y="5234"/>
                  </a:lnTo>
                  <a:lnTo>
                    <a:pt x="4105" y="5475"/>
                  </a:lnTo>
                  <a:lnTo>
                    <a:pt x="4100" y="5720"/>
                  </a:lnTo>
                  <a:lnTo>
                    <a:pt x="4099" y="5966"/>
                  </a:lnTo>
                  <a:lnTo>
                    <a:pt x="4103" y="6215"/>
                  </a:lnTo>
                  <a:lnTo>
                    <a:pt x="4111" y="6466"/>
                  </a:lnTo>
                  <a:lnTo>
                    <a:pt x="4125" y="6718"/>
                  </a:lnTo>
                  <a:lnTo>
                    <a:pt x="4142" y="6972"/>
                  </a:lnTo>
                  <a:lnTo>
                    <a:pt x="4165" y="7226"/>
                  </a:lnTo>
                  <a:lnTo>
                    <a:pt x="4193" y="7482"/>
                  </a:lnTo>
                  <a:lnTo>
                    <a:pt x="4227" y="7737"/>
                  </a:lnTo>
                  <a:lnTo>
                    <a:pt x="4264" y="7993"/>
                  </a:lnTo>
                  <a:lnTo>
                    <a:pt x="4308" y="8249"/>
                  </a:lnTo>
                  <a:lnTo>
                    <a:pt x="4356" y="8504"/>
                  </a:lnTo>
                  <a:lnTo>
                    <a:pt x="4409" y="8759"/>
                  </a:lnTo>
                  <a:lnTo>
                    <a:pt x="4468" y="9012"/>
                  </a:lnTo>
                  <a:lnTo>
                    <a:pt x="4532" y="9265"/>
                  </a:lnTo>
                  <a:lnTo>
                    <a:pt x="4601" y="9515"/>
                  </a:lnTo>
                  <a:lnTo>
                    <a:pt x="4675" y="9763"/>
                  </a:lnTo>
                  <a:lnTo>
                    <a:pt x="4756" y="10010"/>
                  </a:lnTo>
                  <a:lnTo>
                    <a:pt x="4842" y="10254"/>
                  </a:lnTo>
                  <a:lnTo>
                    <a:pt x="4932" y="10495"/>
                  </a:lnTo>
                  <a:lnTo>
                    <a:pt x="5029" y="10734"/>
                  </a:lnTo>
                  <a:lnTo>
                    <a:pt x="5132" y="10968"/>
                  </a:lnTo>
                  <a:lnTo>
                    <a:pt x="5241" y="11199"/>
                  </a:lnTo>
                  <a:lnTo>
                    <a:pt x="5354" y="11426"/>
                  </a:lnTo>
                  <a:lnTo>
                    <a:pt x="5474" y="11648"/>
                  </a:lnTo>
                  <a:lnTo>
                    <a:pt x="5600" y="11867"/>
                  </a:lnTo>
                  <a:lnTo>
                    <a:pt x="5732" y="12080"/>
                  </a:lnTo>
                  <a:lnTo>
                    <a:pt x="5869" y="12289"/>
                  </a:lnTo>
                  <a:lnTo>
                    <a:pt x="5998" y="12474"/>
                  </a:lnTo>
                  <a:lnTo>
                    <a:pt x="6132" y="12655"/>
                  </a:lnTo>
                  <a:lnTo>
                    <a:pt x="6269" y="12833"/>
                  </a:lnTo>
                  <a:lnTo>
                    <a:pt x="6409" y="13008"/>
                  </a:lnTo>
                  <a:lnTo>
                    <a:pt x="6553" y="13179"/>
                  </a:lnTo>
                  <a:lnTo>
                    <a:pt x="6700" y="13346"/>
                  </a:lnTo>
                  <a:lnTo>
                    <a:pt x="6851" y="13511"/>
                  </a:lnTo>
                  <a:lnTo>
                    <a:pt x="7005" y="13671"/>
                  </a:lnTo>
                  <a:lnTo>
                    <a:pt x="7162" y="13828"/>
                  </a:lnTo>
                  <a:lnTo>
                    <a:pt x="7321" y="13982"/>
                  </a:lnTo>
                  <a:lnTo>
                    <a:pt x="7484" y="14132"/>
                  </a:lnTo>
                  <a:lnTo>
                    <a:pt x="7649" y="14279"/>
                  </a:lnTo>
                  <a:lnTo>
                    <a:pt x="7818" y="14421"/>
                  </a:lnTo>
                  <a:lnTo>
                    <a:pt x="7988" y="14561"/>
                  </a:lnTo>
                  <a:lnTo>
                    <a:pt x="8162" y="14696"/>
                  </a:lnTo>
                  <a:lnTo>
                    <a:pt x="8337" y="14828"/>
                  </a:lnTo>
                  <a:lnTo>
                    <a:pt x="8515" y="14956"/>
                  </a:lnTo>
                  <a:lnTo>
                    <a:pt x="8695" y="15080"/>
                  </a:lnTo>
                  <a:lnTo>
                    <a:pt x="8877" y="15201"/>
                  </a:lnTo>
                  <a:lnTo>
                    <a:pt x="9062" y="15319"/>
                  </a:lnTo>
                  <a:lnTo>
                    <a:pt x="9248" y="15431"/>
                  </a:lnTo>
                  <a:lnTo>
                    <a:pt x="9436" y="15540"/>
                  </a:lnTo>
                  <a:lnTo>
                    <a:pt x="9626" y="15645"/>
                  </a:lnTo>
                  <a:lnTo>
                    <a:pt x="9816" y="15747"/>
                  </a:lnTo>
                  <a:lnTo>
                    <a:pt x="10009" y="15844"/>
                  </a:lnTo>
                  <a:lnTo>
                    <a:pt x="10203" y="15938"/>
                  </a:lnTo>
                  <a:lnTo>
                    <a:pt x="10398" y="16027"/>
                  </a:lnTo>
                  <a:lnTo>
                    <a:pt x="10595" y="16114"/>
                  </a:lnTo>
                  <a:lnTo>
                    <a:pt x="10793" y="16195"/>
                  </a:lnTo>
                  <a:lnTo>
                    <a:pt x="10991" y="16273"/>
                  </a:lnTo>
                  <a:lnTo>
                    <a:pt x="11191" y="16346"/>
                  </a:lnTo>
                  <a:lnTo>
                    <a:pt x="11391" y="16416"/>
                  </a:lnTo>
                  <a:lnTo>
                    <a:pt x="11391" y="16498"/>
                  </a:lnTo>
                  <a:lnTo>
                    <a:pt x="11264" y="16467"/>
                  </a:lnTo>
                  <a:lnTo>
                    <a:pt x="11137" y="16435"/>
                  </a:lnTo>
                  <a:lnTo>
                    <a:pt x="11010" y="16402"/>
                  </a:lnTo>
                  <a:lnTo>
                    <a:pt x="10883" y="16368"/>
                  </a:lnTo>
                  <a:lnTo>
                    <a:pt x="10756" y="16332"/>
                  </a:lnTo>
                  <a:lnTo>
                    <a:pt x="10629" y="16296"/>
                  </a:lnTo>
                  <a:lnTo>
                    <a:pt x="10502" y="16257"/>
                  </a:lnTo>
                  <a:lnTo>
                    <a:pt x="10375" y="16219"/>
                  </a:lnTo>
                  <a:lnTo>
                    <a:pt x="10248" y="16179"/>
                  </a:lnTo>
                  <a:lnTo>
                    <a:pt x="10121" y="16138"/>
                  </a:lnTo>
                  <a:lnTo>
                    <a:pt x="9995" y="16095"/>
                  </a:lnTo>
                  <a:lnTo>
                    <a:pt x="9869" y="16052"/>
                  </a:lnTo>
                  <a:lnTo>
                    <a:pt x="9743" y="16008"/>
                  </a:lnTo>
                  <a:lnTo>
                    <a:pt x="9617" y="15962"/>
                  </a:lnTo>
                  <a:lnTo>
                    <a:pt x="9492" y="15916"/>
                  </a:lnTo>
                  <a:lnTo>
                    <a:pt x="9368" y="15868"/>
                  </a:lnTo>
                  <a:lnTo>
                    <a:pt x="9244" y="15819"/>
                  </a:lnTo>
                  <a:lnTo>
                    <a:pt x="9120" y="15769"/>
                  </a:lnTo>
                  <a:lnTo>
                    <a:pt x="8996" y="15719"/>
                  </a:lnTo>
                  <a:lnTo>
                    <a:pt x="8873" y="15667"/>
                  </a:lnTo>
                  <a:lnTo>
                    <a:pt x="8751" y="15615"/>
                  </a:lnTo>
                  <a:lnTo>
                    <a:pt x="8630" y="15561"/>
                  </a:lnTo>
                  <a:lnTo>
                    <a:pt x="8509" y="15507"/>
                  </a:lnTo>
                  <a:lnTo>
                    <a:pt x="8389" y="15451"/>
                  </a:lnTo>
                  <a:lnTo>
                    <a:pt x="8269" y="15395"/>
                  </a:lnTo>
                  <a:lnTo>
                    <a:pt x="8151" y="15337"/>
                  </a:lnTo>
                  <a:lnTo>
                    <a:pt x="8033" y="15279"/>
                  </a:lnTo>
                  <a:lnTo>
                    <a:pt x="7917" y="15220"/>
                  </a:lnTo>
                  <a:lnTo>
                    <a:pt x="7800" y="15159"/>
                  </a:lnTo>
                  <a:lnTo>
                    <a:pt x="7686" y="15099"/>
                  </a:lnTo>
                  <a:lnTo>
                    <a:pt x="7571" y="15038"/>
                  </a:lnTo>
                  <a:lnTo>
                    <a:pt x="7458" y="14974"/>
                  </a:lnTo>
                  <a:lnTo>
                    <a:pt x="7281" y="14873"/>
                  </a:lnTo>
                  <a:lnTo>
                    <a:pt x="7104" y="14769"/>
                  </a:lnTo>
                  <a:lnTo>
                    <a:pt x="6929" y="14663"/>
                  </a:lnTo>
                  <a:lnTo>
                    <a:pt x="6755" y="14554"/>
                  </a:lnTo>
                  <a:lnTo>
                    <a:pt x="6583" y="14442"/>
                  </a:lnTo>
                  <a:lnTo>
                    <a:pt x="6412" y="14329"/>
                  </a:lnTo>
                  <a:lnTo>
                    <a:pt x="6243" y="14212"/>
                  </a:lnTo>
                  <a:lnTo>
                    <a:pt x="6074" y="14092"/>
                  </a:lnTo>
                  <a:lnTo>
                    <a:pt x="5908" y="13971"/>
                  </a:lnTo>
                  <a:lnTo>
                    <a:pt x="5742" y="13847"/>
                  </a:lnTo>
                  <a:lnTo>
                    <a:pt x="5579" y="13720"/>
                  </a:lnTo>
                  <a:lnTo>
                    <a:pt x="5416" y="13590"/>
                  </a:lnTo>
                  <a:lnTo>
                    <a:pt x="5256" y="13459"/>
                  </a:lnTo>
                  <a:lnTo>
                    <a:pt x="5098" y="13324"/>
                  </a:lnTo>
                  <a:lnTo>
                    <a:pt x="4941" y="13187"/>
                  </a:lnTo>
                  <a:lnTo>
                    <a:pt x="4785" y="13047"/>
                  </a:lnTo>
                  <a:lnTo>
                    <a:pt x="4632" y="12906"/>
                  </a:lnTo>
                  <a:lnTo>
                    <a:pt x="4480" y="12761"/>
                  </a:lnTo>
                  <a:lnTo>
                    <a:pt x="4329" y="12614"/>
                  </a:lnTo>
                  <a:lnTo>
                    <a:pt x="4181" y="12464"/>
                  </a:lnTo>
                  <a:lnTo>
                    <a:pt x="4034" y="12313"/>
                  </a:lnTo>
                  <a:lnTo>
                    <a:pt x="3890" y="12158"/>
                  </a:lnTo>
                  <a:lnTo>
                    <a:pt x="3747" y="12001"/>
                  </a:lnTo>
                  <a:lnTo>
                    <a:pt x="3606" y="11842"/>
                  </a:lnTo>
                  <a:lnTo>
                    <a:pt x="3467" y="11681"/>
                  </a:lnTo>
                  <a:lnTo>
                    <a:pt x="3331" y="11516"/>
                  </a:lnTo>
                  <a:lnTo>
                    <a:pt x="3195" y="11350"/>
                  </a:lnTo>
                  <a:lnTo>
                    <a:pt x="3063" y="11181"/>
                  </a:lnTo>
                  <a:lnTo>
                    <a:pt x="2932" y="11009"/>
                  </a:lnTo>
                  <a:lnTo>
                    <a:pt x="2804" y="10836"/>
                  </a:lnTo>
                  <a:lnTo>
                    <a:pt x="2677" y="10660"/>
                  </a:lnTo>
                  <a:lnTo>
                    <a:pt x="2553" y="10481"/>
                  </a:lnTo>
                  <a:lnTo>
                    <a:pt x="2352" y="10180"/>
                  </a:lnTo>
                  <a:lnTo>
                    <a:pt x="2161" y="9876"/>
                  </a:lnTo>
                  <a:lnTo>
                    <a:pt x="1976" y="9570"/>
                  </a:lnTo>
                  <a:lnTo>
                    <a:pt x="1802" y="9260"/>
                  </a:lnTo>
                  <a:lnTo>
                    <a:pt x="1634" y="8947"/>
                  </a:lnTo>
                  <a:lnTo>
                    <a:pt x="1476" y="8632"/>
                  </a:lnTo>
                  <a:lnTo>
                    <a:pt x="1325" y="8315"/>
                  </a:lnTo>
                  <a:lnTo>
                    <a:pt x="1183" y="7995"/>
                  </a:lnTo>
                  <a:lnTo>
                    <a:pt x="1049" y="7673"/>
                  </a:lnTo>
                  <a:lnTo>
                    <a:pt x="923" y="7350"/>
                  </a:lnTo>
                  <a:lnTo>
                    <a:pt x="805" y="7024"/>
                  </a:lnTo>
                  <a:lnTo>
                    <a:pt x="696" y="6696"/>
                  </a:lnTo>
                  <a:lnTo>
                    <a:pt x="594" y="6367"/>
                  </a:lnTo>
                  <a:lnTo>
                    <a:pt x="502" y="6037"/>
                  </a:lnTo>
                  <a:lnTo>
                    <a:pt x="416" y="5705"/>
                  </a:lnTo>
                  <a:lnTo>
                    <a:pt x="338" y="5372"/>
                  </a:lnTo>
                  <a:lnTo>
                    <a:pt x="269" y="5038"/>
                  </a:lnTo>
                  <a:lnTo>
                    <a:pt x="208" y="4703"/>
                  </a:lnTo>
                  <a:lnTo>
                    <a:pt x="154" y="4368"/>
                  </a:lnTo>
                  <a:lnTo>
                    <a:pt x="109" y="4031"/>
                  </a:lnTo>
                  <a:lnTo>
                    <a:pt x="72" y="3694"/>
                  </a:lnTo>
                  <a:lnTo>
                    <a:pt x="42" y="3358"/>
                  </a:lnTo>
                  <a:lnTo>
                    <a:pt x="20" y="3021"/>
                  </a:lnTo>
                  <a:lnTo>
                    <a:pt x="6" y="2683"/>
                  </a:lnTo>
                  <a:lnTo>
                    <a:pt x="0" y="2346"/>
                  </a:lnTo>
                  <a:lnTo>
                    <a:pt x="1" y="2009"/>
                  </a:lnTo>
                  <a:lnTo>
                    <a:pt x="10" y="1673"/>
                  </a:lnTo>
                  <a:lnTo>
                    <a:pt x="27" y="1336"/>
                  </a:lnTo>
                  <a:lnTo>
                    <a:pt x="52" y="1001"/>
                  </a:lnTo>
                  <a:lnTo>
                    <a:pt x="84" y="666"/>
                  </a:lnTo>
                  <a:lnTo>
                    <a:pt x="124" y="333"/>
                  </a:lnTo>
                  <a:lnTo>
                    <a:pt x="172" y="0"/>
                  </a:lnTo>
                  <a:lnTo>
                    <a:pt x="1959" y="0"/>
                  </a:lnTo>
                  <a:lnTo>
                    <a:pt x="1986" y="119"/>
                  </a:lnTo>
                  <a:lnTo>
                    <a:pt x="2014" y="237"/>
                  </a:lnTo>
                  <a:lnTo>
                    <a:pt x="2043" y="356"/>
                  </a:lnTo>
                  <a:lnTo>
                    <a:pt x="2074" y="475"/>
                  </a:lnTo>
                  <a:lnTo>
                    <a:pt x="2107" y="593"/>
                  </a:lnTo>
                  <a:lnTo>
                    <a:pt x="2141" y="711"/>
                  </a:lnTo>
                  <a:lnTo>
                    <a:pt x="2175" y="829"/>
                  </a:lnTo>
                  <a:lnTo>
                    <a:pt x="2212" y="946"/>
                  </a:lnTo>
                  <a:lnTo>
                    <a:pt x="2250" y="1063"/>
                  </a:lnTo>
                  <a:lnTo>
                    <a:pt x="2290" y="1179"/>
                  </a:lnTo>
                  <a:lnTo>
                    <a:pt x="2330" y="1296"/>
                  </a:lnTo>
                  <a:lnTo>
                    <a:pt x="2372" y="1412"/>
                  </a:lnTo>
                  <a:lnTo>
                    <a:pt x="2416" y="1528"/>
                  </a:lnTo>
                  <a:lnTo>
                    <a:pt x="2461" y="1644"/>
                  </a:lnTo>
                  <a:lnTo>
                    <a:pt x="2507" y="1759"/>
                  </a:lnTo>
                  <a:lnTo>
                    <a:pt x="2555" y="1875"/>
                  </a:lnTo>
                  <a:lnTo>
                    <a:pt x="2605" y="1988"/>
                  </a:lnTo>
                  <a:lnTo>
                    <a:pt x="2655" y="2103"/>
                  </a:lnTo>
                  <a:lnTo>
                    <a:pt x="2707" y="2216"/>
                  </a:lnTo>
                  <a:lnTo>
                    <a:pt x="2761" y="2329"/>
                  </a:lnTo>
                  <a:lnTo>
                    <a:pt x="2816" y="2443"/>
                  </a:lnTo>
                  <a:lnTo>
                    <a:pt x="2873" y="2555"/>
                  </a:lnTo>
                  <a:lnTo>
                    <a:pt x="2931" y="2667"/>
                  </a:lnTo>
                  <a:lnTo>
                    <a:pt x="2990" y="2779"/>
                  </a:lnTo>
                  <a:lnTo>
                    <a:pt x="3051" y="2889"/>
                  </a:lnTo>
                  <a:lnTo>
                    <a:pt x="3113" y="3000"/>
                  </a:lnTo>
                  <a:lnTo>
                    <a:pt x="3177" y="3110"/>
                  </a:lnTo>
                  <a:lnTo>
                    <a:pt x="3242" y="3220"/>
                  </a:lnTo>
                  <a:lnTo>
                    <a:pt x="3309" y="3329"/>
                  </a:lnTo>
                  <a:lnTo>
                    <a:pt x="3377" y="3438"/>
                  </a:lnTo>
                  <a:lnTo>
                    <a:pt x="3446" y="3545"/>
                  </a:lnTo>
                  <a:lnTo>
                    <a:pt x="3518" y="3653"/>
                  </a:lnTo>
                  <a:lnTo>
                    <a:pt x="3533" y="3675"/>
                  </a:lnTo>
                  <a:lnTo>
                    <a:pt x="3547" y="3697"/>
                  </a:lnTo>
                  <a:lnTo>
                    <a:pt x="3563" y="3719"/>
                  </a:lnTo>
                  <a:lnTo>
                    <a:pt x="3577" y="3742"/>
                  </a:lnTo>
                  <a:close/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8"/>
            <p:cNvSpPr>
              <a:spLocks/>
            </p:cNvSpPr>
            <p:nvPr userDrawn="1"/>
          </p:nvSpPr>
          <p:spPr bwMode="auto">
            <a:xfrm>
              <a:off x="8464081" y="-7938"/>
              <a:ext cx="309562" cy="327025"/>
            </a:xfrm>
            <a:custGeom>
              <a:avLst/>
              <a:gdLst>
                <a:gd name="T0" fmla="*/ 4185 w 4278"/>
                <a:gd name="T1" fmla="*/ 123 h 4529"/>
                <a:gd name="T2" fmla="*/ 4005 w 4278"/>
                <a:gd name="T3" fmla="*/ 372 h 4529"/>
                <a:gd name="T4" fmla="*/ 3831 w 4278"/>
                <a:gd name="T5" fmla="*/ 628 h 4529"/>
                <a:gd name="T6" fmla="*/ 3663 w 4278"/>
                <a:gd name="T7" fmla="*/ 889 h 4529"/>
                <a:gd name="T8" fmla="*/ 3499 w 4278"/>
                <a:gd name="T9" fmla="*/ 1156 h 4529"/>
                <a:gd name="T10" fmla="*/ 3344 w 4278"/>
                <a:gd name="T11" fmla="*/ 1429 h 4529"/>
                <a:gd name="T12" fmla="*/ 3195 w 4278"/>
                <a:gd name="T13" fmla="*/ 1707 h 4529"/>
                <a:gd name="T14" fmla="*/ 3054 w 4278"/>
                <a:gd name="T15" fmla="*/ 1989 h 4529"/>
                <a:gd name="T16" fmla="*/ 2919 w 4278"/>
                <a:gd name="T17" fmla="*/ 2275 h 4529"/>
                <a:gd name="T18" fmla="*/ 2794 w 4278"/>
                <a:gd name="T19" fmla="*/ 2566 h 4529"/>
                <a:gd name="T20" fmla="*/ 2678 w 4278"/>
                <a:gd name="T21" fmla="*/ 2860 h 4529"/>
                <a:gd name="T22" fmla="*/ 2571 w 4278"/>
                <a:gd name="T23" fmla="*/ 3157 h 4529"/>
                <a:gd name="T24" fmla="*/ 2473 w 4278"/>
                <a:gd name="T25" fmla="*/ 3458 h 4529"/>
                <a:gd name="T26" fmla="*/ 2385 w 4278"/>
                <a:gd name="T27" fmla="*/ 3762 h 4529"/>
                <a:gd name="T28" fmla="*/ 2307 w 4278"/>
                <a:gd name="T29" fmla="*/ 4067 h 4529"/>
                <a:gd name="T30" fmla="*/ 2241 w 4278"/>
                <a:gd name="T31" fmla="*/ 4375 h 4529"/>
                <a:gd name="T32" fmla="*/ 2173 w 4278"/>
                <a:gd name="T33" fmla="*/ 4482 h 4529"/>
                <a:gd name="T34" fmla="*/ 2096 w 4278"/>
                <a:gd name="T35" fmla="*/ 4386 h 4529"/>
                <a:gd name="T36" fmla="*/ 2020 w 4278"/>
                <a:gd name="T37" fmla="*/ 4290 h 4529"/>
                <a:gd name="T38" fmla="*/ 1945 w 4278"/>
                <a:gd name="T39" fmla="*/ 4193 h 4529"/>
                <a:gd name="T40" fmla="*/ 1870 w 4278"/>
                <a:gd name="T41" fmla="*/ 4095 h 4529"/>
                <a:gd name="T42" fmla="*/ 1797 w 4278"/>
                <a:gd name="T43" fmla="*/ 3995 h 4529"/>
                <a:gd name="T44" fmla="*/ 1726 w 4278"/>
                <a:gd name="T45" fmla="*/ 3895 h 4529"/>
                <a:gd name="T46" fmla="*/ 1654 w 4278"/>
                <a:gd name="T47" fmla="*/ 3793 h 4529"/>
                <a:gd name="T48" fmla="*/ 1604 w 4278"/>
                <a:gd name="T49" fmla="*/ 3719 h 4529"/>
                <a:gd name="T50" fmla="*/ 1574 w 4278"/>
                <a:gd name="T51" fmla="*/ 3675 h 4529"/>
                <a:gd name="T52" fmla="*/ 1487 w 4278"/>
                <a:gd name="T53" fmla="*/ 3545 h 4529"/>
                <a:gd name="T54" fmla="*/ 1350 w 4278"/>
                <a:gd name="T55" fmla="*/ 3329 h 4529"/>
                <a:gd name="T56" fmla="*/ 1218 w 4278"/>
                <a:gd name="T57" fmla="*/ 3110 h 4529"/>
                <a:gd name="T58" fmla="*/ 1092 w 4278"/>
                <a:gd name="T59" fmla="*/ 2889 h 4529"/>
                <a:gd name="T60" fmla="*/ 972 w 4278"/>
                <a:gd name="T61" fmla="*/ 2667 h 4529"/>
                <a:gd name="T62" fmla="*/ 857 w 4278"/>
                <a:gd name="T63" fmla="*/ 2443 h 4529"/>
                <a:gd name="T64" fmla="*/ 748 w 4278"/>
                <a:gd name="T65" fmla="*/ 2216 h 4529"/>
                <a:gd name="T66" fmla="*/ 646 w 4278"/>
                <a:gd name="T67" fmla="*/ 1989 h 4529"/>
                <a:gd name="T68" fmla="*/ 548 w 4278"/>
                <a:gd name="T69" fmla="*/ 1759 h 4529"/>
                <a:gd name="T70" fmla="*/ 457 w 4278"/>
                <a:gd name="T71" fmla="*/ 1528 h 4529"/>
                <a:gd name="T72" fmla="*/ 371 w 4278"/>
                <a:gd name="T73" fmla="*/ 1296 h 4529"/>
                <a:gd name="T74" fmla="*/ 291 w 4278"/>
                <a:gd name="T75" fmla="*/ 1063 h 4529"/>
                <a:gd name="T76" fmla="*/ 216 w 4278"/>
                <a:gd name="T77" fmla="*/ 829 h 4529"/>
                <a:gd name="T78" fmla="*/ 148 w 4278"/>
                <a:gd name="T79" fmla="*/ 593 h 4529"/>
                <a:gd name="T80" fmla="*/ 84 w 4278"/>
                <a:gd name="T81" fmla="*/ 356 h 4529"/>
                <a:gd name="T82" fmla="*/ 27 w 4278"/>
                <a:gd name="T83" fmla="*/ 119 h 4529"/>
                <a:gd name="T84" fmla="*/ 4278 w 4278"/>
                <a:gd name="T85" fmla="*/ 0 h 4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78" h="4529">
                  <a:moveTo>
                    <a:pt x="4278" y="0"/>
                  </a:moveTo>
                  <a:lnTo>
                    <a:pt x="4185" y="123"/>
                  </a:lnTo>
                  <a:lnTo>
                    <a:pt x="4094" y="247"/>
                  </a:lnTo>
                  <a:lnTo>
                    <a:pt x="4005" y="372"/>
                  </a:lnTo>
                  <a:lnTo>
                    <a:pt x="3918" y="499"/>
                  </a:lnTo>
                  <a:lnTo>
                    <a:pt x="3831" y="628"/>
                  </a:lnTo>
                  <a:lnTo>
                    <a:pt x="3746" y="758"/>
                  </a:lnTo>
                  <a:lnTo>
                    <a:pt x="3663" y="889"/>
                  </a:lnTo>
                  <a:lnTo>
                    <a:pt x="3580" y="1022"/>
                  </a:lnTo>
                  <a:lnTo>
                    <a:pt x="3499" y="1156"/>
                  </a:lnTo>
                  <a:lnTo>
                    <a:pt x="3421" y="1293"/>
                  </a:lnTo>
                  <a:lnTo>
                    <a:pt x="3344" y="1429"/>
                  </a:lnTo>
                  <a:lnTo>
                    <a:pt x="3268" y="1568"/>
                  </a:lnTo>
                  <a:lnTo>
                    <a:pt x="3195" y="1707"/>
                  </a:lnTo>
                  <a:lnTo>
                    <a:pt x="3123" y="1848"/>
                  </a:lnTo>
                  <a:lnTo>
                    <a:pt x="3054" y="1989"/>
                  </a:lnTo>
                  <a:lnTo>
                    <a:pt x="2986" y="2132"/>
                  </a:lnTo>
                  <a:lnTo>
                    <a:pt x="2919" y="2275"/>
                  </a:lnTo>
                  <a:lnTo>
                    <a:pt x="2856" y="2420"/>
                  </a:lnTo>
                  <a:lnTo>
                    <a:pt x="2794" y="2566"/>
                  </a:lnTo>
                  <a:lnTo>
                    <a:pt x="2735" y="2713"/>
                  </a:lnTo>
                  <a:lnTo>
                    <a:pt x="2678" y="2860"/>
                  </a:lnTo>
                  <a:lnTo>
                    <a:pt x="2623" y="3008"/>
                  </a:lnTo>
                  <a:lnTo>
                    <a:pt x="2571" y="3157"/>
                  </a:lnTo>
                  <a:lnTo>
                    <a:pt x="2521" y="3308"/>
                  </a:lnTo>
                  <a:lnTo>
                    <a:pt x="2473" y="3458"/>
                  </a:lnTo>
                  <a:lnTo>
                    <a:pt x="2428" y="3610"/>
                  </a:lnTo>
                  <a:lnTo>
                    <a:pt x="2385" y="3762"/>
                  </a:lnTo>
                  <a:lnTo>
                    <a:pt x="2345" y="3914"/>
                  </a:lnTo>
                  <a:lnTo>
                    <a:pt x="2307" y="4067"/>
                  </a:lnTo>
                  <a:lnTo>
                    <a:pt x="2273" y="4221"/>
                  </a:lnTo>
                  <a:lnTo>
                    <a:pt x="2241" y="4375"/>
                  </a:lnTo>
                  <a:lnTo>
                    <a:pt x="2212" y="4529"/>
                  </a:lnTo>
                  <a:lnTo>
                    <a:pt x="2173" y="4482"/>
                  </a:lnTo>
                  <a:lnTo>
                    <a:pt x="2135" y="4434"/>
                  </a:lnTo>
                  <a:lnTo>
                    <a:pt x="2096" y="4386"/>
                  </a:lnTo>
                  <a:lnTo>
                    <a:pt x="2058" y="4338"/>
                  </a:lnTo>
                  <a:lnTo>
                    <a:pt x="2020" y="4290"/>
                  </a:lnTo>
                  <a:lnTo>
                    <a:pt x="1983" y="4242"/>
                  </a:lnTo>
                  <a:lnTo>
                    <a:pt x="1945" y="4193"/>
                  </a:lnTo>
                  <a:lnTo>
                    <a:pt x="1908" y="4144"/>
                  </a:lnTo>
                  <a:lnTo>
                    <a:pt x="1870" y="4095"/>
                  </a:lnTo>
                  <a:lnTo>
                    <a:pt x="1834" y="4045"/>
                  </a:lnTo>
                  <a:lnTo>
                    <a:pt x="1797" y="3995"/>
                  </a:lnTo>
                  <a:lnTo>
                    <a:pt x="1761" y="3945"/>
                  </a:lnTo>
                  <a:lnTo>
                    <a:pt x="1726" y="3895"/>
                  </a:lnTo>
                  <a:lnTo>
                    <a:pt x="1689" y="3844"/>
                  </a:lnTo>
                  <a:lnTo>
                    <a:pt x="1654" y="3793"/>
                  </a:lnTo>
                  <a:lnTo>
                    <a:pt x="1618" y="3742"/>
                  </a:lnTo>
                  <a:lnTo>
                    <a:pt x="1604" y="3719"/>
                  </a:lnTo>
                  <a:lnTo>
                    <a:pt x="1588" y="3697"/>
                  </a:lnTo>
                  <a:lnTo>
                    <a:pt x="1574" y="3675"/>
                  </a:lnTo>
                  <a:lnTo>
                    <a:pt x="1559" y="3653"/>
                  </a:lnTo>
                  <a:lnTo>
                    <a:pt x="1487" y="3545"/>
                  </a:lnTo>
                  <a:lnTo>
                    <a:pt x="1418" y="3438"/>
                  </a:lnTo>
                  <a:lnTo>
                    <a:pt x="1350" y="3329"/>
                  </a:lnTo>
                  <a:lnTo>
                    <a:pt x="1283" y="3220"/>
                  </a:lnTo>
                  <a:lnTo>
                    <a:pt x="1218" y="3110"/>
                  </a:lnTo>
                  <a:lnTo>
                    <a:pt x="1154" y="3000"/>
                  </a:lnTo>
                  <a:lnTo>
                    <a:pt x="1092" y="2889"/>
                  </a:lnTo>
                  <a:lnTo>
                    <a:pt x="1031" y="2779"/>
                  </a:lnTo>
                  <a:lnTo>
                    <a:pt x="972" y="2667"/>
                  </a:lnTo>
                  <a:lnTo>
                    <a:pt x="914" y="2555"/>
                  </a:lnTo>
                  <a:lnTo>
                    <a:pt x="857" y="2443"/>
                  </a:lnTo>
                  <a:lnTo>
                    <a:pt x="802" y="2329"/>
                  </a:lnTo>
                  <a:lnTo>
                    <a:pt x="748" y="2216"/>
                  </a:lnTo>
                  <a:lnTo>
                    <a:pt x="696" y="2103"/>
                  </a:lnTo>
                  <a:lnTo>
                    <a:pt x="646" y="1989"/>
                  </a:lnTo>
                  <a:lnTo>
                    <a:pt x="596" y="1875"/>
                  </a:lnTo>
                  <a:lnTo>
                    <a:pt x="548" y="1759"/>
                  </a:lnTo>
                  <a:lnTo>
                    <a:pt x="502" y="1644"/>
                  </a:lnTo>
                  <a:lnTo>
                    <a:pt x="457" y="1528"/>
                  </a:lnTo>
                  <a:lnTo>
                    <a:pt x="413" y="1412"/>
                  </a:lnTo>
                  <a:lnTo>
                    <a:pt x="371" y="1296"/>
                  </a:lnTo>
                  <a:lnTo>
                    <a:pt x="331" y="1179"/>
                  </a:lnTo>
                  <a:lnTo>
                    <a:pt x="291" y="1063"/>
                  </a:lnTo>
                  <a:lnTo>
                    <a:pt x="253" y="946"/>
                  </a:lnTo>
                  <a:lnTo>
                    <a:pt x="216" y="829"/>
                  </a:lnTo>
                  <a:lnTo>
                    <a:pt x="182" y="711"/>
                  </a:lnTo>
                  <a:lnTo>
                    <a:pt x="148" y="593"/>
                  </a:lnTo>
                  <a:lnTo>
                    <a:pt x="115" y="475"/>
                  </a:lnTo>
                  <a:lnTo>
                    <a:pt x="84" y="356"/>
                  </a:lnTo>
                  <a:lnTo>
                    <a:pt x="55" y="237"/>
                  </a:lnTo>
                  <a:lnTo>
                    <a:pt x="27" y="119"/>
                  </a:lnTo>
                  <a:lnTo>
                    <a:pt x="0" y="0"/>
                  </a:lnTo>
                  <a:lnTo>
                    <a:pt x="4278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Freeform 9"/>
            <p:cNvSpPr>
              <a:spLocks/>
            </p:cNvSpPr>
            <p:nvPr userDrawn="1"/>
          </p:nvSpPr>
          <p:spPr bwMode="auto">
            <a:xfrm>
              <a:off x="8689506" y="477837"/>
              <a:ext cx="455612" cy="661988"/>
            </a:xfrm>
            <a:custGeom>
              <a:avLst/>
              <a:gdLst>
                <a:gd name="T0" fmla="*/ 6150 w 6317"/>
                <a:gd name="T1" fmla="*/ 9093 h 9160"/>
                <a:gd name="T2" fmla="*/ 5819 w 6317"/>
                <a:gd name="T3" fmla="*/ 8947 h 9160"/>
                <a:gd name="T4" fmla="*/ 5494 w 6317"/>
                <a:gd name="T5" fmla="*/ 8789 h 9160"/>
                <a:gd name="T6" fmla="*/ 5174 w 6317"/>
                <a:gd name="T7" fmla="*/ 8619 h 9160"/>
                <a:gd name="T8" fmla="*/ 4859 w 6317"/>
                <a:gd name="T9" fmla="*/ 8437 h 9160"/>
                <a:gd name="T10" fmla="*/ 4551 w 6317"/>
                <a:gd name="T11" fmla="*/ 8243 h 9160"/>
                <a:gd name="T12" fmla="*/ 4248 w 6317"/>
                <a:gd name="T13" fmla="*/ 8037 h 9160"/>
                <a:gd name="T14" fmla="*/ 3952 w 6317"/>
                <a:gd name="T15" fmla="*/ 7821 h 9160"/>
                <a:gd name="T16" fmla="*/ 3664 w 6317"/>
                <a:gd name="T17" fmla="*/ 7592 h 9160"/>
                <a:gd name="T18" fmla="*/ 3383 w 6317"/>
                <a:gd name="T19" fmla="*/ 7351 h 9160"/>
                <a:gd name="T20" fmla="*/ 3109 w 6317"/>
                <a:gd name="T21" fmla="*/ 7098 h 9160"/>
                <a:gd name="T22" fmla="*/ 2844 w 6317"/>
                <a:gd name="T23" fmla="*/ 6835 h 9160"/>
                <a:gd name="T24" fmla="*/ 2588 w 6317"/>
                <a:gd name="T25" fmla="*/ 6560 h 9160"/>
                <a:gd name="T26" fmla="*/ 2340 w 6317"/>
                <a:gd name="T27" fmla="*/ 6274 h 9160"/>
                <a:gd name="T28" fmla="*/ 2102 w 6317"/>
                <a:gd name="T29" fmla="*/ 5976 h 9160"/>
                <a:gd name="T30" fmla="*/ 1873 w 6317"/>
                <a:gd name="T31" fmla="*/ 5667 h 9160"/>
                <a:gd name="T32" fmla="*/ 1651 w 6317"/>
                <a:gd name="T33" fmla="*/ 5344 h 9160"/>
                <a:gd name="T34" fmla="*/ 1441 w 6317"/>
                <a:gd name="T35" fmla="*/ 5015 h 9160"/>
                <a:gd name="T36" fmla="*/ 1249 w 6317"/>
                <a:gd name="T37" fmla="*/ 4688 h 9160"/>
                <a:gd name="T38" fmla="*/ 1073 w 6317"/>
                <a:gd name="T39" fmla="*/ 4362 h 9160"/>
                <a:gd name="T40" fmla="*/ 914 w 6317"/>
                <a:gd name="T41" fmla="*/ 4037 h 9160"/>
                <a:gd name="T42" fmla="*/ 769 w 6317"/>
                <a:gd name="T43" fmla="*/ 3711 h 9160"/>
                <a:gd name="T44" fmla="*/ 640 w 6317"/>
                <a:gd name="T45" fmla="*/ 3385 h 9160"/>
                <a:gd name="T46" fmla="*/ 524 w 6317"/>
                <a:gd name="T47" fmla="*/ 3055 h 9160"/>
                <a:gd name="T48" fmla="*/ 422 w 6317"/>
                <a:gd name="T49" fmla="*/ 2722 h 9160"/>
                <a:gd name="T50" fmla="*/ 331 w 6317"/>
                <a:gd name="T51" fmla="*/ 2383 h 9160"/>
                <a:gd name="T52" fmla="*/ 253 w 6317"/>
                <a:gd name="T53" fmla="*/ 2040 h 9160"/>
                <a:gd name="T54" fmla="*/ 185 w 6317"/>
                <a:gd name="T55" fmla="*/ 1689 h 9160"/>
                <a:gd name="T56" fmla="*/ 128 w 6317"/>
                <a:gd name="T57" fmla="*/ 1330 h 9160"/>
                <a:gd name="T58" fmla="*/ 81 w 6317"/>
                <a:gd name="T59" fmla="*/ 964 h 9160"/>
                <a:gd name="T60" fmla="*/ 43 w 6317"/>
                <a:gd name="T61" fmla="*/ 586 h 9160"/>
                <a:gd name="T62" fmla="*/ 13 w 6317"/>
                <a:gd name="T63" fmla="*/ 198 h 9160"/>
                <a:gd name="T64" fmla="*/ 200 w 6317"/>
                <a:gd name="T65" fmla="*/ 177 h 9160"/>
                <a:gd name="T66" fmla="*/ 600 w 6317"/>
                <a:gd name="T67" fmla="*/ 503 h 9160"/>
                <a:gd name="T68" fmla="*/ 1001 w 6317"/>
                <a:gd name="T69" fmla="*/ 795 h 9160"/>
                <a:gd name="T70" fmla="*/ 1404 w 6317"/>
                <a:gd name="T71" fmla="*/ 1054 h 9160"/>
                <a:gd name="T72" fmla="*/ 1807 w 6317"/>
                <a:gd name="T73" fmla="*/ 1283 h 9160"/>
                <a:gd name="T74" fmla="*/ 2211 w 6317"/>
                <a:gd name="T75" fmla="*/ 1482 h 9160"/>
                <a:gd name="T76" fmla="*/ 2614 w 6317"/>
                <a:gd name="T77" fmla="*/ 1655 h 9160"/>
                <a:gd name="T78" fmla="*/ 3015 w 6317"/>
                <a:gd name="T79" fmla="*/ 1801 h 9160"/>
                <a:gd name="T80" fmla="*/ 3415 w 6317"/>
                <a:gd name="T81" fmla="*/ 1925 h 9160"/>
                <a:gd name="T82" fmla="*/ 3814 w 6317"/>
                <a:gd name="T83" fmla="*/ 2027 h 9160"/>
                <a:gd name="T84" fmla="*/ 4209 w 6317"/>
                <a:gd name="T85" fmla="*/ 2110 h 9160"/>
                <a:gd name="T86" fmla="*/ 4603 w 6317"/>
                <a:gd name="T87" fmla="*/ 2174 h 9160"/>
                <a:gd name="T88" fmla="*/ 4991 w 6317"/>
                <a:gd name="T89" fmla="*/ 2223 h 9160"/>
                <a:gd name="T90" fmla="*/ 5376 w 6317"/>
                <a:gd name="T91" fmla="*/ 2257 h 9160"/>
                <a:gd name="T92" fmla="*/ 5756 w 6317"/>
                <a:gd name="T93" fmla="*/ 2279 h 9160"/>
                <a:gd name="T94" fmla="*/ 6132 w 6317"/>
                <a:gd name="T95" fmla="*/ 2291 h 9160"/>
                <a:gd name="T96" fmla="*/ 6317 w 6317"/>
                <a:gd name="T97" fmla="*/ 9160 h 9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317" h="9160">
                  <a:moveTo>
                    <a:pt x="6317" y="9160"/>
                  </a:moveTo>
                  <a:lnTo>
                    <a:pt x="6150" y="9093"/>
                  </a:lnTo>
                  <a:lnTo>
                    <a:pt x="5984" y="9021"/>
                  </a:lnTo>
                  <a:lnTo>
                    <a:pt x="5819" y="8947"/>
                  </a:lnTo>
                  <a:lnTo>
                    <a:pt x="5656" y="8869"/>
                  </a:lnTo>
                  <a:lnTo>
                    <a:pt x="5494" y="8789"/>
                  </a:lnTo>
                  <a:lnTo>
                    <a:pt x="5333" y="8706"/>
                  </a:lnTo>
                  <a:lnTo>
                    <a:pt x="5174" y="8619"/>
                  </a:lnTo>
                  <a:lnTo>
                    <a:pt x="5016" y="8530"/>
                  </a:lnTo>
                  <a:lnTo>
                    <a:pt x="4859" y="8437"/>
                  </a:lnTo>
                  <a:lnTo>
                    <a:pt x="4704" y="8341"/>
                  </a:lnTo>
                  <a:lnTo>
                    <a:pt x="4551" y="8243"/>
                  </a:lnTo>
                  <a:lnTo>
                    <a:pt x="4399" y="8142"/>
                  </a:lnTo>
                  <a:lnTo>
                    <a:pt x="4248" y="8037"/>
                  </a:lnTo>
                  <a:lnTo>
                    <a:pt x="4099" y="7930"/>
                  </a:lnTo>
                  <a:lnTo>
                    <a:pt x="3952" y="7821"/>
                  </a:lnTo>
                  <a:lnTo>
                    <a:pt x="3807" y="7707"/>
                  </a:lnTo>
                  <a:lnTo>
                    <a:pt x="3664" y="7592"/>
                  </a:lnTo>
                  <a:lnTo>
                    <a:pt x="3522" y="7472"/>
                  </a:lnTo>
                  <a:lnTo>
                    <a:pt x="3383" y="7351"/>
                  </a:lnTo>
                  <a:lnTo>
                    <a:pt x="3245" y="7226"/>
                  </a:lnTo>
                  <a:lnTo>
                    <a:pt x="3109" y="7098"/>
                  </a:lnTo>
                  <a:lnTo>
                    <a:pt x="2976" y="6968"/>
                  </a:lnTo>
                  <a:lnTo>
                    <a:pt x="2844" y="6835"/>
                  </a:lnTo>
                  <a:lnTo>
                    <a:pt x="2715" y="6699"/>
                  </a:lnTo>
                  <a:lnTo>
                    <a:pt x="2588" y="6560"/>
                  </a:lnTo>
                  <a:lnTo>
                    <a:pt x="2463" y="6419"/>
                  </a:lnTo>
                  <a:lnTo>
                    <a:pt x="2340" y="6274"/>
                  </a:lnTo>
                  <a:lnTo>
                    <a:pt x="2219" y="6126"/>
                  </a:lnTo>
                  <a:lnTo>
                    <a:pt x="2102" y="5976"/>
                  </a:lnTo>
                  <a:lnTo>
                    <a:pt x="1986" y="5823"/>
                  </a:lnTo>
                  <a:lnTo>
                    <a:pt x="1873" y="5667"/>
                  </a:lnTo>
                  <a:lnTo>
                    <a:pt x="1762" y="5509"/>
                  </a:lnTo>
                  <a:lnTo>
                    <a:pt x="1651" y="5344"/>
                  </a:lnTo>
                  <a:lnTo>
                    <a:pt x="1544" y="5178"/>
                  </a:lnTo>
                  <a:lnTo>
                    <a:pt x="1441" y="5015"/>
                  </a:lnTo>
                  <a:lnTo>
                    <a:pt x="1343" y="4850"/>
                  </a:lnTo>
                  <a:lnTo>
                    <a:pt x="1249" y="4688"/>
                  </a:lnTo>
                  <a:lnTo>
                    <a:pt x="1159" y="4524"/>
                  </a:lnTo>
                  <a:lnTo>
                    <a:pt x="1073" y="4362"/>
                  </a:lnTo>
                  <a:lnTo>
                    <a:pt x="992" y="4200"/>
                  </a:lnTo>
                  <a:lnTo>
                    <a:pt x="914" y="4037"/>
                  </a:lnTo>
                  <a:lnTo>
                    <a:pt x="840" y="3875"/>
                  </a:lnTo>
                  <a:lnTo>
                    <a:pt x="769" y="3711"/>
                  </a:lnTo>
                  <a:lnTo>
                    <a:pt x="703" y="3549"/>
                  </a:lnTo>
                  <a:lnTo>
                    <a:pt x="640" y="3385"/>
                  </a:lnTo>
                  <a:lnTo>
                    <a:pt x="580" y="3220"/>
                  </a:lnTo>
                  <a:lnTo>
                    <a:pt x="524" y="3055"/>
                  </a:lnTo>
                  <a:lnTo>
                    <a:pt x="472" y="2889"/>
                  </a:lnTo>
                  <a:lnTo>
                    <a:pt x="422" y="2722"/>
                  </a:lnTo>
                  <a:lnTo>
                    <a:pt x="375" y="2553"/>
                  </a:lnTo>
                  <a:lnTo>
                    <a:pt x="331" y="2383"/>
                  </a:lnTo>
                  <a:lnTo>
                    <a:pt x="290" y="2213"/>
                  </a:lnTo>
                  <a:lnTo>
                    <a:pt x="253" y="2040"/>
                  </a:lnTo>
                  <a:lnTo>
                    <a:pt x="218" y="1865"/>
                  </a:lnTo>
                  <a:lnTo>
                    <a:pt x="185" y="1689"/>
                  </a:lnTo>
                  <a:lnTo>
                    <a:pt x="156" y="1511"/>
                  </a:lnTo>
                  <a:lnTo>
                    <a:pt x="128" y="1330"/>
                  </a:lnTo>
                  <a:lnTo>
                    <a:pt x="103" y="1148"/>
                  </a:lnTo>
                  <a:lnTo>
                    <a:pt x="81" y="964"/>
                  </a:lnTo>
                  <a:lnTo>
                    <a:pt x="60" y="776"/>
                  </a:lnTo>
                  <a:lnTo>
                    <a:pt x="43" y="586"/>
                  </a:lnTo>
                  <a:lnTo>
                    <a:pt x="27" y="393"/>
                  </a:lnTo>
                  <a:lnTo>
                    <a:pt x="13" y="198"/>
                  </a:lnTo>
                  <a:lnTo>
                    <a:pt x="0" y="0"/>
                  </a:lnTo>
                  <a:lnTo>
                    <a:pt x="200" y="177"/>
                  </a:lnTo>
                  <a:lnTo>
                    <a:pt x="400" y="344"/>
                  </a:lnTo>
                  <a:lnTo>
                    <a:pt x="600" y="503"/>
                  </a:lnTo>
                  <a:lnTo>
                    <a:pt x="800" y="653"/>
                  </a:lnTo>
                  <a:lnTo>
                    <a:pt x="1001" y="795"/>
                  </a:lnTo>
                  <a:lnTo>
                    <a:pt x="1202" y="929"/>
                  </a:lnTo>
                  <a:lnTo>
                    <a:pt x="1404" y="1054"/>
                  </a:lnTo>
                  <a:lnTo>
                    <a:pt x="1605" y="1173"/>
                  </a:lnTo>
                  <a:lnTo>
                    <a:pt x="1807" y="1283"/>
                  </a:lnTo>
                  <a:lnTo>
                    <a:pt x="2009" y="1386"/>
                  </a:lnTo>
                  <a:lnTo>
                    <a:pt x="2211" y="1482"/>
                  </a:lnTo>
                  <a:lnTo>
                    <a:pt x="2412" y="1571"/>
                  </a:lnTo>
                  <a:lnTo>
                    <a:pt x="2614" y="1655"/>
                  </a:lnTo>
                  <a:lnTo>
                    <a:pt x="2815" y="1732"/>
                  </a:lnTo>
                  <a:lnTo>
                    <a:pt x="3015" y="1801"/>
                  </a:lnTo>
                  <a:lnTo>
                    <a:pt x="3215" y="1866"/>
                  </a:lnTo>
                  <a:lnTo>
                    <a:pt x="3415" y="1925"/>
                  </a:lnTo>
                  <a:lnTo>
                    <a:pt x="3615" y="1979"/>
                  </a:lnTo>
                  <a:lnTo>
                    <a:pt x="3814" y="2027"/>
                  </a:lnTo>
                  <a:lnTo>
                    <a:pt x="4012" y="2071"/>
                  </a:lnTo>
                  <a:lnTo>
                    <a:pt x="4209" y="2110"/>
                  </a:lnTo>
                  <a:lnTo>
                    <a:pt x="4406" y="2144"/>
                  </a:lnTo>
                  <a:lnTo>
                    <a:pt x="4603" y="2174"/>
                  </a:lnTo>
                  <a:lnTo>
                    <a:pt x="4797" y="2200"/>
                  </a:lnTo>
                  <a:lnTo>
                    <a:pt x="4991" y="2223"/>
                  </a:lnTo>
                  <a:lnTo>
                    <a:pt x="5185" y="2242"/>
                  </a:lnTo>
                  <a:lnTo>
                    <a:pt x="5376" y="2257"/>
                  </a:lnTo>
                  <a:lnTo>
                    <a:pt x="5567" y="2270"/>
                  </a:lnTo>
                  <a:lnTo>
                    <a:pt x="5756" y="2279"/>
                  </a:lnTo>
                  <a:lnTo>
                    <a:pt x="5944" y="2285"/>
                  </a:lnTo>
                  <a:lnTo>
                    <a:pt x="6132" y="2291"/>
                  </a:lnTo>
                  <a:lnTo>
                    <a:pt x="6317" y="2293"/>
                  </a:lnTo>
                  <a:lnTo>
                    <a:pt x="6317" y="916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cxnSp>
        <p:nvCxnSpPr>
          <p:cNvPr id="24" name="Прямая соединительная линия 23"/>
          <p:cNvCxnSpPr/>
          <p:nvPr userDrawn="1"/>
        </p:nvCxnSpPr>
        <p:spPr>
          <a:xfrm>
            <a:off x="250825" y="1147900"/>
            <a:ext cx="8893175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2"/>
          <p:cNvSpPr>
            <a:spLocks noGrp="1"/>
          </p:cNvSpPr>
          <p:nvPr>
            <p:ph type="body" idx="1"/>
          </p:nvPr>
        </p:nvSpPr>
        <p:spPr>
          <a:xfrm>
            <a:off x="250825" y="1376362"/>
            <a:ext cx="8642350" cy="50990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   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>
          <a:xfrm>
            <a:off x="7877908" y="6519667"/>
            <a:ext cx="1009454" cy="23725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1600">
                <a:solidFill>
                  <a:schemeClr val="accent1"/>
                </a:solidFill>
              </a:defRPr>
            </a:lvl1pPr>
          </a:lstStyle>
          <a:p>
            <a:fld id="{AF41190B-96E3-4B62-87B2-9FF793F6223E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Freeform 381"/>
          <p:cNvSpPr>
            <a:spLocks noEditPoints="1"/>
          </p:cNvSpPr>
          <p:nvPr userDrawn="1"/>
        </p:nvSpPr>
        <p:spPr bwMode="auto">
          <a:xfrm>
            <a:off x="247650" y="6552769"/>
            <a:ext cx="2016007" cy="206959"/>
          </a:xfrm>
          <a:custGeom>
            <a:avLst/>
            <a:gdLst>
              <a:gd name="T0" fmla="*/ 986 w 15276"/>
              <a:gd name="T1" fmla="*/ 809 h 1567"/>
              <a:gd name="T2" fmla="*/ 241 w 15276"/>
              <a:gd name="T3" fmla="*/ 786 h 1567"/>
              <a:gd name="T4" fmla="*/ 797 w 15276"/>
              <a:gd name="T5" fmla="*/ 162 h 1567"/>
              <a:gd name="T6" fmla="*/ 1500 w 15276"/>
              <a:gd name="T7" fmla="*/ 920 h 1567"/>
              <a:gd name="T8" fmla="*/ 1017 w 15276"/>
              <a:gd name="T9" fmla="*/ 90 h 1567"/>
              <a:gd name="T10" fmla="*/ 98 w 15276"/>
              <a:gd name="T11" fmla="*/ 729 h 1567"/>
              <a:gd name="T12" fmla="*/ 683 w 15276"/>
              <a:gd name="T13" fmla="*/ 1172 h 1567"/>
              <a:gd name="T14" fmla="*/ 1031 w 15276"/>
              <a:gd name="T15" fmla="*/ 616 h 1567"/>
              <a:gd name="T16" fmla="*/ 860 w 15276"/>
              <a:gd name="T17" fmla="*/ 669 h 1567"/>
              <a:gd name="T18" fmla="*/ 1294 w 15276"/>
              <a:gd name="T19" fmla="*/ 500 h 1567"/>
              <a:gd name="T20" fmla="*/ 317 w 15276"/>
              <a:gd name="T21" fmla="*/ 474 h 1567"/>
              <a:gd name="T22" fmla="*/ 433 w 15276"/>
              <a:gd name="T23" fmla="*/ 723 h 1567"/>
              <a:gd name="T24" fmla="*/ 1073 w 15276"/>
              <a:gd name="T25" fmla="*/ 1278 h 1567"/>
              <a:gd name="T26" fmla="*/ 1155 w 15276"/>
              <a:gd name="T27" fmla="*/ 699 h 1567"/>
              <a:gd name="T28" fmla="*/ 528 w 15276"/>
              <a:gd name="T29" fmla="*/ 1224 h 1567"/>
              <a:gd name="T30" fmla="*/ 996 w 15276"/>
              <a:gd name="T31" fmla="*/ 25 h 1567"/>
              <a:gd name="T32" fmla="*/ 1378 w 15276"/>
              <a:gd name="T33" fmla="*/ 1319 h 1567"/>
              <a:gd name="T34" fmla="*/ 159 w 15276"/>
              <a:gd name="T35" fmla="*/ 1252 h 1567"/>
              <a:gd name="T36" fmla="*/ 214 w 15276"/>
              <a:gd name="T37" fmla="*/ 250 h 1567"/>
              <a:gd name="T38" fmla="*/ 14982 w 15276"/>
              <a:gd name="T39" fmla="*/ 939 h 1567"/>
              <a:gd name="T40" fmla="*/ 14890 w 15276"/>
              <a:gd name="T41" fmla="*/ 751 h 1567"/>
              <a:gd name="T42" fmla="*/ 13511 w 15276"/>
              <a:gd name="T43" fmla="*/ 1012 h 1567"/>
              <a:gd name="T44" fmla="*/ 12946 w 15276"/>
              <a:gd name="T45" fmla="*/ 908 h 1567"/>
              <a:gd name="T46" fmla="*/ 13097 w 15276"/>
              <a:gd name="T47" fmla="*/ 907 h 1567"/>
              <a:gd name="T48" fmla="*/ 12620 w 15276"/>
              <a:gd name="T49" fmla="*/ 1256 h 1567"/>
              <a:gd name="T50" fmla="*/ 12076 w 15276"/>
              <a:gd name="T51" fmla="*/ 865 h 1567"/>
              <a:gd name="T52" fmla="*/ 12474 w 15276"/>
              <a:gd name="T53" fmla="*/ 959 h 1567"/>
              <a:gd name="T54" fmla="*/ 12227 w 15276"/>
              <a:gd name="T55" fmla="*/ 1263 h 1567"/>
              <a:gd name="T56" fmla="*/ 12361 w 15276"/>
              <a:gd name="T57" fmla="*/ 1107 h 1567"/>
              <a:gd name="T58" fmla="*/ 11730 w 15276"/>
              <a:gd name="T59" fmla="*/ 1171 h 1567"/>
              <a:gd name="T60" fmla="*/ 11893 w 15276"/>
              <a:gd name="T61" fmla="*/ 734 h 1567"/>
              <a:gd name="T62" fmla="*/ 11678 w 15276"/>
              <a:gd name="T63" fmla="*/ 1270 h 1567"/>
              <a:gd name="T64" fmla="*/ 11831 w 15276"/>
              <a:gd name="T65" fmla="*/ 931 h 1567"/>
              <a:gd name="T66" fmla="*/ 11280 w 15276"/>
              <a:gd name="T67" fmla="*/ 828 h 1567"/>
              <a:gd name="T68" fmla="*/ 11449 w 15276"/>
              <a:gd name="T69" fmla="*/ 648 h 1567"/>
              <a:gd name="T70" fmla="*/ 10384 w 15276"/>
              <a:gd name="T71" fmla="*/ 1014 h 1567"/>
              <a:gd name="T72" fmla="*/ 9180 w 15276"/>
              <a:gd name="T73" fmla="*/ 1169 h 1567"/>
              <a:gd name="T74" fmla="*/ 9334 w 15276"/>
              <a:gd name="T75" fmla="*/ 730 h 1567"/>
              <a:gd name="T76" fmla="*/ 9148 w 15276"/>
              <a:gd name="T77" fmla="*/ 1269 h 1567"/>
              <a:gd name="T78" fmla="*/ 9244 w 15276"/>
              <a:gd name="T79" fmla="*/ 934 h 1567"/>
              <a:gd name="T80" fmla="*/ 8695 w 15276"/>
              <a:gd name="T81" fmla="*/ 1106 h 1567"/>
              <a:gd name="T82" fmla="*/ 8840 w 15276"/>
              <a:gd name="T83" fmla="*/ 867 h 1567"/>
              <a:gd name="T84" fmla="*/ 7714 w 15276"/>
              <a:gd name="T85" fmla="*/ 1256 h 1567"/>
              <a:gd name="T86" fmla="*/ 6157 w 15276"/>
              <a:gd name="T87" fmla="*/ 879 h 1567"/>
              <a:gd name="T88" fmla="*/ 6104 w 15276"/>
              <a:gd name="T89" fmla="*/ 1151 h 1567"/>
              <a:gd name="T90" fmla="*/ 6030 w 15276"/>
              <a:gd name="T91" fmla="*/ 1265 h 1567"/>
              <a:gd name="T92" fmla="*/ 5927 w 15276"/>
              <a:gd name="T93" fmla="*/ 773 h 1567"/>
              <a:gd name="T94" fmla="*/ 5758 w 15276"/>
              <a:gd name="T95" fmla="*/ 1256 h 1567"/>
              <a:gd name="T96" fmla="*/ 4387 w 15276"/>
              <a:gd name="T97" fmla="*/ 817 h 1567"/>
              <a:gd name="T98" fmla="*/ 4566 w 15276"/>
              <a:gd name="T99" fmla="*/ 785 h 1567"/>
              <a:gd name="T100" fmla="*/ 4581 w 15276"/>
              <a:gd name="T101" fmla="*/ 1194 h 1567"/>
              <a:gd name="T102" fmla="*/ 4351 w 15276"/>
              <a:gd name="T103" fmla="*/ 1168 h 1567"/>
              <a:gd name="T104" fmla="*/ 3794 w 15276"/>
              <a:gd name="T105" fmla="*/ 1040 h 1567"/>
              <a:gd name="T106" fmla="*/ 3641 w 15276"/>
              <a:gd name="T107" fmla="*/ 813 h 1567"/>
              <a:gd name="T108" fmla="*/ 3923 w 15276"/>
              <a:gd name="T109" fmla="*/ 1226 h 1567"/>
              <a:gd name="T110" fmla="*/ 3623 w 15276"/>
              <a:gd name="T111" fmla="*/ 1031 h 1567"/>
              <a:gd name="T112" fmla="*/ 3785 w 15276"/>
              <a:gd name="T113" fmla="*/ 854 h 1567"/>
              <a:gd name="T114" fmla="*/ 3343 w 15276"/>
              <a:gd name="T115" fmla="*/ 877 h 1567"/>
              <a:gd name="T116" fmla="*/ 3314 w 15276"/>
              <a:gd name="T117" fmla="*/ 726 h 1567"/>
              <a:gd name="T118" fmla="*/ 3443 w 15276"/>
              <a:gd name="T119" fmla="*/ 1224 h 1567"/>
              <a:gd name="T120" fmla="*/ 2786 w 15276"/>
              <a:gd name="T121" fmla="*/ 1044 h 1567"/>
              <a:gd name="T122" fmla="*/ 2853 w 15276"/>
              <a:gd name="T123" fmla="*/ 743 h 1567"/>
              <a:gd name="T124" fmla="*/ 2952 w 15276"/>
              <a:gd name="T125" fmla="*/ 1062 h 15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5276" h="1567">
                <a:moveTo>
                  <a:pt x="1897" y="547"/>
                </a:moveTo>
                <a:lnTo>
                  <a:pt x="2392" y="547"/>
                </a:lnTo>
                <a:lnTo>
                  <a:pt x="2392" y="670"/>
                </a:lnTo>
                <a:lnTo>
                  <a:pt x="2076" y="670"/>
                </a:lnTo>
                <a:lnTo>
                  <a:pt x="2076" y="834"/>
                </a:lnTo>
                <a:lnTo>
                  <a:pt x="2321" y="834"/>
                </a:lnTo>
                <a:lnTo>
                  <a:pt x="2321" y="957"/>
                </a:lnTo>
                <a:lnTo>
                  <a:pt x="2076" y="957"/>
                </a:lnTo>
                <a:lnTo>
                  <a:pt x="2076" y="1131"/>
                </a:lnTo>
                <a:lnTo>
                  <a:pt x="2392" y="1131"/>
                </a:lnTo>
                <a:lnTo>
                  <a:pt x="2392" y="1256"/>
                </a:lnTo>
                <a:lnTo>
                  <a:pt x="1897" y="1256"/>
                </a:lnTo>
                <a:lnTo>
                  <a:pt x="1897" y="547"/>
                </a:lnTo>
                <a:close/>
                <a:moveTo>
                  <a:pt x="139" y="427"/>
                </a:moveTo>
                <a:lnTo>
                  <a:pt x="146" y="432"/>
                </a:lnTo>
                <a:lnTo>
                  <a:pt x="150" y="430"/>
                </a:lnTo>
                <a:lnTo>
                  <a:pt x="139" y="427"/>
                </a:lnTo>
                <a:close/>
                <a:moveTo>
                  <a:pt x="937" y="603"/>
                </a:moveTo>
                <a:lnTo>
                  <a:pt x="926" y="603"/>
                </a:lnTo>
                <a:lnTo>
                  <a:pt x="911" y="603"/>
                </a:lnTo>
                <a:lnTo>
                  <a:pt x="897" y="605"/>
                </a:lnTo>
                <a:lnTo>
                  <a:pt x="883" y="606"/>
                </a:lnTo>
                <a:lnTo>
                  <a:pt x="860" y="610"/>
                </a:lnTo>
                <a:lnTo>
                  <a:pt x="879" y="618"/>
                </a:lnTo>
                <a:lnTo>
                  <a:pt x="892" y="624"/>
                </a:lnTo>
                <a:lnTo>
                  <a:pt x="896" y="625"/>
                </a:lnTo>
                <a:lnTo>
                  <a:pt x="905" y="632"/>
                </a:lnTo>
                <a:lnTo>
                  <a:pt x="916" y="640"/>
                </a:lnTo>
                <a:lnTo>
                  <a:pt x="925" y="647"/>
                </a:lnTo>
                <a:lnTo>
                  <a:pt x="934" y="655"/>
                </a:lnTo>
                <a:lnTo>
                  <a:pt x="942" y="665"/>
                </a:lnTo>
                <a:lnTo>
                  <a:pt x="949" y="674"/>
                </a:lnTo>
                <a:lnTo>
                  <a:pt x="957" y="683"/>
                </a:lnTo>
                <a:lnTo>
                  <a:pt x="963" y="694"/>
                </a:lnTo>
                <a:lnTo>
                  <a:pt x="969" y="704"/>
                </a:lnTo>
                <a:lnTo>
                  <a:pt x="974" y="715"/>
                </a:lnTo>
                <a:lnTo>
                  <a:pt x="978" y="725"/>
                </a:lnTo>
                <a:lnTo>
                  <a:pt x="982" y="736"/>
                </a:lnTo>
                <a:lnTo>
                  <a:pt x="984" y="748"/>
                </a:lnTo>
                <a:lnTo>
                  <a:pt x="986" y="759"/>
                </a:lnTo>
                <a:lnTo>
                  <a:pt x="987" y="772"/>
                </a:lnTo>
                <a:lnTo>
                  <a:pt x="988" y="784"/>
                </a:lnTo>
                <a:lnTo>
                  <a:pt x="987" y="797"/>
                </a:lnTo>
                <a:lnTo>
                  <a:pt x="986" y="809"/>
                </a:lnTo>
                <a:lnTo>
                  <a:pt x="984" y="821"/>
                </a:lnTo>
                <a:lnTo>
                  <a:pt x="982" y="832"/>
                </a:lnTo>
                <a:lnTo>
                  <a:pt x="979" y="842"/>
                </a:lnTo>
                <a:lnTo>
                  <a:pt x="975" y="854"/>
                </a:lnTo>
                <a:lnTo>
                  <a:pt x="969" y="865"/>
                </a:lnTo>
                <a:lnTo>
                  <a:pt x="962" y="877"/>
                </a:lnTo>
                <a:lnTo>
                  <a:pt x="954" y="890"/>
                </a:lnTo>
                <a:lnTo>
                  <a:pt x="944" y="904"/>
                </a:lnTo>
                <a:lnTo>
                  <a:pt x="936" y="915"/>
                </a:lnTo>
                <a:lnTo>
                  <a:pt x="931" y="920"/>
                </a:lnTo>
                <a:lnTo>
                  <a:pt x="918" y="934"/>
                </a:lnTo>
                <a:lnTo>
                  <a:pt x="904" y="946"/>
                </a:lnTo>
                <a:lnTo>
                  <a:pt x="889" y="959"/>
                </a:lnTo>
                <a:lnTo>
                  <a:pt x="872" y="971"/>
                </a:lnTo>
                <a:lnTo>
                  <a:pt x="854" y="983"/>
                </a:lnTo>
                <a:lnTo>
                  <a:pt x="834" y="993"/>
                </a:lnTo>
                <a:lnTo>
                  <a:pt x="814" y="1004"/>
                </a:lnTo>
                <a:lnTo>
                  <a:pt x="793" y="1013"/>
                </a:lnTo>
                <a:lnTo>
                  <a:pt x="773" y="1021"/>
                </a:lnTo>
                <a:lnTo>
                  <a:pt x="753" y="1029"/>
                </a:lnTo>
                <a:lnTo>
                  <a:pt x="732" y="1035"/>
                </a:lnTo>
                <a:lnTo>
                  <a:pt x="711" y="1040"/>
                </a:lnTo>
                <a:lnTo>
                  <a:pt x="689" y="1044"/>
                </a:lnTo>
                <a:lnTo>
                  <a:pt x="668" y="1047"/>
                </a:lnTo>
                <a:lnTo>
                  <a:pt x="647" y="1049"/>
                </a:lnTo>
                <a:lnTo>
                  <a:pt x="626" y="1049"/>
                </a:lnTo>
                <a:lnTo>
                  <a:pt x="569" y="1045"/>
                </a:lnTo>
                <a:lnTo>
                  <a:pt x="488" y="1027"/>
                </a:lnTo>
                <a:lnTo>
                  <a:pt x="463" y="1017"/>
                </a:lnTo>
                <a:lnTo>
                  <a:pt x="439" y="1006"/>
                </a:lnTo>
                <a:lnTo>
                  <a:pt x="416" y="993"/>
                </a:lnTo>
                <a:lnTo>
                  <a:pt x="394" y="980"/>
                </a:lnTo>
                <a:lnTo>
                  <a:pt x="373" y="964"/>
                </a:lnTo>
                <a:lnTo>
                  <a:pt x="352" y="947"/>
                </a:lnTo>
                <a:lnTo>
                  <a:pt x="333" y="929"/>
                </a:lnTo>
                <a:lnTo>
                  <a:pt x="314" y="910"/>
                </a:lnTo>
                <a:lnTo>
                  <a:pt x="303" y="895"/>
                </a:lnTo>
                <a:lnTo>
                  <a:pt x="292" y="881"/>
                </a:lnTo>
                <a:lnTo>
                  <a:pt x="282" y="866"/>
                </a:lnTo>
                <a:lnTo>
                  <a:pt x="272" y="851"/>
                </a:lnTo>
                <a:lnTo>
                  <a:pt x="263" y="835"/>
                </a:lnTo>
                <a:lnTo>
                  <a:pt x="254" y="820"/>
                </a:lnTo>
                <a:lnTo>
                  <a:pt x="247" y="803"/>
                </a:lnTo>
                <a:lnTo>
                  <a:pt x="241" y="786"/>
                </a:lnTo>
                <a:lnTo>
                  <a:pt x="234" y="770"/>
                </a:lnTo>
                <a:lnTo>
                  <a:pt x="229" y="752"/>
                </a:lnTo>
                <a:lnTo>
                  <a:pt x="225" y="734"/>
                </a:lnTo>
                <a:lnTo>
                  <a:pt x="221" y="717"/>
                </a:lnTo>
                <a:lnTo>
                  <a:pt x="218" y="699"/>
                </a:lnTo>
                <a:lnTo>
                  <a:pt x="215" y="681"/>
                </a:lnTo>
                <a:lnTo>
                  <a:pt x="214" y="664"/>
                </a:lnTo>
                <a:lnTo>
                  <a:pt x="214" y="645"/>
                </a:lnTo>
                <a:lnTo>
                  <a:pt x="214" y="630"/>
                </a:lnTo>
                <a:lnTo>
                  <a:pt x="215" y="615"/>
                </a:lnTo>
                <a:lnTo>
                  <a:pt x="217" y="600"/>
                </a:lnTo>
                <a:lnTo>
                  <a:pt x="219" y="586"/>
                </a:lnTo>
                <a:lnTo>
                  <a:pt x="221" y="571"/>
                </a:lnTo>
                <a:lnTo>
                  <a:pt x="224" y="556"/>
                </a:lnTo>
                <a:lnTo>
                  <a:pt x="227" y="542"/>
                </a:lnTo>
                <a:lnTo>
                  <a:pt x="231" y="528"/>
                </a:lnTo>
                <a:lnTo>
                  <a:pt x="236" y="514"/>
                </a:lnTo>
                <a:lnTo>
                  <a:pt x="241" y="500"/>
                </a:lnTo>
                <a:lnTo>
                  <a:pt x="247" y="487"/>
                </a:lnTo>
                <a:lnTo>
                  <a:pt x="253" y="473"/>
                </a:lnTo>
                <a:lnTo>
                  <a:pt x="260" y="460"/>
                </a:lnTo>
                <a:lnTo>
                  <a:pt x="267" y="447"/>
                </a:lnTo>
                <a:lnTo>
                  <a:pt x="274" y="434"/>
                </a:lnTo>
                <a:lnTo>
                  <a:pt x="283" y="421"/>
                </a:lnTo>
                <a:lnTo>
                  <a:pt x="293" y="407"/>
                </a:lnTo>
                <a:lnTo>
                  <a:pt x="309" y="388"/>
                </a:lnTo>
                <a:lnTo>
                  <a:pt x="325" y="370"/>
                </a:lnTo>
                <a:lnTo>
                  <a:pt x="337" y="356"/>
                </a:lnTo>
                <a:lnTo>
                  <a:pt x="360" y="334"/>
                </a:lnTo>
                <a:lnTo>
                  <a:pt x="385" y="312"/>
                </a:lnTo>
                <a:lnTo>
                  <a:pt x="410" y="292"/>
                </a:lnTo>
                <a:lnTo>
                  <a:pt x="435" y="272"/>
                </a:lnTo>
                <a:lnTo>
                  <a:pt x="462" y="256"/>
                </a:lnTo>
                <a:lnTo>
                  <a:pt x="490" y="239"/>
                </a:lnTo>
                <a:lnTo>
                  <a:pt x="518" y="226"/>
                </a:lnTo>
                <a:lnTo>
                  <a:pt x="546" y="212"/>
                </a:lnTo>
                <a:lnTo>
                  <a:pt x="576" y="201"/>
                </a:lnTo>
                <a:lnTo>
                  <a:pt x="606" y="190"/>
                </a:lnTo>
                <a:lnTo>
                  <a:pt x="637" y="182"/>
                </a:lnTo>
                <a:lnTo>
                  <a:pt x="668" y="175"/>
                </a:lnTo>
                <a:lnTo>
                  <a:pt x="700" y="169"/>
                </a:lnTo>
                <a:lnTo>
                  <a:pt x="731" y="165"/>
                </a:lnTo>
                <a:lnTo>
                  <a:pt x="764" y="163"/>
                </a:lnTo>
                <a:lnTo>
                  <a:pt x="797" y="162"/>
                </a:lnTo>
                <a:lnTo>
                  <a:pt x="827" y="162"/>
                </a:lnTo>
                <a:lnTo>
                  <a:pt x="856" y="164"/>
                </a:lnTo>
                <a:lnTo>
                  <a:pt x="884" y="167"/>
                </a:lnTo>
                <a:lnTo>
                  <a:pt x="914" y="173"/>
                </a:lnTo>
                <a:lnTo>
                  <a:pt x="941" y="178"/>
                </a:lnTo>
                <a:lnTo>
                  <a:pt x="969" y="185"/>
                </a:lnTo>
                <a:lnTo>
                  <a:pt x="998" y="193"/>
                </a:lnTo>
                <a:lnTo>
                  <a:pt x="1025" y="204"/>
                </a:lnTo>
                <a:lnTo>
                  <a:pt x="1057" y="216"/>
                </a:lnTo>
                <a:lnTo>
                  <a:pt x="1087" y="231"/>
                </a:lnTo>
                <a:lnTo>
                  <a:pt x="1116" y="247"/>
                </a:lnTo>
                <a:lnTo>
                  <a:pt x="1146" y="264"/>
                </a:lnTo>
                <a:lnTo>
                  <a:pt x="1173" y="284"/>
                </a:lnTo>
                <a:lnTo>
                  <a:pt x="1199" y="304"/>
                </a:lnTo>
                <a:lnTo>
                  <a:pt x="1225" y="325"/>
                </a:lnTo>
                <a:lnTo>
                  <a:pt x="1249" y="348"/>
                </a:lnTo>
                <a:lnTo>
                  <a:pt x="1272" y="372"/>
                </a:lnTo>
                <a:lnTo>
                  <a:pt x="1293" y="398"/>
                </a:lnTo>
                <a:lnTo>
                  <a:pt x="1313" y="424"/>
                </a:lnTo>
                <a:lnTo>
                  <a:pt x="1332" y="452"/>
                </a:lnTo>
                <a:lnTo>
                  <a:pt x="1348" y="482"/>
                </a:lnTo>
                <a:lnTo>
                  <a:pt x="1364" y="511"/>
                </a:lnTo>
                <a:lnTo>
                  <a:pt x="1379" y="541"/>
                </a:lnTo>
                <a:lnTo>
                  <a:pt x="1391" y="573"/>
                </a:lnTo>
                <a:lnTo>
                  <a:pt x="1391" y="573"/>
                </a:lnTo>
                <a:lnTo>
                  <a:pt x="1398" y="595"/>
                </a:lnTo>
                <a:lnTo>
                  <a:pt x="1403" y="614"/>
                </a:lnTo>
                <a:lnTo>
                  <a:pt x="1407" y="630"/>
                </a:lnTo>
                <a:lnTo>
                  <a:pt x="1411" y="647"/>
                </a:lnTo>
                <a:lnTo>
                  <a:pt x="1417" y="662"/>
                </a:lnTo>
                <a:lnTo>
                  <a:pt x="1426" y="679"/>
                </a:lnTo>
                <a:lnTo>
                  <a:pt x="1436" y="697"/>
                </a:lnTo>
                <a:lnTo>
                  <a:pt x="1444" y="713"/>
                </a:lnTo>
                <a:lnTo>
                  <a:pt x="1452" y="731"/>
                </a:lnTo>
                <a:lnTo>
                  <a:pt x="1460" y="750"/>
                </a:lnTo>
                <a:lnTo>
                  <a:pt x="1467" y="768"/>
                </a:lnTo>
                <a:lnTo>
                  <a:pt x="1473" y="786"/>
                </a:lnTo>
                <a:lnTo>
                  <a:pt x="1480" y="805"/>
                </a:lnTo>
                <a:lnTo>
                  <a:pt x="1485" y="824"/>
                </a:lnTo>
                <a:lnTo>
                  <a:pt x="1489" y="842"/>
                </a:lnTo>
                <a:lnTo>
                  <a:pt x="1492" y="862"/>
                </a:lnTo>
                <a:lnTo>
                  <a:pt x="1495" y="881"/>
                </a:lnTo>
                <a:lnTo>
                  <a:pt x="1499" y="901"/>
                </a:lnTo>
                <a:lnTo>
                  <a:pt x="1500" y="920"/>
                </a:lnTo>
                <a:lnTo>
                  <a:pt x="1501" y="941"/>
                </a:lnTo>
                <a:lnTo>
                  <a:pt x="1502" y="961"/>
                </a:lnTo>
                <a:lnTo>
                  <a:pt x="1502" y="970"/>
                </a:lnTo>
                <a:lnTo>
                  <a:pt x="1501" y="980"/>
                </a:lnTo>
                <a:lnTo>
                  <a:pt x="1501" y="989"/>
                </a:lnTo>
                <a:lnTo>
                  <a:pt x="1500" y="998"/>
                </a:lnTo>
                <a:lnTo>
                  <a:pt x="1504" y="984"/>
                </a:lnTo>
                <a:lnTo>
                  <a:pt x="1508" y="972"/>
                </a:lnTo>
                <a:lnTo>
                  <a:pt x="1510" y="964"/>
                </a:lnTo>
                <a:lnTo>
                  <a:pt x="1511" y="959"/>
                </a:lnTo>
                <a:lnTo>
                  <a:pt x="1516" y="938"/>
                </a:lnTo>
                <a:lnTo>
                  <a:pt x="1521" y="916"/>
                </a:lnTo>
                <a:lnTo>
                  <a:pt x="1525" y="894"/>
                </a:lnTo>
                <a:lnTo>
                  <a:pt x="1529" y="873"/>
                </a:lnTo>
                <a:lnTo>
                  <a:pt x="1531" y="851"/>
                </a:lnTo>
                <a:lnTo>
                  <a:pt x="1533" y="828"/>
                </a:lnTo>
                <a:lnTo>
                  <a:pt x="1535" y="806"/>
                </a:lnTo>
                <a:lnTo>
                  <a:pt x="1535" y="784"/>
                </a:lnTo>
                <a:lnTo>
                  <a:pt x="1534" y="747"/>
                </a:lnTo>
                <a:lnTo>
                  <a:pt x="1531" y="709"/>
                </a:lnTo>
                <a:lnTo>
                  <a:pt x="1527" y="673"/>
                </a:lnTo>
                <a:lnTo>
                  <a:pt x="1521" y="638"/>
                </a:lnTo>
                <a:lnTo>
                  <a:pt x="1512" y="602"/>
                </a:lnTo>
                <a:lnTo>
                  <a:pt x="1502" y="568"/>
                </a:lnTo>
                <a:lnTo>
                  <a:pt x="1490" y="535"/>
                </a:lnTo>
                <a:lnTo>
                  <a:pt x="1478" y="501"/>
                </a:lnTo>
                <a:lnTo>
                  <a:pt x="1463" y="469"/>
                </a:lnTo>
                <a:lnTo>
                  <a:pt x="1446" y="438"/>
                </a:lnTo>
                <a:lnTo>
                  <a:pt x="1428" y="408"/>
                </a:lnTo>
                <a:lnTo>
                  <a:pt x="1409" y="379"/>
                </a:lnTo>
                <a:lnTo>
                  <a:pt x="1388" y="349"/>
                </a:lnTo>
                <a:lnTo>
                  <a:pt x="1366" y="322"/>
                </a:lnTo>
                <a:lnTo>
                  <a:pt x="1343" y="295"/>
                </a:lnTo>
                <a:lnTo>
                  <a:pt x="1319" y="270"/>
                </a:lnTo>
                <a:lnTo>
                  <a:pt x="1293" y="246"/>
                </a:lnTo>
                <a:lnTo>
                  <a:pt x="1267" y="224"/>
                </a:lnTo>
                <a:lnTo>
                  <a:pt x="1238" y="202"/>
                </a:lnTo>
                <a:lnTo>
                  <a:pt x="1210" y="182"/>
                </a:lnTo>
                <a:lnTo>
                  <a:pt x="1179" y="163"/>
                </a:lnTo>
                <a:lnTo>
                  <a:pt x="1149" y="146"/>
                </a:lnTo>
                <a:lnTo>
                  <a:pt x="1116" y="129"/>
                </a:lnTo>
                <a:lnTo>
                  <a:pt x="1084" y="114"/>
                </a:lnTo>
                <a:lnTo>
                  <a:pt x="1050" y="102"/>
                </a:lnTo>
                <a:lnTo>
                  <a:pt x="1017" y="90"/>
                </a:lnTo>
                <a:lnTo>
                  <a:pt x="981" y="81"/>
                </a:lnTo>
                <a:lnTo>
                  <a:pt x="945" y="73"/>
                </a:lnTo>
                <a:lnTo>
                  <a:pt x="910" y="67"/>
                </a:lnTo>
                <a:lnTo>
                  <a:pt x="872" y="61"/>
                </a:lnTo>
                <a:lnTo>
                  <a:pt x="835" y="58"/>
                </a:lnTo>
                <a:lnTo>
                  <a:pt x="797" y="57"/>
                </a:lnTo>
                <a:lnTo>
                  <a:pt x="760" y="58"/>
                </a:lnTo>
                <a:lnTo>
                  <a:pt x="725" y="61"/>
                </a:lnTo>
                <a:lnTo>
                  <a:pt x="689" y="65"/>
                </a:lnTo>
                <a:lnTo>
                  <a:pt x="654" y="71"/>
                </a:lnTo>
                <a:lnTo>
                  <a:pt x="620" y="79"/>
                </a:lnTo>
                <a:lnTo>
                  <a:pt x="586" y="87"/>
                </a:lnTo>
                <a:lnTo>
                  <a:pt x="553" y="99"/>
                </a:lnTo>
                <a:lnTo>
                  <a:pt x="519" y="110"/>
                </a:lnTo>
                <a:lnTo>
                  <a:pt x="486" y="124"/>
                </a:lnTo>
                <a:lnTo>
                  <a:pt x="455" y="139"/>
                </a:lnTo>
                <a:lnTo>
                  <a:pt x="424" y="156"/>
                </a:lnTo>
                <a:lnTo>
                  <a:pt x="394" y="175"/>
                </a:lnTo>
                <a:lnTo>
                  <a:pt x="365" y="194"/>
                </a:lnTo>
                <a:lnTo>
                  <a:pt x="336" y="215"/>
                </a:lnTo>
                <a:lnTo>
                  <a:pt x="309" y="238"/>
                </a:lnTo>
                <a:lnTo>
                  <a:pt x="283" y="262"/>
                </a:lnTo>
                <a:lnTo>
                  <a:pt x="267" y="278"/>
                </a:lnTo>
                <a:lnTo>
                  <a:pt x="262" y="278"/>
                </a:lnTo>
                <a:lnTo>
                  <a:pt x="225" y="323"/>
                </a:lnTo>
                <a:lnTo>
                  <a:pt x="215" y="335"/>
                </a:lnTo>
                <a:lnTo>
                  <a:pt x="176" y="391"/>
                </a:lnTo>
                <a:lnTo>
                  <a:pt x="168" y="402"/>
                </a:lnTo>
                <a:lnTo>
                  <a:pt x="135" y="460"/>
                </a:lnTo>
                <a:lnTo>
                  <a:pt x="135" y="461"/>
                </a:lnTo>
                <a:lnTo>
                  <a:pt x="131" y="469"/>
                </a:lnTo>
                <a:lnTo>
                  <a:pt x="127" y="477"/>
                </a:lnTo>
                <a:lnTo>
                  <a:pt x="119" y="499"/>
                </a:lnTo>
                <a:lnTo>
                  <a:pt x="113" y="521"/>
                </a:lnTo>
                <a:lnTo>
                  <a:pt x="106" y="543"/>
                </a:lnTo>
                <a:lnTo>
                  <a:pt x="102" y="566"/>
                </a:lnTo>
                <a:lnTo>
                  <a:pt x="98" y="589"/>
                </a:lnTo>
                <a:lnTo>
                  <a:pt x="96" y="612"/>
                </a:lnTo>
                <a:lnTo>
                  <a:pt x="94" y="635"/>
                </a:lnTo>
                <a:lnTo>
                  <a:pt x="94" y="659"/>
                </a:lnTo>
                <a:lnTo>
                  <a:pt x="94" y="677"/>
                </a:lnTo>
                <a:lnTo>
                  <a:pt x="95" y="695"/>
                </a:lnTo>
                <a:lnTo>
                  <a:pt x="96" y="712"/>
                </a:lnTo>
                <a:lnTo>
                  <a:pt x="98" y="729"/>
                </a:lnTo>
                <a:lnTo>
                  <a:pt x="101" y="747"/>
                </a:lnTo>
                <a:lnTo>
                  <a:pt x="104" y="763"/>
                </a:lnTo>
                <a:lnTo>
                  <a:pt x="108" y="781"/>
                </a:lnTo>
                <a:lnTo>
                  <a:pt x="113" y="798"/>
                </a:lnTo>
                <a:lnTo>
                  <a:pt x="118" y="814"/>
                </a:lnTo>
                <a:lnTo>
                  <a:pt x="123" y="830"/>
                </a:lnTo>
                <a:lnTo>
                  <a:pt x="129" y="847"/>
                </a:lnTo>
                <a:lnTo>
                  <a:pt x="136" y="862"/>
                </a:lnTo>
                <a:lnTo>
                  <a:pt x="143" y="878"/>
                </a:lnTo>
                <a:lnTo>
                  <a:pt x="150" y="893"/>
                </a:lnTo>
                <a:lnTo>
                  <a:pt x="159" y="908"/>
                </a:lnTo>
                <a:lnTo>
                  <a:pt x="167" y="924"/>
                </a:lnTo>
                <a:lnTo>
                  <a:pt x="177" y="938"/>
                </a:lnTo>
                <a:lnTo>
                  <a:pt x="186" y="952"/>
                </a:lnTo>
                <a:lnTo>
                  <a:pt x="197" y="966"/>
                </a:lnTo>
                <a:lnTo>
                  <a:pt x="207" y="980"/>
                </a:lnTo>
                <a:lnTo>
                  <a:pt x="218" y="993"/>
                </a:lnTo>
                <a:lnTo>
                  <a:pt x="229" y="1006"/>
                </a:lnTo>
                <a:lnTo>
                  <a:pt x="242" y="1018"/>
                </a:lnTo>
                <a:lnTo>
                  <a:pt x="254" y="1031"/>
                </a:lnTo>
                <a:lnTo>
                  <a:pt x="267" y="1042"/>
                </a:lnTo>
                <a:lnTo>
                  <a:pt x="281" y="1054"/>
                </a:lnTo>
                <a:lnTo>
                  <a:pt x="294" y="1065"/>
                </a:lnTo>
                <a:lnTo>
                  <a:pt x="308" y="1075"/>
                </a:lnTo>
                <a:lnTo>
                  <a:pt x="323" y="1086"/>
                </a:lnTo>
                <a:lnTo>
                  <a:pt x="337" y="1095"/>
                </a:lnTo>
                <a:lnTo>
                  <a:pt x="353" y="1105"/>
                </a:lnTo>
                <a:lnTo>
                  <a:pt x="369" y="1113"/>
                </a:lnTo>
                <a:lnTo>
                  <a:pt x="369" y="1114"/>
                </a:lnTo>
                <a:lnTo>
                  <a:pt x="385" y="1122"/>
                </a:lnTo>
                <a:lnTo>
                  <a:pt x="401" y="1130"/>
                </a:lnTo>
                <a:lnTo>
                  <a:pt x="418" y="1137"/>
                </a:lnTo>
                <a:lnTo>
                  <a:pt x="436" y="1143"/>
                </a:lnTo>
                <a:lnTo>
                  <a:pt x="454" y="1148"/>
                </a:lnTo>
                <a:lnTo>
                  <a:pt x="472" y="1153"/>
                </a:lnTo>
                <a:lnTo>
                  <a:pt x="490" y="1158"/>
                </a:lnTo>
                <a:lnTo>
                  <a:pt x="507" y="1161"/>
                </a:lnTo>
                <a:lnTo>
                  <a:pt x="542" y="1167"/>
                </a:lnTo>
                <a:lnTo>
                  <a:pt x="575" y="1170"/>
                </a:lnTo>
                <a:lnTo>
                  <a:pt x="605" y="1172"/>
                </a:lnTo>
                <a:lnTo>
                  <a:pt x="631" y="1173"/>
                </a:lnTo>
                <a:lnTo>
                  <a:pt x="654" y="1173"/>
                </a:lnTo>
                <a:lnTo>
                  <a:pt x="671" y="1172"/>
                </a:lnTo>
                <a:lnTo>
                  <a:pt x="683" y="1172"/>
                </a:lnTo>
                <a:lnTo>
                  <a:pt x="687" y="1172"/>
                </a:lnTo>
                <a:lnTo>
                  <a:pt x="712" y="1168"/>
                </a:lnTo>
                <a:lnTo>
                  <a:pt x="736" y="1164"/>
                </a:lnTo>
                <a:lnTo>
                  <a:pt x="760" y="1159"/>
                </a:lnTo>
                <a:lnTo>
                  <a:pt x="784" y="1151"/>
                </a:lnTo>
                <a:lnTo>
                  <a:pt x="806" y="1145"/>
                </a:lnTo>
                <a:lnTo>
                  <a:pt x="828" y="1137"/>
                </a:lnTo>
                <a:lnTo>
                  <a:pt x="849" y="1128"/>
                </a:lnTo>
                <a:lnTo>
                  <a:pt x="870" y="1119"/>
                </a:lnTo>
                <a:lnTo>
                  <a:pt x="891" y="1108"/>
                </a:lnTo>
                <a:lnTo>
                  <a:pt x="911" y="1096"/>
                </a:lnTo>
                <a:lnTo>
                  <a:pt x="931" y="1084"/>
                </a:lnTo>
                <a:lnTo>
                  <a:pt x="948" y="1071"/>
                </a:lnTo>
                <a:lnTo>
                  <a:pt x="965" y="1059"/>
                </a:lnTo>
                <a:lnTo>
                  <a:pt x="981" y="1045"/>
                </a:lnTo>
                <a:lnTo>
                  <a:pt x="996" y="1032"/>
                </a:lnTo>
                <a:lnTo>
                  <a:pt x="1009" y="1017"/>
                </a:lnTo>
                <a:lnTo>
                  <a:pt x="1023" y="1002"/>
                </a:lnTo>
                <a:lnTo>
                  <a:pt x="1034" y="988"/>
                </a:lnTo>
                <a:lnTo>
                  <a:pt x="1044" y="976"/>
                </a:lnTo>
                <a:lnTo>
                  <a:pt x="1051" y="965"/>
                </a:lnTo>
                <a:lnTo>
                  <a:pt x="1062" y="946"/>
                </a:lnTo>
                <a:lnTo>
                  <a:pt x="1071" y="928"/>
                </a:lnTo>
                <a:lnTo>
                  <a:pt x="1075" y="920"/>
                </a:lnTo>
                <a:lnTo>
                  <a:pt x="1082" y="906"/>
                </a:lnTo>
                <a:lnTo>
                  <a:pt x="1087" y="890"/>
                </a:lnTo>
                <a:lnTo>
                  <a:pt x="1093" y="872"/>
                </a:lnTo>
                <a:lnTo>
                  <a:pt x="1099" y="852"/>
                </a:lnTo>
                <a:lnTo>
                  <a:pt x="1102" y="835"/>
                </a:lnTo>
                <a:lnTo>
                  <a:pt x="1105" y="817"/>
                </a:lnTo>
                <a:lnTo>
                  <a:pt x="1107" y="801"/>
                </a:lnTo>
                <a:lnTo>
                  <a:pt x="1108" y="783"/>
                </a:lnTo>
                <a:lnTo>
                  <a:pt x="1107" y="765"/>
                </a:lnTo>
                <a:lnTo>
                  <a:pt x="1105" y="746"/>
                </a:lnTo>
                <a:lnTo>
                  <a:pt x="1102" y="725"/>
                </a:lnTo>
                <a:lnTo>
                  <a:pt x="1096" y="703"/>
                </a:lnTo>
                <a:lnTo>
                  <a:pt x="1091" y="682"/>
                </a:lnTo>
                <a:lnTo>
                  <a:pt x="1085" y="662"/>
                </a:lnTo>
                <a:lnTo>
                  <a:pt x="1078" y="645"/>
                </a:lnTo>
                <a:lnTo>
                  <a:pt x="1071" y="629"/>
                </a:lnTo>
                <a:lnTo>
                  <a:pt x="1062" y="625"/>
                </a:lnTo>
                <a:lnTo>
                  <a:pt x="1051" y="622"/>
                </a:lnTo>
                <a:lnTo>
                  <a:pt x="1042" y="619"/>
                </a:lnTo>
                <a:lnTo>
                  <a:pt x="1031" y="616"/>
                </a:lnTo>
                <a:lnTo>
                  <a:pt x="1021" y="613"/>
                </a:lnTo>
                <a:lnTo>
                  <a:pt x="1009" y="610"/>
                </a:lnTo>
                <a:lnTo>
                  <a:pt x="998" y="608"/>
                </a:lnTo>
                <a:lnTo>
                  <a:pt x="987" y="606"/>
                </a:lnTo>
                <a:lnTo>
                  <a:pt x="975" y="604"/>
                </a:lnTo>
                <a:lnTo>
                  <a:pt x="962" y="603"/>
                </a:lnTo>
                <a:lnTo>
                  <a:pt x="949" y="603"/>
                </a:lnTo>
                <a:lnTo>
                  <a:pt x="937" y="603"/>
                </a:lnTo>
                <a:close/>
                <a:moveTo>
                  <a:pt x="703" y="876"/>
                </a:moveTo>
                <a:lnTo>
                  <a:pt x="712" y="885"/>
                </a:lnTo>
                <a:lnTo>
                  <a:pt x="723" y="892"/>
                </a:lnTo>
                <a:lnTo>
                  <a:pt x="733" y="899"/>
                </a:lnTo>
                <a:lnTo>
                  <a:pt x="745" y="904"/>
                </a:lnTo>
                <a:lnTo>
                  <a:pt x="757" y="909"/>
                </a:lnTo>
                <a:lnTo>
                  <a:pt x="770" y="912"/>
                </a:lnTo>
                <a:lnTo>
                  <a:pt x="784" y="914"/>
                </a:lnTo>
                <a:lnTo>
                  <a:pt x="797" y="914"/>
                </a:lnTo>
                <a:lnTo>
                  <a:pt x="810" y="914"/>
                </a:lnTo>
                <a:lnTo>
                  <a:pt x="821" y="912"/>
                </a:lnTo>
                <a:lnTo>
                  <a:pt x="833" y="909"/>
                </a:lnTo>
                <a:lnTo>
                  <a:pt x="844" y="906"/>
                </a:lnTo>
                <a:lnTo>
                  <a:pt x="856" y="901"/>
                </a:lnTo>
                <a:lnTo>
                  <a:pt x="866" y="894"/>
                </a:lnTo>
                <a:lnTo>
                  <a:pt x="877" y="888"/>
                </a:lnTo>
                <a:lnTo>
                  <a:pt x="886" y="881"/>
                </a:lnTo>
                <a:lnTo>
                  <a:pt x="893" y="875"/>
                </a:lnTo>
                <a:lnTo>
                  <a:pt x="899" y="867"/>
                </a:lnTo>
                <a:lnTo>
                  <a:pt x="910" y="853"/>
                </a:lnTo>
                <a:lnTo>
                  <a:pt x="917" y="840"/>
                </a:lnTo>
                <a:lnTo>
                  <a:pt x="922" y="827"/>
                </a:lnTo>
                <a:lnTo>
                  <a:pt x="927" y="810"/>
                </a:lnTo>
                <a:lnTo>
                  <a:pt x="928" y="797"/>
                </a:lnTo>
                <a:lnTo>
                  <a:pt x="929" y="784"/>
                </a:lnTo>
                <a:lnTo>
                  <a:pt x="929" y="771"/>
                </a:lnTo>
                <a:lnTo>
                  <a:pt x="927" y="757"/>
                </a:lnTo>
                <a:lnTo>
                  <a:pt x="923" y="745"/>
                </a:lnTo>
                <a:lnTo>
                  <a:pt x="919" y="733"/>
                </a:lnTo>
                <a:lnTo>
                  <a:pt x="914" y="721"/>
                </a:lnTo>
                <a:lnTo>
                  <a:pt x="907" y="710"/>
                </a:lnTo>
                <a:lnTo>
                  <a:pt x="899" y="700"/>
                </a:lnTo>
                <a:lnTo>
                  <a:pt x="891" y="691"/>
                </a:lnTo>
                <a:lnTo>
                  <a:pt x="881" y="682"/>
                </a:lnTo>
                <a:lnTo>
                  <a:pt x="871" y="675"/>
                </a:lnTo>
                <a:lnTo>
                  <a:pt x="860" y="669"/>
                </a:lnTo>
                <a:lnTo>
                  <a:pt x="849" y="664"/>
                </a:lnTo>
                <a:lnTo>
                  <a:pt x="836" y="658"/>
                </a:lnTo>
                <a:lnTo>
                  <a:pt x="823" y="655"/>
                </a:lnTo>
                <a:lnTo>
                  <a:pt x="811" y="653"/>
                </a:lnTo>
                <a:lnTo>
                  <a:pt x="797" y="653"/>
                </a:lnTo>
                <a:lnTo>
                  <a:pt x="785" y="653"/>
                </a:lnTo>
                <a:lnTo>
                  <a:pt x="773" y="655"/>
                </a:lnTo>
                <a:lnTo>
                  <a:pt x="763" y="657"/>
                </a:lnTo>
                <a:lnTo>
                  <a:pt x="752" y="660"/>
                </a:lnTo>
                <a:lnTo>
                  <a:pt x="740" y="665"/>
                </a:lnTo>
                <a:lnTo>
                  <a:pt x="731" y="670"/>
                </a:lnTo>
                <a:lnTo>
                  <a:pt x="721" y="676"/>
                </a:lnTo>
                <a:lnTo>
                  <a:pt x="712" y="682"/>
                </a:lnTo>
                <a:lnTo>
                  <a:pt x="702" y="693"/>
                </a:lnTo>
                <a:lnTo>
                  <a:pt x="691" y="703"/>
                </a:lnTo>
                <a:lnTo>
                  <a:pt x="683" y="716"/>
                </a:lnTo>
                <a:lnTo>
                  <a:pt x="676" y="728"/>
                </a:lnTo>
                <a:lnTo>
                  <a:pt x="671" y="741"/>
                </a:lnTo>
                <a:lnTo>
                  <a:pt x="667" y="755"/>
                </a:lnTo>
                <a:lnTo>
                  <a:pt x="665" y="769"/>
                </a:lnTo>
                <a:lnTo>
                  <a:pt x="664" y="784"/>
                </a:lnTo>
                <a:lnTo>
                  <a:pt x="664" y="797"/>
                </a:lnTo>
                <a:lnTo>
                  <a:pt x="666" y="810"/>
                </a:lnTo>
                <a:lnTo>
                  <a:pt x="669" y="823"/>
                </a:lnTo>
                <a:lnTo>
                  <a:pt x="674" y="835"/>
                </a:lnTo>
                <a:lnTo>
                  <a:pt x="680" y="847"/>
                </a:lnTo>
                <a:lnTo>
                  <a:pt x="686" y="857"/>
                </a:lnTo>
                <a:lnTo>
                  <a:pt x="694" y="867"/>
                </a:lnTo>
                <a:lnTo>
                  <a:pt x="703" y="876"/>
                </a:lnTo>
                <a:close/>
                <a:moveTo>
                  <a:pt x="1039" y="398"/>
                </a:moveTo>
                <a:lnTo>
                  <a:pt x="1069" y="406"/>
                </a:lnTo>
                <a:lnTo>
                  <a:pt x="1099" y="415"/>
                </a:lnTo>
                <a:lnTo>
                  <a:pt x="1127" y="424"/>
                </a:lnTo>
                <a:lnTo>
                  <a:pt x="1155" y="436"/>
                </a:lnTo>
                <a:lnTo>
                  <a:pt x="1185" y="449"/>
                </a:lnTo>
                <a:lnTo>
                  <a:pt x="1212" y="465"/>
                </a:lnTo>
                <a:lnTo>
                  <a:pt x="1239" y="482"/>
                </a:lnTo>
                <a:lnTo>
                  <a:pt x="1264" y="499"/>
                </a:lnTo>
                <a:lnTo>
                  <a:pt x="1278" y="509"/>
                </a:lnTo>
                <a:lnTo>
                  <a:pt x="1291" y="519"/>
                </a:lnTo>
                <a:lnTo>
                  <a:pt x="1303" y="529"/>
                </a:lnTo>
                <a:lnTo>
                  <a:pt x="1315" y="541"/>
                </a:lnTo>
                <a:lnTo>
                  <a:pt x="1304" y="520"/>
                </a:lnTo>
                <a:lnTo>
                  <a:pt x="1294" y="500"/>
                </a:lnTo>
                <a:lnTo>
                  <a:pt x="1281" y="480"/>
                </a:lnTo>
                <a:lnTo>
                  <a:pt x="1269" y="462"/>
                </a:lnTo>
                <a:lnTo>
                  <a:pt x="1255" y="443"/>
                </a:lnTo>
                <a:lnTo>
                  <a:pt x="1240" y="425"/>
                </a:lnTo>
                <a:lnTo>
                  <a:pt x="1226" y="408"/>
                </a:lnTo>
                <a:lnTo>
                  <a:pt x="1210" y="391"/>
                </a:lnTo>
                <a:lnTo>
                  <a:pt x="1188" y="370"/>
                </a:lnTo>
                <a:lnTo>
                  <a:pt x="1165" y="349"/>
                </a:lnTo>
                <a:lnTo>
                  <a:pt x="1139" y="331"/>
                </a:lnTo>
                <a:lnTo>
                  <a:pt x="1114" y="313"/>
                </a:lnTo>
                <a:lnTo>
                  <a:pt x="1088" y="297"/>
                </a:lnTo>
                <a:lnTo>
                  <a:pt x="1061" y="282"/>
                </a:lnTo>
                <a:lnTo>
                  <a:pt x="1032" y="268"/>
                </a:lnTo>
                <a:lnTo>
                  <a:pt x="1004" y="257"/>
                </a:lnTo>
                <a:lnTo>
                  <a:pt x="979" y="249"/>
                </a:lnTo>
                <a:lnTo>
                  <a:pt x="955" y="240"/>
                </a:lnTo>
                <a:lnTo>
                  <a:pt x="928" y="234"/>
                </a:lnTo>
                <a:lnTo>
                  <a:pt x="903" y="229"/>
                </a:lnTo>
                <a:lnTo>
                  <a:pt x="877" y="225"/>
                </a:lnTo>
                <a:lnTo>
                  <a:pt x="851" y="221"/>
                </a:lnTo>
                <a:lnTo>
                  <a:pt x="823" y="219"/>
                </a:lnTo>
                <a:lnTo>
                  <a:pt x="797" y="219"/>
                </a:lnTo>
                <a:lnTo>
                  <a:pt x="767" y="219"/>
                </a:lnTo>
                <a:lnTo>
                  <a:pt x="737" y="223"/>
                </a:lnTo>
                <a:lnTo>
                  <a:pt x="708" y="226"/>
                </a:lnTo>
                <a:lnTo>
                  <a:pt x="679" y="231"/>
                </a:lnTo>
                <a:lnTo>
                  <a:pt x="650" y="237"/>
                </a:lnTo>
                <a:lnTo>
                  <a:pt x="623" y="245"/>
                </a:lnTo>
                <a:lnTo>
                  <a:pt x="596" y="255"/>
                </a:lnTo>
                <a:lnTo>
                  <a:pt x="569" y="265"/>
                </a:lnTo>
                <a:lnTo>
                  <a:pt x="543" y="277"/>
                </a:lnTo>
                <a:lnTo>
                  <a:pt x="517" y="290"/>
                </a:lnTo>
                <a:lnTo>
                  <a:pt x="492" y="305"/>
                </a:lnTo>
                <a:lnTo>
                  <a:pt x="467" y="320"/>
                </a:lnTo>
                <a:lnTo>
                  <a:pt x="444" y="337"/>
                </a:lnTo>
                <a:lnTo>
                  <a:pt x="422" y="356"/>
                </a:lnTo>
                <a:lnTo>
                  <a:pt x="401" y="374"/>
                </a:lnTo>
                <a:lnTo>
                  <a:pt x="380" y="394"/>
                </a:lnTo>
                <a:lnTo>
                  <a:pt x="378" y="397"/>
                </a:lnTo>
                <a:lnTo>
                  <a:pt x="366" y="410"/>
                </a:lnTo>
                <a:lnTo>
                  <a:pt x="353" y="424"/>
                </a:lnTo>
                <a:lnTo>
                  <a:pt x="341" y="439"/>
                </a:lnTo>
                <a:lnTo>
                  <a:pt x="331" y="453"/>
                </a:lnTo>
                <a:lnTo>
                  <a:pt x="317" y="474"/>
                </a:lnTo>
                <a:lnTo>
                  <a:pt x="306" y="497"/>
                </a:lnTo>
                <a:lnTo>
                  <a:pt x="295" y="520"/>
                </a:lnTo>
                <a:lnTo>
                  <a:pt x="287" y="545"/>
                </a:lnTo>
                <a:lnTo>
                  <a:pt x="281" y="569"/>
                </a:lnTo>
                <a:lnTo>
                  <a:pt x="276" y="594"/>
                </a:lnTo>
                <a:lnTo>
                  <a:pt x="273" y="619"/>
                </a:lnTo>
                <a:lnTo>
                  <a:pt x="272" y="645"/>
                </a:lnTo>
                <a:lnTo>
                  <a:pt x="272" y="660"/>
                </a:lnTo>
                <a:lnTo>
                  <a:pt x="274" y="676"/>
                </a:lnTo>
                <a:lnTo>
                  <a:pt x="275" y="692"/>
                </a:lnTo>
                <a:lnTo>
                  <a:pt x="278" y="707"/>
                </a:lnTo>
                <a:lnTo>
                  <a:pt x="282" y="723"/>
                </a:lnTo>
                <a:lnTo>
                  <a:pt x="285" y="737"/>
                </a:lnTo>
                <a:lnTo>
                  <a:pt x="289" y="752"/>
                </a:lnTo>
                <a:lnTo>
                  <a:pt x="294" y="767"/>
                </a:lnTo>
                <a:lnTo>
                  <a:pt x="301" y="781"/>
                </a:lnTo>
                <a:lnTo>
                  <a:pt x="307" y="795"/>
                </a:lnTo>
                <a:lnTo>
                  <a:pt x="314" y="809"/>
                </a:lnTo>
                <a:lnTo>
                  <a:pt x="322" y="823"/>
                </a:lnTo>
                <a:lnTo>
                  <a:pt x="330" y="835"/>
                </a:lnTo>
                <a:lnTo>
                  <a:pt x="339" y="848"/>
                </a:lnTo>
                <a:lnTo>
                  <a:pt x="349" y="860"/>
                </a:lnTo>
                <a:lnTo>
                  <a:pt x="358" y="873"/>
                </a:lnTo>
                <a:lnTo>
                  <a:pt x="374" y="889"/>
                </a:lnTo>
                <a:lnTo>
                  <a:pt x="391" y="904"/>
                </a:lnTo>
                <a:lnTo>
                  <a:pt x="408" y="918"/>
                </a:lnTo>
                <a:lnTo>
                  <a:pt x="427" y="932"/>
                </a:lnTo>
                <a:lnTo>
                  <a:pt x="438" y="939"/>
                </a:lnTo>
                <a:lnTo>
                  <a:pt x="450" y="946"/>
                </a:lnTo>
                <a:lnTo>
                  <a:pt x="461" y="953"/>
                </a:lnTo>
                <a:lnTo>
                  <a:pt x="474" y="959"/>
                </a:lnTo>
                <a:lnTo>
                  <a:pt x="464" y="942"/>
                </a:lnTo>
                <a:lnTo>
                  <a:pt x="457" y="926"/>
                </a:lnTo>
                <a:lnTo>
                  <a:pt x="451" y="909"/>
                </a:lnTo>
                <a:lnTo>
                  <a:pt x="444" y="892"/>
                </a:lnTo>
                <a:lnTo>
                  <a:pt x="437" y="866"/>
                </a:lnTo>
                <a:lnTo>
                  <a:pt x="432" y="839"/>
                </a:lnTo>
                <a:lnTo>
                  <a:pt x="430" y="826"/>
                </a:lnTo>
                <a:lnTo>
                  <a:pt x="429" y="811"/>
                </a:lnTo>
                <a:lnTo>
                  <a:pt x="428" y="798"/>
                </a:lnTo>
                <a:lnTo>
                  <a:pt x="428" y="784"/>
                </a:lnTo>
                <a:lnTo>
                  <a:pt x="429" y="763"/>
                </a:lnTo>
                <a:lnTo>
                  <a:pt x="430" y="743"/>
                </a:lnTo>
                <a:lnTo>
                  <a:pt x="433" y="723"/>
                </a:lnTo>
                <a:lnTo>
                  <a:pt x="437" y="703"/>
                </a:lnTo>
                <a:lnTo>
                  <a:pt x="441" y="684"/>
                </a:lnTo>
                <a:lnTo>
                  <a:pt x="448" y="666"/>
                </a:lnTo>
                <a:lnTo>
                  <a:pt x="455" y="647"/>
                </a:lnTo>
                <a:lnTo>
                  <a:pt x="462" y="629"/>
                </a:lnTo>
                <a:lnTo>
                  <a:pt x="472" y="612"/>
                </a:lnTo>
                <a:lnTo>
                  <a:pt x="482" y="594"/>
                </a:lnTo>
                <a:lnTo>
                  <a:pt x="493" y="577"/>
                </a:lnTo>
                <a:lnTo>
                  <a:pt x="505" y="562"/>
                </a:lnTo>
                <a:lnTo>
                  <a:pt x="518" y="546"/>
                </a:lnTo>
                <a:lnTo>
                  <a:pt x="532" y="531"/>
                </a:lnTo>
                <a:lnTo>
                  <a:pt x="546" y="517"/>
                </a:lnTo>
                <a:lnTo>
                  <a:pt x="561" y="504"/>
                </a:lnTo>
                <a:lnTo>
                  <a:pt x="562" y="503"/>
                </a:lnTo>
                <a:lnTo>
                  <a:pt x="577" y="493"/>
                </a:lnTo>
                <a:lnTo>
                  <a:pt x="592" y="483"/>
                </a:lnTo>
                <a:lnTo>
                  <a:pt x="600" y="477"/>
                </a:lnTo>
                <a:lnTo>
                  <a:pt x="608" y="472"/>
                </a:lnTo>
                <a:lnTo>
                  <a:pt x="617" y="467"/>
                </a:lnTo>
                <a:lnTo>
                  <a:pt x="624" y="463"/>
                </a:lnTo>
                <a:lnTo>
                  <a:pt x="640" y="454"/>
                </a:lnTo>
                <a:lnTo>
                  <a:pt x="654" y="446"/>
                </a:lnTo>
                <a:lnTo>
                  <a:pt x="670" y="439"/>
                </a:lnTo>
                <a:lnTo>
                  <a:pt x="687" y="432"/>
                </a:lnTo>
                <a:lnTo>
                  <a:pt x="703" y="425"/>
                </a:lnTo>
                <a:lnTo>
                  <a:pt x="719" y="419"/>
                </a:lnTo>
                <a:lnTo>
                  <a:pt x="736" y="414"/>
                </a:lnTo>
                <a:lnTo>
                  <a:pt x="753" y="409"/>
                </a:lnTo>
                <a:lnTo>
                  <a:pt x="787" y="400"/>
                </a:lnTo>
                <a:lnTo>
                  <a:pt x="821" y="394"/>
                </a:lnTo>
                <a:lnTo>
                  <a:pt x="838" y="391"/>
                </a:lnTo>
                <a:lnTo>
                  <a:pt x="856" y="389"/>
                </a:lnTo>
                <a:lnTo>
                  <a:pt x="874" y="388"/>
                </a:lnTo>
                <a:lnTo>
                  <a:pt x="892" y="387"/>
                </a:lnTo>
                <a:lnTo>
                  <a:pt x="916" y="386"/>
                </a:lnTo>
                <a:lnTo>
                  <a:pt x="947" y="387"/>
                </a:lnTo>
                <a:lnTo>
                  <a:pt x="979" y="389"/>
                </a:lnTo>
                <a:lnTo>
                  <a:pt x="1009" y="393"/>
                </a:lnTo>
                <a:lnTo>
                  <a:pt x="1039" y="398"/>
                </a:lnTo>
                <a:close/>
                <a:moveTo>
                  <a:pt x="990" y="1316"/>
                </a:moveTo>
                <a:lnTo>
                  <a:pt x="1012" y="1307"/>
                </a:lnTo>
                <a:lnTo>
                  <a:pt x="1032" y="1299"/>
                </a:lnTo>
                <a:lnTo>
                  <a:pt x="1053" y="1289"/>
                </a:lnTo>
                <a:lnTo>
                  <a:pt x="1073" y="1278"/>
                </a:lnTo>
                <a:lnTo>
                  <a:pt x="1093" y="1268"/>
                </a:lnTo>
                <a:lnTo>
                  <a:pt x="1112" y="1255"/>
                </a:lnTo>
                <a:lnTo>
                  <a:pt x="1131" y="1243"/>
                </a:lnTo>
                <a:lnTo>
                  <a:pt x="1149" y="1230"/>
                </a:lnTo>
                <a:lnTo>
                  <a:pt x="1148" y="1229"/>
                </a:lnTo>
                <a:lnTo>
                  <a:pt x="1162" y="1219"/>
                </a:lnTo>
                <a:lnTo>
                  <a:pt x="1176" y="1206"/>
                </a:lnTo>
                <a:lnTo>
                  <a:pt x="1190" y="1193"/>
                </a:lnTo>
                <a:lnTo>
                  <a:pt x="1204" y="1179"/>
                </a:lnTo>
                <a:lnTo>
                  <a:pt x="1216" y="1164"/>
                </a:lnTo>
                <a:lnTo>
                  <a:pt x="1228" y="1149"/>
                </a:lnTo>
                <a:lnTo>
                  <a:pt x="1238" y="1133"/>
                </a:lnTo>
                <a:lnTo>
                  <a:pt x="1249" y="1116"/>
                </a:lnTo>
                <a:lnTo>
                  <a:pt x="1257" y="1098"/>
                </a:lnTo>
                <a:lnTo>
                  <a:pt x="1264" y="1082"/>
                </a:lnTo>
                <a:lnTo>
                  <a:pt x="1272" y="1064"/>
                </a:lnTo>
                <a:lnTo>
                  <a:pt x="1277" y="1046"/>
                </a:lnTo>
                <a:lnTo>
                  <a:pt x="1282" y="1028"/>
                </a:lnTo>
                <a:lnTo>
                  <a:pt x="1285" y="1009"/>
                </a:lnTo>
                <a:lnTo>
                  <a:pt x="1289" y="990"/>
                </a:lnTo>
                <a:lnTo>
                  <a:pt x="1291" y="970"/>
                </a:lnTo>
                <a:lnTo>
                  <a:pt x="1291" y="951"/>
                </a:lnTo>
                <a:lnTo>
                  <a:pt x="1291" y="933"/>
                </a:lnTo>
                <a:lnTo>
                  <a:pt x="1289" y="915"/>
                </a:lnTo>
                <a:lnTo>
                  <a:pt x="1286" y="898"/>
                </a:lnTo>
                <a:lnTo>
                  <a:pt x="1283" y="881"/>
                </a:lnTo>
                <a:lnTo>
                  <a:pt x="1280" y="863"/>
                </a:lnTo>
                <a:lnTo>
                  <a:pt x="1275" y="848"/>
                </a:lnTo>
                <a:lnTo>
                  <a:pt x="1270" y="831"/>
                </a:lnTo>
                <a:lnTo>
                  <a:pt x="1263" y="815"/>
                </a:lnTo>
                <a:lnTo>
                  <a:pt x="1256" y="800"/>
                </a:lnTo>
                <a:lnTo>
                  <a:pt x="1248" y="784"/>
                </a:lnTo>
                <a:lnTo>
                  <a:pt x="1238" y="769"/>
                </a:lnTo>
                <a:lnTo>
                  <a:pt x="1229" y="754"/>
                </a:lnTo>
                <a:lnTo>
                  <a:pt x="1218" y="741"/>
                </a:lnTo>
                <a:lnTo>
                  <a:pt x="1208" y="727"/>
                </a:lnTo>
                <a:lnTo>
                  <a:pt x="1196" y="713"/>
                </a:lnTo>
                <a:lnTo>
                  <a:pt x="1184" y="702"/>
                </a:lnTo>
                <a:lnTo>
                  <a:pt x="1169" y="687"/>
                </a:lnTo>
                <a:lnTo>
                  <a:pt x="1152" y="675"/>
                </a:lnTo>
                <a:lnTo>
                  <a:pt x="1148" y="671"/>
                </a:lnTo>
                <a:lnTo>
                  <a:pt x="1151" y="680"/>
                </a:lnTo>
                <a:lnTo>
                  <a:pt x="1153" y="690"/>
                </a:lnTo>
                <a:lnTo>
                  <a:pt x="1155" y="699"/>
                </a:lnTo>
                <a:lnTo>
                  <a:pt x="1158" y="708"/>
                </a:lnTo>
                <a:lnTo>
                  <a:pt x="1162" y="727"/>
                </a:lnTo>
                <a:lnTo>
                  <a:pt x="1164" y="746"/>
                </a:lnTo>
                <a:lnTo>
                  <a:pt x="1166" y="764"/>
                </a:lnTo>
                <a:lnTo>
                  <a:pt x="1166" y="784"/>
                </a:lnTo>
                <a:lnTo>
                  <a:pt x="1166" y="798"/>
                </a:lnTo>
                <a:lnTo>
                  <a:pt x="1165" y="813"/>
                </a:lnTo>
                <a:lnTo>
                  <a:pt x="1163" y="831"/>
                </a:lnTo>
                <a:lnTo>
                  <a:pt x="1159" y="850"/>
                </a:lnTo>
                <a:lnTo>
                  <a:pt x="1154" y="871"/>
                </a:lnTo>
                <a:lnTo>
                  <a:pt x="1149" y="891"/>
                </a:lnTo>
                <a:lnTo>
                  <a:pt x="1142" y="913"/>
                </a:lnTo>
                <a:lnTo>
                  <a:pt x="1133" y="935"/>
                </a:lnTo>
                <a:lnTo>
                  <a:pt x="1126" y="952"/>
                </a:lnTo>
                <a:lnTo>
                  <a:pt x="1118" y="967"/>
                </a:lnTo>
                <a:lnTo>
                  <a:pt x="1109" y="983"/>
                </a:lnTo>
                <a:lnTo>
                  <a:pt x="1100" y="999"/>
                </a:lnTo>
                <a:lnTo>
                  <a:pt x="1088" y="1015"/>
                </a:lnTo>
                <a:lnTo>
                  <a:pt x="1076" y="1031"/>
                </a:lnTo>
                <a:lnTo>
                  <a:pt x="1063" y="1045"/>
                </a:lnTo>
                <a:lnTo>
                  <a:pt x="1049" y="1061"/>
                </a:lnTo>
                <a:lnTo>
                  <a:pt x="1030" y="1079"/>
                </a:lnTo>
                <a:lnTo>
                  <a:pt x="1011" y="1094"/>
                </a:lnTo>
                <a:lnTo>
                  <a:pt x="992" y="1110"/>
                </a:lnTo>
                <a:lnTo>
                  <a:pt x="973" y="1125"/>
                </a:lnTo>
                <a:lnTo>
                  <a:pt x="953" y="1139"/>
                </a:lnTo>
                <a:lnTo>
                  <a:pt x="932" y="1151"/>
                </a:lnTo>
                <a:lnTo>
                  <a:pt x="911" y="1163"/>
                </a:lnTo>
                <a:lnTo>
                  <a:pt x="889" y="1174"/>
                </a:lnTo>
                <a:lnTo>
                  <a:pt x="866" y="1185"/>
                </a:lnTo>
                <a:lnTo>
                  <a:pt x="843" y="1193"/>
                </a:lnTo>
                <a:lnTo>
                  <a:pt x="819" y="1201"/>
                </a:lnTo>
                <a:lnTo>
                  <a:pt x="795" y="1209"/>
                </a:lnTo>
                <a:lnTo>
                  <a:pt x="771" y="1215"/>
                </a:lnTo>
                <a:lnTo>
                  <a:pt x="746" y="1221"/>
                </a:lnTo>
                <a:lnTo>
                  <a:pt x="719" y="1225"/>
                </a:lnTo>
                <a:lnTo>
                  <a:pt x="693" y="1229"/>
                </a:lnTo>
                <a:lnTo>
                  <a:pt x="686" y="1229"/>
                </a:lnTo>
                <a:lnTo>
                  <a:pt x="666" y="1230"/>
                </a:lnTo>
                <a:lnTo>
                  <a:pt x="635" y="1231"/>
                </a:lnTo>
                <a:lnTo>
                  <a:pt x="598" y="1230"/>
                </a:lnTo>
                <a:lnTo>
                  <a:pt x="576" y="1229"/>
                </a:lnTo>
                <a:lnTo>
                  <a:pt x="553" y="1227"/>
                </a:lnTo>
                <a:lnTo>
                  <a:pt x="528" y="1224"/>
                </a:lnTo>
                <a:lnTo>
                  <a:pt x="503" y="1220"/>
                </a:lnTo>
                <a:lnTo>
                  <a:pt x="477" y="1215"/>
                </a:lnTo>
                <a:lnTo>
                  <a:pt x="451" y="1208"/>
                </a:lnTo>
                <a:lnTo>
                  <a:pt x="424" y="1200"/>
                </a:lnTo>
                <a:lnTo>
                  <a:pt x="398" y="1191"/>
                </a:lnTo>
                <a:lnTo>
                  <a:pt x="411" y="1202"/>
                </a:lnTo>
                <a:lnTo>
                  <a:pt x="431" y="1219"/>
                </a:lnTo>
                <a:lnTo>
                  <a:pt x="452" y="1236"/>
                </a:lnTo>
                <a:lnTo>
                  <a:pt x="473" y="1250"/>
                </a:lnTo>
                <a:lnTo>
                  <a:pt x="495" y="1265"/>
                </a:lnTo>
                <a:lnTo>
                  <a:pt x="518" y="1277"/>
                </a:lnTo>
                <a:lnTo>
                  <a:pt x="542" y="1290"/>
                </a:lnTo>
                <a:lnTo>
                  <a:pt x="566" y="1301"/>
                </a:lnTo>
                <a:lnTo>
                  <a:pt x="590" y="1310"/>
                </a:lnTo>
                <a:lnTo>
                  <a:pt x="614" y="1320"/>
                </a:lnTo>
                <a:lnTo>
                  <a:pt x="640" y="1327"/>
                </a:lnTo>
                <a:lnTo>
                  <a:pt x="665" y="1333"/>
                </a:lnTo>
                <a:lnTo>
                  <a:pt x="690" y="1339"/>
                </a:lnTo>
                <a:lnTo>
                  <a:pt x="716" y="1343"/>
                </a:lnTo>
                <a:lnTo>
                  <a:pt x="743" y="1346"/>
                </a:lnTo>
                <a:lnTo>
                  <a:pt x="770" y="1348"/>
                </a:lnTo>
                <a:lnTo>
                  <a:pt x="797" y="1348"/>
                </a:lnTo>
                <a:lnTo>
                  <a:pt x="822" y="1348"/>
                </a:lnTo>
                <a:lnTo>
                  <a:pt x="848" y="1346"/>
                </a:lnTo>
                <a:lnTo>
                  <a:pt x="872" y="1344"/>
                </a:lnTo>
                <a:lnTo>
                  <a:pt x="897" y="1340"/>
                </a:lnTo>
                <a:lnTo>
                  <a:pt x="921" y="1335"/>
                </a:lnTo>
                <a:lnTo>
                  <a:pt x="944" y="1329"/>
                </a:lnTo>
                <a:lnTo>
                  <a:pt x="967" y="1323"/>
                </a:lnTo>
                <a:lnTo>
                  <a:pt x="990" y="1316"/>
                </a:lnTo>
                <a:close/>
                <a:moveTo>
                  <a:pt x="498" y="57"/>
                </a:moveTo>
                <a:lnTo>
                  <a:pt x="533" y="45"/>
                </a:lnTo>
                <a:lnTo>
                  <a:pt x="568" y="33"/>
                </a:lnTo>
                <a:lnTo>
                  <a:pt x="605" y="23"/>
                </a:lnTo>
                <a:lnTo>
                  <a:pt x="642" y="16"/>
                </a:lnTo>
                <a:lnTo>
                  <a:pt x="680" y="8"/>
                </a:lnTo>
                <a:lnTo>
                  <a:pt x="718" y="4"/>
                </a:lnTo>
                <a:lnTo>
                  <a:pt x="757" y="1"/>
                </a:lnTo>
                <a:lnTo>
                  <a:pt x="797" y="0"/>
                </a:lnTo>
                <a:lnTo>
                  <a:pt x="838" y="1"/>
                </a:lnTo>
                <a:lnTo>
                  <a:pt x="878" y="4"/>
                </a:lnTo>
                <a:lnTo>
                  <a:pt x="918" y="9"/>
                </a:lnTo>
                <a:lnTo>
                  <a:pt x="958" y="17"/>
                </a:lnTo>
                <a:lnTo>
                  <a:pt x="996" y="25"/>
                </a:lnTo>
                <a:lnTo>
                  <a:pt x="1033" y="35"/>
                </a:lnTo>
                <a:lnTo>
                  <a:pt x="1070" y="48"/>
                </a:lnTo>
                <a:lnTo>
                  <a:pt x="1107" y="62"/>
                </a:lnTo>
                <a:lnTo>
                  <a:pt x="1143" y="78"/>
                </a:lnTo>
                <a:lnTo>
                  <a:pt x="1176" y="95"/>
                </a:lnTo>
                <a:lnTo>
                  <a:pt x="1210" y="113"/>
                </a:lnTo>
                <a:lnTo>
                  <a:pt x="1242" y="134"/>
                </a:lnTo>
                <a:lnTo>
                  <a:pt x="1274" y="156"/>
                </a:lnTo>
                <a:lnTo>
                  <a:pt x="1303" y="179"/>
                </a:lnTo>
                <a:lnTo>
                  <a:pt x="1333" y="204"/>
                </a:lnTo>
                <a:lnTo>
                  <a:pt x="1360" y="230"/>
                </a:lnTo>
                <a:lnTo>
                  <a:pt x="1386" y="257"/>
                </a:lnTo>
                <a:lnTo>
                  <a:pt x="1411" y="285"/>
                </a:lnTo>
                <a:lnTo>
                  <a:pt x="1436" y="315"/>
                </a:lnTo>
                <a:lnTo>
                  <a:pt x="1458" y="345"/>
                </a:lnTo>
                <a:lnTo>
                  <a:pt x="1479" y="378"/>
                </a:lnTo>
                <a:lnTo>
                  <a:pt x="1498" y="411"/>
                </a:lnTo>
                <a:lnTo>
                  <a:pt x="1515" y="444"/>
                </a:lnTo>
                <a:lnTo>
                  <a:pt x="1531" y="478"/>
                </a:lnTo>
                <a:lnTo>
                  <a:pt x="1545" y="515"/>
                </a:lnTo>
                <a:lnTo>
                  <a:pt x="1557" y="551"/>
                </a:lnTo>
                <a:lnTo>
                  <a:pt x="1569" y="588"/>
                </a:lnTo>
                <a:lnTo>
                  <a:pt x="1577" y="626"/>
                </a:lnTo>
                <a:lnTo>
                  <a:pt x="1585" y="665"/>
                </a:lnTo>
                <a:lnTo>
                  <a:pt x="1590" y="704"/>
                </a:lnTo>
                <a:lnTo>
                  <a:pt x="1592" y="744"/>
                </a:lnTo>
                <a:lnTo>
                  <a:pt x="1593" y="784"/>
                </a:lnTo>
                <a:lnTo>
                  <a:pt x="1593" y="804"/>
                </a:lnTo>
                <a:lnTo>
                  <a:pt x="1592" y="825"/>
                </a:lnTo>
                <a:lnTo>
                  <a:pt x="1591" y="845"/>
                </a:lnTo>
                <a:lnTo>
                  <a:pt x="1589" y="864"/>
                </a:lnTo>
                <a:lnTo>
                  <a:pt x="1585" y="904"/>
                </a:lnTo>
                <a:lnTo>
                  <a:pt x="1577" y="943"/>
                </a:lnTo>
                <a:lnTo>
                  <a:pt x="1568" y="981"/>
                </a:lnTo>
                <a:lnTo>
                  <a:pt x="1557" y="1018"/>
                </a:lnTo>
                <a:lnTo>
                  <a:pt x="1545" y="1056"/>
                </a:lnTo>
                <a:lnTo>
                  <a:pt x="1530" y="1091"/>
                </a:lnTo>
                <a:lnTo>
                  <a:pt x="1513" y="1127"/>
                </a:lnTo>
                <a:lnTo>
                  <a:pt x="1494" y="1162"/>
                </a:lnTo>
                <a:lnTo>
                  <a:pt x="1474" y="1196"/>
                </a:lnTo>
                <a:lnTo>
                  <a:pt x="1452" y="1228"/>
                </a:lnTo>
                <a:lnTo>
                  <a:pt x="1429" y="1260"/>
                </a:lnTo>
                <a:lnTo>
                  <a:pt x="1404" y="1290"/>
                </a:lnTo>
                <a:lnTo>
                  <a:pt x="1378" y="1319"/>
                </a:lnTo>
                <a:lnTo>
                  <a:pt x="1351" y="1347"/>
                </a:lnTo>
                <a:lnTo>
                  <a:pt x="1347" y="1350"/>
                </a:lnTo>
                <a:lnTo>
                  <a:pt x="1321" y="1373"/>
                </a:lnTo>
                <a:lnTo>
                  <a:pt x="1294" y="1396"/>
                </a:lnTo>
                <a:lnTo>
                  <a:pt x="1267" y="1417"/>
                </a:lnTo>
                <a:lnTo>
                  <a:pt x="1237" y="1436"/>
                </a:lnTo>
                <a:lnTo>
                  <a:pt x="1208" y="1455"/>
                </a:lnTo>
                <a:lnTo>
                  <a:pt x="1177" y="1472"/>
                </a:lnTo>
                <a:lnTo>
                  <a:pt x="1147" y="1487"/>
                </a:lnTo>
                <a:lnTo>
                  <a:pt x="1115" y="1502"/>
                </a:lnTo>
                <a:lnTo>
                  <a:pt x="1113" y="1503"/>
                </a:lnTo>
                <a:lnTo>
                  <a:pt x="1075" y="1517"/>
                </a:lnTo>
                <a:lnTo>
                  <a:pt x="1038" y="1531"/>
                </a:lnTo>
                <a:lnTo>
                  <a:pt x="1018" y="1536"/>
                </a:lnTo>
                <a:lnTo>
                  <a:pt x="998" y="1541"/>
                </a:lnTo>
                <a:lnTo>
                  <a:pt x="978" y="1547"/>
                </a:lnTo>
                <a:lnTo>
                  <a:pt x="958" y="1551"/>
                </a:lnTo>
                <a:lnTo>
                  <a:pt x="939" y="1555"/>
                </a:lnTo>
                <a:lnTo>
                  <a:pt x="919" y="1558"/>
                </a:lnTo>
                <a:lnTo>
                  <a:pt x="899" y="1561"/>
                </a:lnTo>
                <a:lnTo>
                  <a:pt x="878" y="1563"/>
                </a:lnTo>
                <a:lnTo>
                  <a:pt x="858" y="1564"/>
                </a:lnTo>
                <a:lnTo>
                  <a:pt x="838" y="1566"/>
                </a:lnTo>
                <a:lnTo>
                  <a:pt x="817" y="1566"/>
                </a:lnTo>
                <a:lnTo>
                  <a:pt x="797" y="1567"/>
                </a:lnTo>
                <a:lnTo>
                  <a:pt x="756" y="1566"/>
                </a:lnTo>
                <a:lnTo>
                  <a:pt x="715" y="1563"/>
                </a:lnTo>
                <a:lnTo>
                  <a:pt x="675" y="1558"/>
                </a:lnTo>
                <a:lnTo>
                  <a:pt x="637" y="1551"/>
                </a:lnTo>
                <a:lnTo>
                  <a:pt x="598" y="1542"/>
                </a:lnTo>
                <a:lnTo>
                  <a:pt x="560" y="1532"/>
                </a:lnTo>
                <a:lnTo>
                  <a:pt x="523" y="1520"/>
                </a:lnTo>
                <a:lnTo>
                  <a:pt x="486" y="1505"/>
                </a:lnTo>
                <a:lnTo>
                  <a:pt x="452" y="1489"/>
                </a:lnTo>
                <a:lnTo>
                  <a:pt x="417" y="1473"/>
                </a:lnTo>
                <a:lnTo>
                  <a:pt x="383" y="1454"/>
                </a:lnTo>
                <a:lnTo>
                  <a:pt x="351" y="1433"/>
                </a:lnTo>
                <a:lnTo>
                  <a:pt x="320" y="1411"/>
                </a:lnTo>
                <a:lnTo>
                  <a:pt x="290" y="1388"/>
                </a:lnTo>
                <a:lnTo>
                  <a:pt x="261" y="1364"/>
                </a:lnTo>
                <a:lnTo>
                  <a:pt x="233" y="1338"/>
                </a:lnTo>
                <a:lnTo>
                  <a:pt x="207" y="1310"/>
                </a:lnTo>
                <a:lnTo>
                  <a:pt x="182" y="1282"/>
                </a:lnTo>
                <a:lnTo>
                  <a:pt x="159" y="1252"/>
                </a:lnTo>
                <a:lnTo>
                  <a:pt x="136" y="1222"/>
                </a:lnTo>
                <a:lnTo>
                  <a:pt x="116" y="1190"/>
                </a:lnTo>
                <a:lnTo>
                  <a:pt x="96" y="1157"/>
                </a:lnTo>
                <a:lnTo>
                  <a:pt x="79" y="1123"/>
                </a:lnTo>
                <a:lnTo>
                  <a:pt x="62" y="1089"/>
                </a:lnTo>
                <a:lnTo>
                  <a:pt x="49" y="1053"/>
                </a:lnTo>
                <a:lnTo>
                  <a:pt x="36" y="1016"/>
                </a:lnTo>
                <a:lnTo>
                  <a:pt x="25" y="980"/>
                </a:lnTo>
                <a:lnTo>
                  <a:pt x="16" y="941"/>
                </a:lnTo>
                <a:lnTo>
                  <a:pt x="9" y="903"/>
                </a:lnTo>
                <a:lnTo>
                  <a:pt x="4" y="864"/>
                </a:lnTo>
                <a:lnTo>
                  <a:pt x="1" y="824"/>
                </a:lnTo>
                <a:lnTo>
                  <a:pt x="0" y="784"/>
                </a:lnTo>
                <a:lnTo>
                  <a:pt x="0" y="762"/>
                </a:lnTo>
                <a:lnTo>
                  <a:pt x="1" y="741"/>
                </a:lnTo>
                <a:lnTo>
                  <a:pt x="2" y="719"/>
                </a:lnTo>
                <a:lnTo>
                  <a:pt x="4" y="698"/>
                </a:lnTo>
                <a:lnTo>
                  <a:pt x="8" y="677"/>
                </a:lnTo>
                <a:lnTo>
                  <a:pt x="11" y="656"/>
                </a:lnTo>
                <a:lnTo>
                  <a:pt x="14" y="635"/>
                </a:lnTo>
                <a:lnTo>
                  <a:pt x="18" y="615"/>
                </a:lnTo>
                <a:lnTo>
                  <a:pt x="23" y="594"/>
                </a:lnTo>
                <a:lnTo>
                  <a:pt x="30" y="573"/>
                </a:lnTo>
                <a:lnTo>
                  <a:pt x="35" y="552"/>
                </a:lnTo>
                <a:lnTo>
                  <a:pt x="42" y="532"/>
                </a:lnTo>
                <a:lnTo>
                  <a:pt x="50" y="512"/>
                </a:lnTo>
                <a:lnTo>
                  <a:pt x="57" y="492"/>
                </a:lnTo>
                <a:lnTo>
                  <a:pt x="65" y="473"/>
                </a:lnTo>
                <a:lnTo>
                  <a:pt x="74" y="453"/>
                </a:lnTo>
                <a:lnTo>
                  <a:pt x="80" y="442"/>
                </a:lnTo>
                <a:lnTo>
                  <a:pt x="86" y="430"/>
                </a:lnTo>
                <a:lnTo>
                  <a:pt x="93" y="418"/>
                </a:lnTo>
                <a:lnTo>
                  <a:pt x="99" y="406"/>
                </a:lnTo>
                <a:lnTo>
                  <a:pt x="103" y="397"/>
                </a:lnTo>
                <a:lnTo>
                  <a:pt x="108" y="390"/>
                </a:lnTo>
                <a:lnTo>
                  <a:pt x="113" y="382"/>
                </a:lnTo>
                <a:lnTo>
                  <a:pt x="118" y="374"/>
                </a:lnTo>
                <a:lnTo>
                  <a:pt x="127" y="359"/>
                </a:lnTo>
                <a:lnTo>
                  <a:pt x="148" y="329"/>
                </a:lnTo>
                <a:lnTo>
                  <a:pt x="162" y="311"/>
                </a:lnTo>
                <a:lnTo>
                  <a:pt x="176" y="294"/>
                </a:lnTo>
                <a:lnTo>
                  <a:pt x="189" y="278"/>
                </a:lnTo>
                <a:lnTo>
                  <a:pt x="204" y="260"/>
                </a:lnTo>
                <a:lnTo>
                  <a:pt x="214" y="250"/>
                </a:lnTo>
                <a:lnTo>
                  <a:pt x="224" y="239"/>
                </a:lnTo>
                <a:lnTo>
                  <a:pt x="234" y="229"/>
                </a:lnTo>
                <a:lnTo>
                  <a:pt x="245" y="218"/>
                </a:lnTo>
                <a:lnTo>
                  <a:pt x="245" y="218"/>
                </a:lnTo>
                <a:lnTo>
                  <a:pt x="273" y="193"/>
                </a:lnTo>
                <a:lnTo>
                  <a:pt x="302" y="169"/>
                </a:lnTo>
                <a:lnTo>
                  <a:pt x="332" y="148"/>
                </a:lnTo>
                <a:lnTo>
                  <a:pt x="364" y="127"/>
                </a:lnTo>
                <a:lnTo>
                  <a:pt x="395" y="107"/>
                </a:lnTo>
                <a:lnTo>
                  <a:pt x="429" y="88"/>
                </a:lnTo>
                <a:lnTo>
                  <a:pt x="462" y="73"/>
                </a:lnTo>
                <a:lnTo>
                  <a:pt x="498" y="57"/>
                </a:lnTo>
                <a:close/>
                <a:moveTo>
                  <a:pt x="7855" y="643"/>
                </a:moveTo>
                <a:lnTo>
                  <a:pt x="7700" y="643"/>
                </a:lnTo>
                <a:lnTo>
                  <a:pt x="7700" y="501"/>
                </a:lnTo>
                <a:lnTo>
                  <a:pt x="7855" y="501"/>
                </a:lnTo>
                <a:lnTo>
                  <a:pt x="7855" y="643"/>
                </a:lnTo>
                <a:close/>
                <a:moveTo>
                  <a:pt x="5599" y="643"/>
                </a:moveTo>
                <a:lnTo>
                  <a:pt x="5444" y="643"/>
                </a:lnTo>
                <a:lnTo>
                  <a:pt x="5444" y="501"/>
                </a:lnTo>
                <a:lnTo>
                  <a:pt x="5599" y="501"/>
                </a:lnTo>
                <a:lnTo>
                  <a:pt x="5599" y="643"/>
                </a:lnTo>
                <a:close/>
                <a:moveTo>
                  <a:pt x="15107" y="953"/>
                </a:moveTo>
                <a:lnTo>
                  <a:pt x="15107" y="828"/>
                </a:lnTo>
                <a:lnTo>
                  <a:pt x="15033" y="828"/>
                </a:lnTo>
                <a:lnTo>
                  <a:pt x="15024" y="828"/>
                </a:lnTo>
                <a:lnTo>
                  <a:pt x="15014" y="829"/>
                </a:lnTo>
                <a:lnTo>
                  <a:pt x="15007" y="830"/>
                </a:lnTo>
                <a:lnTo>
                  <a:pt x="14999" y="832"/>
                </a:lnTo>
                <a:lnTo>
                  <a:pt x="14993" y="834"/>
                </a:lnTo>
                <a:lnTo>
                  <a:pt x="14988" y="837"/>
                </a:lnTo>
                <a:lnTo>
                  <a:pt x="14983" y="840"/>
                </a:lnTo>
                <a:lnTo>
                  <a:pt x="14980" y="843"/>
                </a:lnTo>
                <a:lnTo>
                  <a:pt x="14976" y="848"/>
                </a:lnTo>
                <a:lnTo>
                  <a:pt x="14973" y="853"/>
                </a:lnTo>
                <a:lnTo>
                  <a:pt x="14971" y="858"/>
                </a:lnTo>
                <a:lnTo>
                  <a:pt x="14969" y="864"/>
                </a:lnTo>
                <a:lnTo>
                  <a:pt x="14967" y="878"/>
                </a:lnTo>
                <a:lnTo>
                  <a:pt x="14966" y="894"/>
                </a:lnTo>
                <a:lnTo>
                  <a:pt x="14967" y="906"/>
                </a:lnTo>
                <a:lnTo>
                  <a:pt x="14969" y="917"/>
                </a:lnTo>
                <a:lnTo>
                  <a:pt x="14972" y="927"/>
                </a:lnTo>
                <a:lnTo>
                  <a:pt x="14978" y="936"/>
                </a:lnTo>
                <a:lnTo>
                  <a:pt x="14982" y="939"/>
                </a:lnTo>
                <a:lnTo>
                  <a:pt x="14987" y="943"/>
                </a:lnTo>
                <a:lnTo>
                  <a:pt x="14992" y="945"/>
                </a:lnTo>
                <a:lnTo>
                  <a:pt x="14999" y="949"/>
                </a:lnTo>
                <a:lnTo>
                  <a:pt x="15008" y="950"/>
                </a:lnTo>
                <a:lnTo>
                  <a:pt x="15017" y="952"/>
                </a:lnTo>
                <a:lnTo>
                  <a:pt x="15029" y="952"/>
                </a:lnTo>
                <a:lnTo>
                  <a:pt x="15040" y="953"/>
                </a:lnTo>
                <a:lnTo>
                  <a:pt x="15107" y="953"/>
                </a:lnTo>
                <a:close/>
                <a:moveTo>
                  <a:pt x="15107" y="1256"/>
                </a:moveTo>
                <a:lnTo>
                  <a:pt x="15107" y="1058"/>
                </a:lnTo>
                <a:lnTo>
                  <a:pt x="15030" y="1058"/>
                </a:lnTo>
                <a:lnTo>
                  <a:pt x="14938" y="1256"/>
                </a:lnTo>
                <a:lnTo>
                  <a:pt x="14766" y="1256"/>
                </a:lnTo>
                <a:lnTo>
                  <a:pt x="14889" y="1027"/>
                </a:lnTo>
                <a:lnTo>
                  <a:pt x="14879" y="1021"/>
                </a:lnTo>
                <a:lnTo>
                  <a:pt x="14869" y="1016"/>
                </a:lnTo>
                <a:lnTo>
                  <a:pt x="14860" y="1010"/>
                </a:lnTo>
                <a:lnTo>
                  <a:pt x="14851" y="1003"/>
                </a:lnTo>
                <a:lnTo>
                  <a:pt x="14844" y="996"/>
                </a:lnTo>
                <a:lnTo>
                  <a:pt x="14837" y="989"/>
                </a:lnTo>
                <a:lnTo>
                  <a:pt x="14830" y="982"/>
                </a:lnTo>
                <a:lnTo>
                  <a:pt x="14825" y="973"/>
                </a:lnTo>
                <a:lnTo>
                  <a:pt x="14820" y="965"/>
                </a:lnTo>
                <a:lnTo>
                  <a:pt x="14816" y="956"/>
                </a:lnTo>
                <a:lnTo>
                  <a:pt x="14812" y="947"/>
                </a:lnTo>
                <a:lnTo>
                  <a:pt x="14809" y="937"/>
                </a:lnTo>
                <a:lnTo>
                  <a:pt x="14806" y="928"/>
                </a:lnTo>
                <a:lnTo>
                  <a:pt x="14805" y="917"/>
                </a:lnTo>
                <a:lnTo>
                  <a:pt x="14804" y="907"/>
                </a:lnTo>
                <a:lnTo>
                  <a:pt x="14803" y="895"/>
                </a:lnTo>
                <a:lnTo>
                  <a:pt x="14804" y="880"/>
                </a:lnTo>
                <a:lnTo>
                  <a:pt x="14806" y="864"/>
                </a:lnTo>
                <a:lnTo>
                  <a:pt x="14809" y="850"/>
                </a:lnTo>
                <a:lnTo>
                  <a:pt x="14815" y="835"/>
                </a:lnTo>
                <a:lnTo>
                  <a:pt x="14820" y="821"/>
                </a:lnTo>
                <a:lnTo>
                  <a:pt x="14827" y="807"/>
                </a:lnTo>
                <a:lnTo>
                  <a:pt x="14837" y="794"/>
                </a:lnTo>
                <a:lnTo>
                  <a:pt x="14846" y="781"/>
                </a:lnTo>
                <a:lnTo>
                  <a:pt x="14852" y="775"/>
                </a:lnTo>
                <a:lnTo>
                  <a:pt x="14859" y="770"/>
                </a:lnTo>
                <a:lnTo>
                  <a:pt x="14865" y="764"/>
                </a:lnTo>
                <a:lnTo>
                  <a:pt x="14872" y="759"/>
                </a:lnTo>
                <a:lnTo>
                  <a:pt x="14881" y="755"/>
                </a:lnTo>
                <a:lnTo>
                  <a:pt x="14890" y="751"/>
                </a:lnTo>
                <a:lnTo>
                  <a:pt x="14900" y="748"/>
                </a:lnTo>
                <a:lnTo>
                  <a:pt x="14909" y="744"/>
                </a:lnTo>
                <a:lnTo>
                  <a:pt x="14931" y="738"/>
                </a:lnTo>
                <a:lnTo>
                  <a:pt x="14955" y="734"/>
                </a:lnTo>
                <a:lnTo>
                  <a:pt x="14983" y="732"/>
                </a:lnTo>
                <a:lnTo>
                  <a:pt x="15012" y="731"/>
                </a:lnTo>
                <a:lnTo>
                  <a:pt x="15276" y="731"/>
                </a:lnTo>
                <a:lnTo>
                  <a:pt x="15276" y="1256"/>
                </a:lnTo>
                <a:lnTo>
                  <a:pt x="15107" y="1256"/>
                </a:lnTo>
                <a:close/>
                <a:moveTo>
                  <a:pt x="14398" y="1194"/>
                </a:moveTo>
                <a:lnTo>
                  <a:pt x="14398" y="1256"/>
                </a:lnTo>
                <a:lnTo>
                  <a:pt x="14230" y="1256"/>
                </a:lnTo>
                <a:lnTo>
                  <a:pt x="14230" y="731"/>
                </a:lnTo>
                <a:lnTo>
                  <a:pt x="14398" y="731"/>
                </a:lnTo>
                <a:lnTo>
                  <a:pt x="14398" y="984"/>
                </a:lnTo>
                <a:lnTo>
                  <a:pt x="14534" y="799"/>
                </a:lnTo>
                <a:lnTo>
                  <a:pt x="14534" y="731"/>
                </a:lnTo>
                <a:lnTo>
                  <a:pt x="14703" y="731"/>
                </a:lnTo>
                <a:lnTo>
                  <a:pt x="14703" y="1256"/>
                </a:lnTo>
                <a:lnTo>
                  <a:pt x="14534" y="1256"/>
                </a:lnTo>
                <a:lnTo>
                  <a:pt x="14534" y="1012"/>
                </a:lnTo>
                <a:lnTo>
                  <a:pt x="14507" y="1051"/>
                </a:lnTo>
                <a:lnTo>
                  <a:pt x="14398" y="1194"/>
                </a:lnTo>
                <a:close/>
                <a:moveTo>
                  <a:pt x="13724" y="731"/>
                </a:moveTo>
                <a:lnTo>
                  <a:pt x="14177" y="731"/>
                </a:lnTo>
                <a:lnTo>
                  <a:pt x="14177" y="850"/>
                </a:lnTo>
                <a:lnTo>
                  <a:pt x="14035" y="850"/>
                </a:lnTo>
                <a:lnTo>
                  <a:pt x="14035" y="1256"/>
                </a:lnTo>
                <a:lnTo>
                  <a:pt x="13867" y="1256"/>
                </a:lnTo>
                <a:lnTo>
                  <a:pt x="13867" y="850"/>
                </a:lnTo>
                <a:lnTo>
                  <a:pt x="13724" y="850"/>
                </a:lnTo>
                <a:lnTo>
                  <a:pt x="13724" y="731"/>
                </a:lnTo>
                <a:close/>
                <a:moveTo>
                  <a:pt x="13374" y="1194"/>
                </a:moveTo>
                <a:lnTo>
                  <a:pt x="13374" y="1256"/>
                </a:lnTo>
                <a:lnTo>
                  <a:pt x="13205" y="1256"/>
                </a:lnTo>
                <a:lnTo>
                  <a:pt x="13205" y="731"/>
                </a:lnTo>
                <a:lnTo>
                  <a:pt x="13374" y="731"/>
                </a:lnTo>
                <a:lnTo>
                  <a:pt x="13373" y="984"/>
                </a:lnTo>
                <a:lnTo>
                  <a:pt x="13511" y="799"/>
                </a:lnTo>
                <a:lnTo>
                  <a:pt x="13511" y="731"/>
                </a:lnTo>
                <a:lnTo>
                  <a:pt x="13680" y="731"/>
                </a:lnTo>
                <a:lnTo>
                  <a:pt x="13680" y="1256"/>
                </a:lnTo>
                <a:lnTo>
                  <a:pt x="13511" y="1256"/>
                </a:lnTo>
                <a:lnTo>
                  <a:pt x="13511" y="1012"/>
                </a:lnTo>
                <a:lnTo>
                  <a:pt x="13483" y="1051"/>
                </a:lnTo>
                <a:lnTo>
                  <a:pt x="13374" y="1194"/>
                </a:lnTo>
                <a:close/>
                <a:moveTo>
                  <a:pt x="12800" y="1143"/>
                </a:moveTo>
                <a:lnTo>
                  <a:pt x="12901" y="1143"/>
                </a:lnTo>
                <a:lnTo>
                  <a:pt x="12909" y="1143"/>
                </a:lnTo>
                <a:lnTo>
                  <a:pt x="12917" y="1142"/>
                </a:lnTo>
                <a:lnTo>
                  <a:pt x="12924" y="1141"/>
                </a:lnTo>
                <a:lnTo>
                  <a:pt x="12930" y="1139"/>
                </a:lnTo>
                <a:lnTo>
                  <a:pt x="12935" y="1138"/>
                </a:lnTo>
                <a:lnTo>
                  <a:pt x="12940" y="1135"/>
                </a:lnTo>
                <a:lnTo>
                  <a:pt x="12945" y="1132"/>
                </a:lnTo>
                <a:lnTo>
                  <a:pt x="12948" y="1128"/>
                </a:lnTo>
                <a:lnTo>
                  <a:pt x="12951" y="1124"/>
                </a:lnTo>
                <a:lnTo>
                  <a:pt x="12953" y="1120"/>
                </a:lnTo>
                <a:lnTo>
                  <a:pt x="12955" y="1116"/>
                </a:lnTo>
                <a:lnTo>
                  <a:pt x="12957" y="1111"/>
                </a:lnTo>
                <a:lnTo>
                  <a:pt x="12959" y="1098"/>
                </a:lnTo>
                <a:lnTo>
                  <a:pt x="12960" y="1085"/>
                </a:lnTo>
                <a:lnTo>
                  <a:pt x="12959" y="1071"/>
                </a:lnTo>
                <a:lnTo>
                  <a:pt x="12957" y="1059"/>
                </a:lnTo>
                <a:lnTo>
                  <a:pt x="12955" y="1054"/>
                </a:lnTo>
                <a:lnTo>
                  <a:pt x="12953" y="1049"/>
                </a:lnTo>
                <a:lnTo>
                  <a:pt x="12950" y="1044"/>
                </a:lnTo>
                <a:lnTo>
                  <a:pt x="12947" y="1041"/>
                </a:lnTo>
                <a:lnTo>
                  <a:pt x="12944" y="1037"/>
                </a:lnTo>
                <a:lnTo>
                  <a:pt x="12939" y="1034"/>
                </a:lnTo>
                <a:lnTo>
                  <a:pt x="12935" y="1031"/>
                </a:lnTo>
                <a:lnTo>
                  <a:pt x="12929" y="1029"/>
                </a:lnTo>
                <a:lnTo>
                  <a:pt x="12924" y="1028"/>
                </a:lnTo>
                <a:lnTo>
                  <a:pt x="12916" y="1027"/>
                </a:lnTo>
                <a:lnTo>
                  <a:pt x="12909" y="1025"/>
                </a:lnTo>
                <a:lnTo>
                  <a:pt x="12901" y="1025"/>
                </a:lnTo>
                <a:lnTo>
                  <a:pt x="12800" y="1025"/>
                </a:lnTo>
                <a:lnTo>
                  <a:pt x="12800" y="1143"/>
                </a:lnTo>
                <a:close/>
                <a:moveTo>
                  <a:pt x="12800" y="935"/>
                </a:moveTo>
                <a:lnTo>
                  <a:pt x="12893" y="935"/>
                </a:lnTo>
                <a:lnTo>
                  <a:pt x="12907" y="935"/>
                </a:lnTo>
                <a:lnTo>
                  <a:pt x="12918" y="933"/>
                </a:lnTo>
                <a:lnTo>
                  <a:pt x="12928" y="929"/>
                </a:lnTo>
                <a:lnTo>
                  <a:pt x="12936" y="925"/>
                </a:lnTo>
                <a:lnTo>
                  <a:pt x="12939" y="921"/>
                </a:lnTo>
                <a:lnTo>
                  <a:pt x="12941" y="917"/>
                </a:lnTo>
                <a:lnTo>
                  <a:pt x="12944" y="913"/>
                </a:lnTo>
                <a:lnTo>
                  <a:pt x="12946" y="908"/>
                </a:lnTo>
                <a:lnTo>
                  <a:pt x="12949" y="898"/>
                </a:lnTo>
                <a:lnTo>
                  <a:pt x="12949" y="884"/>
                </a:lnTo>
                <a:lnTo>
                  <a:pt x="12949" y="873"/>
                </a:lnTo>
                <a:lnTo>
                  <a:pt x="12947" y="863"/>
                </a:lnTo>
                <a:lnTo>
                  <a:pt x="12945" y="854"/>
                </a:lnTo>
                <a:lnTo>
                  <a:pt x="12940" y="846"/>
                </a:lnTo>
                <a:lnTo>
                  <a:pt x="12938" y="841"/>
                </a:lnTo>
                <a:lnTo>
                  <a:pt x="12934" y="837"/>
                </a:lnTo>
                <a:lnTo>
                  <a:pt x="12930" y="835"/>
                </a:lnTo>
                <a:lnTo>
                  <a:pt x="12925" y="832"/>
                </a:lnTo>
                <a:lnTo>
                  <a:pt x="12918" y="830"/>
                </a:lnTo>
                <a:lnTo>
                  <a:pt x="12911" y="829"/>
                </a:lnTo>
                <a:lnTo>
                  <a:pt x="12902" y="828"/>
                </a:lnTo>
                <a:lnTo>
                  <a:pt x="12893" y="828"/>
                </a:lnTo>
                <a:lnTo>
                  <a:pt x="12800" y="828"/>
                </a:lnTo>
                <a:lnTo>
                  <a:pt x="12800" y="935"/>
                </a:lnTo>
                <a:close/>
                <a:moveTo>
                  <a:pt x="12620" y="1256"/>
                </a:moveTo>
                <a:lnTo>
                  <a:pt x="12620" y="731"/>
                </a:lnTo>
                <a:lnTo>
                  <a:pt x="12927" y="731"/>
                </a:lnTo>
                <a:lnTo>
                  <a:pt x="12954" y="732"/>
                </a:lnTo>
                <a:lnTo>
                  <a:pt x="12978" y="734"/>
                </a:lnTo>
                <a:lnTo>
                  <a:pt x="12999" y="737"/>
                </a:lnTo>
                <a:lnTo>
                  <a:pt x="13017" y="743"/>
                </a:lnTo>
                <a:lnTo>
                  <a:pt x="13025" y="746"/>
                </a:lnTo>
                <a:lnTo>
                  <a:pt x="13034" y="749"/>
                </a:lnTo>
                <a:lnTo>
                  <a:pt x="13042" y="753"/>
                </a:lnTo>
                <a:lnTo>
                  <a:pt x="13050" y="758"/>
                </a:lnTo>
                <a:lnTo>
                  <a:pt x="13057" y="764"/>
                </a:lnTo>
                <a:lnTo>
                  <a:pt x="13064" y="771"/>
                </a:lnTo>
                <a:lnTo>
                  <a:pt x="13072" y="778"/>
                </a:lnTo>
                <a:lnTo>
                  <a:pt x="13078" y="786"/>
                </a:lnTo>
                <a:lnTo>
                  <a:pt x="13084" y="795"/>
                </a:lnTo>
                <a:lnTo>
                  <a:pt x="13090" y="804"/>
                </a:lnTo>
                <a:lnTo>
                  <a:pt x="13095" y="813"/>
                </a:lnTo>
                <a:lnTo>
                  <a:pt x="13098" y="823"/>
                </a:lnTo>
                <a:lnTo>
                  <a:pt x="13101" y="833"/>
                </a:lnTo>
                <a:lnTo>
                  <a:pt x="13103" y="843"/>
                </a:lnTo>
                <a:lnTo>
                  <a:pt x="13104" y="854"/>
                </a:lnTo>
                <a:lnTo>
                  <a:pt x="13105" y="865"/>
                </a:lnTo>
                <a:lnTo>
                  <a:pt x="13104" y="874"/>
                </a:lnTo>
                <a:lnTo>
                  <a:pt x="13103" y="883"/>
                </a:lnTo>
                <a:lnTo>
                  <a:pt x="13102" y="891"/>
                </a:lnTo>
                <a:lnTo>
                  <a:pt x="13100" y="900"/>
                </a:lnTo>
                <a:lnTo>
                  <a:pt x="13097" y="907"/>
                </a:lnTo>
                <a:lnTo>
                  <a:pt x="13094" y="914"/>
                </a:lnTo>
                <a:lnTo>
                  <a:pt x="13091" y="921"/>
                </a:lnTo>
                <a:lnTo>
                  <a:pt x="13085" y="929"/>
                </a:lnTo>
                <a:lnTo>
                  <a:pt x="13081" y="936"/>
                </a:lnTo>
                <a:lnTo>
                  <a:pt x="13075" y="942"/>
                </a:lnTo>
                <a:lnTo>
                  <a:pt x="13069" y="949"/>
                </a:lnTo>
                <a:lnTo>
                  <a:pt x="13062" y="955"/>
                </a:lnTo>
                <a:lnTo>
                  <a:pt x="13055" y="961"/>
                </a:lnTo>
                <a:lnTo>
                  <a:pt x="13046" y="966"/>
                </a:lnTo>
                <a:lnTo>
                  <a:pt x="13038" y="971"/>
                </a:lnTo>
                <a:lnTo>
                  <a:pt x="13030" y="977"/>
                </a:lnTo>
                <a:lnTo>
                  <a:pt x="13040" y="982"/>
                </a:lnTo>
                <a:lnTo>
                  <a:pt x="13051" y="987"/>
                </a:lnTo>
                <a:lnTo>
                  <a:pt x="13061" y="992"/>
                </a:lnTo>
                <a:lnTo>
                  <a:pt x="13070" y="998"/>
                </a:lnTo>
                <a:lnTo>
                  <a:pt x="13078" y="1006"/>
                </a:lnTo>
                <a:lnTo>
                  <a:pt x="13085" y="1012"/>
                </a:lnTo>
                <a:lnTo>
                  <a:pt x="13093" y="1019"/>
                </a:lnTo>
                <a:lnTo>
                  <a:pt x="13099" y="1028"/>
                </a:lnTo>
                <a:lnTo>
                  <a:pt x="13104" y="1036"/>
                </a:lnTo>
                <a:lnTo>
                  <a:pt x="13109" y="1044"/>
                </a:lnTo>
                <a:lnTo>
                  <a:pt x="13113" y="1053"/>
                </a:lnTo>
                <a:lnTo>
                  <a:pt x="13116" y="1062"/>
                </a:lnTo>
                <a:lnTo>
                  <a:pt x="13119" y="1071"/>
                </a:lnTo>
                <a:lnTo>
                  <a:pt x="13121" y="1082"/>
                </a:lnTo>
                <a:lnTo>
                  <a:pt x="13122" y="1092"/>
                </a:lnTo>
                <a:lnTo>
                  <a:pt x="13122" y="1102"/>
                </a:lnTo>
                <a:lnTo>
                  <a:pt x="13121" y="1119"/>
                </a:lnTo>
                <a:lnTo>
                  <a:pt x="13119" y="1135"/>
                </a:lnTo>
                <a:lnTo>
                  <a:pt x="13116" y="1150"/>
                </a:lnTo>
                <a:lnTo>
                  <a:pt x="13111" y="1164"/>
                </a:lnTo>
                <a:lnTo>
                  <a:pt x="13104" y="1177"/>
                </a:lnTo>
                <a:lnTo>
                  <a:pt x="13097" y="1191"/>
                </a:lnTo>
                <a:lnTo>
                  <a:pt x="13087" y="1202"/>
                </a:lnTo>
                <a:lnTo>
                  <a:pt x="13077" y="1214"/>
                </a:lnTo>
                <a:lnTo>
                  <a:pt x="13064" y="1223"/>
                </a:lnTo>
                <a:lnTo>
                  <a:pt x="13052" y="1232"/>
                </a:lnTo>
                <a:lnTo>
                  <a:pt x="13037" y="1240"/>
                </a:lnTo>
                <a:lnTo>
                  <a:pt x="13022" y="1246"/>
                </a:lnTo>
                <a:lnTo>
                  <a:pt x="13006" y="1250"/>
                </a:lnTo>
                <a:lnTo>
                  <a:pt x="12989" y="1254"/>
                </a:lnTo>
                <a:lnTo>
                  <a:pt x="12970" y="1256"/>
                </a:lnTo>
                <a:lnTo>
                  <a:pt x="12950" y="1256"/>
                </a:lnTo>
                <a:lnTo>
                  <a:pt x="12620" y="1256"/>
                </a:lnTo>
                <a:close/>
                <a:moveTo>
                  <a:pt x="12227" y="937"/>
                </a:moveTo>
                <a:lnTo>
                  <a:pt x="12255" y="937"/>
                </a:lnTo>
                <a:lnTo>
                  <a:pt x="12277" y="937"/>
                </a:lnTo>
                <a:lnTo>
                  <a:pt x="12294" y="936"/>
                </a:lnTo>
                <a:lnTo>
                  <a:pt x="12305" y="935"/>
                </a:lnTo>
                <a:lnTo>
                  <a:pt x="12314" y="933"/>
                </a:lnTo>
                <a:lnTo>
                  <a:pt x="12321" y="930"/>
                </a:lnTo>
                <a:lnTo>
                  <a:pt x="12328" y="925"/>
                </a:lnTo>
                <a:lnTo>
                  <a:pt x="12335" y="919"/>
                </a:lnTo>
                <a:lnTo>
                  <a:pt x="12337" y="915"/>
                </a:lnTo>
                <a:lnTo>
                  <a:pt x="12340" y="912"/>
                </a:lnTo>
                <a:lnTo>
                  <a:pt x="12342" y="908"/>
                </a:lnTo>
                <a:lnTo>
                  <a:pt x="12343" y="903"/>
                </a:lnTo>
                <a:lnTo>
                  <a:pt x="12345" y="892"/>
                </a:lnTo>
                <a:lnTo>
                  <a:pt x="12346" y="880"/>
                </a:lnTo>
                <a:lnTo>
                  <a:pt x="12345" y="864"/>
                </a:lnTo>
                <a:lnTo>
                  <a:pt x="12343" y="852"/>
                </a:lnTo>
                <a:lnTo>
                  <a:pt x="12341" y="846"/>
                </a:lnTo>
                <a:lnTo>
                  <a:pt x="12339" y="840"/>
                </a:lnTo>
                <a:lnTo>
                  <a:pt x="12336" y="835"/>
                </a:lnTo>
                <a:lnTo>
                  <a:pt x="12332" y="831"/>
                </a:lnTo>
                <a:lnTo>
                  <a:pt x="12328" y="828"/>
                </a:lnTo>
                <a:lnTo>
                  <a:pt x="12324" y="825"/>
                </a:lnTo>
                <a:lnTo>
                  <a:pt x="12320" y="822"/>
                </a:lnTo>
                <a:lnTo>
                  <a:pt x="12315" y="820"/>
                </a:lnTo>
                <a:lnTo>
                  <a:pt x="12309" y="817"/>
                </a:lnTo>
                <a:lnTo>
                  <a:pt x="12304" y="816"/>
                </a:lnTo>
                <a:lnTo>
                  <a:pt x="12297" y="815"/>
                </a:lnTo>
                <a:lnTo>
                  <a:pt x="12290" y="815"/>
                </a:lnTo>
                <a:lnTo>
                  <a:pt x="12284" y="815"/>
                </a:lnTo>
                <a:lnTo>
                  <a:pt x="12279" y="816"/>
                </a:lnTo>
                <a:lnTo>
                  <a:pt x="12273" y="817"/>
                </a:lnTo>
                <a:lnTo>
                  <a:pt x="12267" y="820"/>
                </a:lnTo>
                <a:lnTo>
                  <a:pt x="12262" y="823"/>
                </a:lnTo>
                <a:lnTo>
                  <a:pt x="12258" y="826"/>
                </a:lnTo>
                <a:lnTo>
                  <a:pt x="12253" y="830"/>
                </a:lnTo>
                <a:lnTo>
                  <a:pt x="12248" y="834"/>
                </a:lnTo>
                <a:lnTo>
                  <a:pt x="12245" y="839"/>
                </a:lnTo>
                <a:lnTo>
                  <a:pt x="12241" y="845"/>
                </a:lnTo>
                <a:lnTo>
                  <a:pt x="12238" y="851"/>
                </a:lnTo>
                <a:lnTo>
                  <a:pt x="12235" y="857"/>
                </a:lnTo>
                <a:lnTo>
                  <a:pt x="12230" y="873"/>
                </a:lnTo>
                <a:lnTo>
                  <a:pt x="12225" y="890"/>
                </a:lnTo>
                <a:lnTo>
                  <a:pt x="12076" y="865"/>
                </a:lnTo>
                <a:lnTo>
                  <a:pt x="12080" y="848"/>
                </a:lnTo>
                <a:lnTo>
                  <a:pt x="12086" y="831"/>
                </a:lnTo>
                <a:lnTo>
                  <a:pt x="12093" y="815"/>
                </a:lnTo>
                <a:lnTo>
                  <a:pt x="12101" y="801"/>
                </a:lnTo>
                <a:lnTo>
                  <a:pt x="12111" y="788"/>
                </a:lnTo>
                <a:lnTo>
                  <a:pt x="12121" y="776"/>
                </a:lnTo>
                <a:lnTo>
                  <a:pt x="12134" y="765"/>
                </a:lnTo>
                <a:lnTo>
                  <a:pt x="12148" y="755"/>
                </a:lnTo>
                <a:lnTo>
                  <a:pt x="12162" y="747"/>
                </a:lnTo>
                <a:lnTo>
                  <a:pt x="12178" y="739"/>
                </a:lnTo>
                <a:lnTo>
                  <a:pt x="12195" y="733"/>
                </a:lnTo>
                <a:lnTo>
                  <a:pt x="12214" y="728"/>
                </a:lnTo>
                <a:lnTo>
                  <a:pt x="12234" y="724"/>
                </a:lnTo>
                <a:lnTo>
                  <a:pt x="12255" y="721"/>
                </a:lnTo>
                <a:lnTo>
                  <a:pt x="12278" y="719"/>
                </a:lnTo>
                <a:lnTo>
                  <a:pt x="12301" y="719"/>
                </a:lnTo>
                <a:lnTo>
                  <a:pt x="12327" y="720"/>
                </a:lnTo>
                <a:lnTo>
                  <a:pt x="12352" y="722"/>
                </a:lnTo>
                <a:lnTo>
                  <a:pt x="12374" y="725"/>
                </a:lnTo>
                <a:lnTo>
                  <a:pt x="12397" y="730"/>
                </a:lnTo>
                <a:lnTo>
                  <a:pt x="12415" y="735"/>
                </a:lnTo>
                <a:lnTo>
                  <a:pt x="12433" y="744"/>
                </a:lnTo>
                <a:lnTo>
                  <a:pt x="12450" y="752"/>
                </a:lnTo>
                <a:lnTo>
                  <a:pt x="12464" y="762"/>
                </a:lnTo>
                <a:lnTo>
                  <a:pt x="12477" y="774"/>
                </a:lnTo>
                <a:lnTo>
                  <a:pt x="12488" y="785"/>
                </a:lnTo>
                <a:lnTo>
                  <a:pt x="12497" y="798"/>
                </a:lnTo>
                <a:lnTo>
                  <a:pt x="12506" y="811"/>
                </a:lnTo>
                <a:lnTo>
                  <a:pt x="12512" y="825"/>
                </a:lnTo>
                <a:lnTo>
                  <a:pt x="12516" y="838"/>
                </a:lnTo>
                <a:lnTo>
                  <a:pt x="12518" y="853"/>
                </a:lnTo>
                <a:lnTo>
                  <a:pt x="12519" y="868"/>
                </a:lnTo>
                <a:lnTo>
                  <a:pt x="12519" y="878"/>
                </a:lnTo>
                <a:lnTo>
                  <a:pt x="12518" y="886"/>
                </a:lnTo>
                <a:lnTo>
                  <a:pt x="12516" y="894"/>
                </a:lnTo>
                <a:lnTo>
                  <a:pt x="12514" y="903"/>
                </a:lnTo>
                <a:lnTo>
                  <a:pt x="12512" y="911"/>
                </a:lnTo>
                <a:lnTo>
                  <a:pt x="12508" y="918"/>
                </a:lnTo>
                <a:lnTo>
                  <a:pt x="12504" y="926"/>
                </a:lnTo>
                <a:lnTo>
                  <a:pt x="12499" y="933"/>
                </a:lnTo>
                <a:lnTo>
                  <a:pt x="12494" y="940"/>
                </a:lnTo>
                <a:lnTo>
                  <a:pt x="12488" y="946"/>
                </a:lnTo>
                <a:lnTo>
                  <a:pt x="12482" y="953"/>
                </a:lnTo>
                <a:lnTo>
                  <a:pt x="12474" y="959"/>
                </a:lnTo>
                <a:lnTo>
                  <a:pt x="12466" y="965"/>
                </a:lnTo>
                <a:lnTo>
                  <a:pt x="12457" y="970"/>
                </a:lnTo>
                <a:lnTo>
                  <a:pt x="12449" y="976"/>
                </a:lnTo>
                <a:lnTo>
                  <a:pt x="12439" y="981"/>
                </a:lnTo>
                <a:lnTo>
                  <a:pt x="12450" y="986"/>
                </a:lnTo>
                <a:lnTo>
                  <a:pt x="12462" y="991"/>
                </a:lnTo>
                <a:lnTo>
                  <a:pt x="12471" y="997"/>
                </a:lnTo>
                <a:lnTo>
                  <a:pt x="12481" y="1004"/>
                </a:lnTo>
                <a:lnTo>
                  <a:pt x="12489" y="1010"/>
                </a:lnTo>
                <a:lnTo>
                  <a:pt x="12497" y="1016"/>
                </a:lnTo>
                <a:lnTo>
                  <a:pt x="12505" y="1023"/>
                </a:lnTo>
                <a:lnTo>
                  <a:pt x="12511" y="1031"/>
                </a:lnTo>
                <a:lnTo>
                  <a:pt x="12516" y="1039"/>
                </a:lnTo>
                <a:lnTo>
                  <a:pt x="12521" y="1047"/>
                </a:lnTo>
                <a:lnTo>
                  <a:pt x="12526" y="1056"/>
                </a:lnTo>
                <a:lnTo>
                  <a:pt x="12529" y="1064"/>
                </a:lnTo>
                <a:lnTo>
                  <a:pt x="12531" y="1073"/>
                </a:lnTo>
                <a:lnTo>
                  <a:pt x="12533" y="1083"/>
                </a:lnTo>
                <a:lnTo>
                  <a:pt x="12534" y="1093"/>
                </a:lnTo>
                <a:lnTo>
                  <a:pt x="12534" y="1104"/>
                </a:lnTo>
                <a:lnTo>
                  <a:pt x="12534" y="1119"/>
                </a:lnTo>
                <a:lnTo>
                  <a:pt x="12531" y="1136"/>
                </a:lnTo>
                <a:lnTo>
                  <a:pt x="12527" y="1150"/>
                </a:lnTo>
                <a:lnTo>
                  <a:pt x="12521" y="1166"/>
                </a:lnTo>
                <a:lnTo>
                  <a:pt x="12513" y="1179"/>
                </a:lnTo>
                <a:lnTo>
                  <a:pt x="12505" y="1194"/>
                </a:lnTo>
                <a:lnTo>
                  <a:pt x="12493" y="1206"/>
                </a:lnTo>
                <a:lnTo>
                  <a:pt x="12481" y="1220"/>
                </a:lnTo>
                <a:lnTo>
                  <a:pt x="12474" y="1225"/>
                </a:lnTo>
                <a:lnTo>
                  <a:pt x="12466" y="1231"/>
                </a:lnTo>
                <a:lnTo>
                  <a:pt x="12458" y="1237"/>
                </a:lnTo>
                <a:lnTo>
                  <a:pt x="12450" y="1242"/>
                </a:lnTo>
                <a:lnTo>
                  <a:pt x="12441" y="1246"/>
                </a:lnTo>
                <a:lnTo>
                  <a:pt x="12431" y="1250"/>
                </a:lnTo>
                <a:lnTo>
                  <a:pt x="12421" y="1253"/>
                </a:lnTo>
                <a:lnTo>
                  <a:pt x="12409" y="1256"/>
                </a:lnTo>
                <a:lnTo>
                  <a:pt x="12386" y="1263"/>
                </a:lnTo>
                <a:lnTo>
                  <a:pt x="12361" y="1267"/>
                </a:lnTo>
                <a:lnTo>
                  <a:pt x="12332" y="1269"/>
                </a:lnTo>
                <a:lnTo>
                  <a:pt x="12303" y="1270"/>
                </a:lnTo>
                <a:lnTo>
                  <a:pt x="12283" y="1269"/>
                </a:lnTo>
                <a:lnTo>
                  <a:pt x="12264" y="1268"/>
                </a:lnTo>
                <a:lnTo>
                  <a:pt x="12245" y="1266"/>
                </a:lnTo>
                <a:lnTo>
                  <a:pt x="12227" y="1263"/>
                </a:lnTo>
                <a:lnTo>
                  <a:pt x="12211" y="1258"/>
                </a:lnTo>
                <a:lnTo>
                  <a:pt x="12195" y="1254"/>
                </a:lnTo>
                <a:lnTo>
                  <a:pt x="12179" y="1248"/>
                </a:lnTo>
                <a:lnTo>
                  <a:pt x="12164" y="1242"/>
                </a:lnTo>
                <a:lnTo>
                  <a:pt x="12157" y="1238"/>
                </a:lnTo>
                <a:lnTo>
                  <a:pt x="12150" y="1234"/>
                </a:lnTo>
                <a:lnTo>
                  <a:pt x="12142" y="1228"/>
                </a:lnTo>
                <a:lnTo>
                  <a:pt x="12136" y="1223"/>
                </a:lnTo>
                <a:lnTo>
                  <a:pt x="12122" y="1211"/>
                </a:lnTo>
                <a:lnTo>
                  <a:pt x="12110" y="1196"/>
                </a:lnTo>
                <a:lnTo>
                  <a:pt x="12097" y="1178"/>
                </a:lnTo>
                <a:lnTo>
                  <a:pt x="12086" y="1160"/>
                </a:lnTo>
                <a:lnTo>
                  <a:pt x="12074" y="1138"/>
                </a:lnTo>
                <a:lnTo>
                  <a:pt x="12063" y="1114"/>
                </a:lnTo>
                <a:lnTo>
                  <a:pt x="12208" y="1091"/>
                </a:lnTo>
                <a:lnTo>
                  <a:pt x="12215" y="1110"/>
                </a:lnTo>
                <a:lnTo>
                  <a:pt x="12223" y="1126"/>
                </a:lnTo>
                <a:lnTo>
                  <a:pt x="12227" y="1134"/>
                </a:lnTo>
                <a:lnTo>
                  <a:pt x="12233" y="1140"/>
                </a:lnTo>
                <a:lnTo>
                  <a:pt x="12238" y="1146"/>
                </a:lnTo>
                <a:lnTo>
                  <a:pt x="12243" y="1151"/>
                </a:lnTo>
                <a:lnTo>
                  <a:pt x="12248" y="1156"/>
                </a:lnTo>
                <a:lnTo>
                  <a:pt x="12255" y="1160"/>
                </a:lnTo>
                <a:lnTo>
                  <a:pt x="12261" y="1163"/>
                </a:lnTo>
                <a:lnTo>
                  <a:pt x="12267" y="1166"/>
                </a:lnTo>
                <a:lnTo>
                  <a:pt x="12274" y="1168"/>
                </a:lnTo>
                <a:lnTo>
                  <a:pt x="12281" y="1170"/>
                </a:lnTo>
                <a:lnTo>
                  <a:pt x="12288" y="1170"/>
                </a:lnTo>
                <a:lnTo>
                  <a:pt x="12296" y="1171"/>
                </a:lnTo>
                <a:lnTo>
                  <a:pt x="12303" y="1170"/>
                </a:lnTo>
                <a:lnTo>
                  <a:pt x="12309" y="1170"/>
                </a:lnTo>
                <a:lnTo>
                  <a:pt x="12316" y="1168"/>
                </a:lnTo>
                <a:lnTo>
                  <a:pt x="12322" y="1166"/>
                </a:lnTo>
                <a:lnTo>
                  <a:pt x="12327" y="1164"/>
                </a:lnTo>
                <a:lnTo>
                  <a:pt x="12332" y="1161"/>
                </a:lnTo>
                <a:lnTo>
                  <a:pt x="12338" y="1157"/>
                </a:lnTo>
                <a:lnTo>
                  <a:pt x="12343" y="1152"/>
                </a:lnTo>
                <a:lnTo>
                  <a:pt x="12347" y="1147"/>
                </a:lnTo>
                <a:lnTo>
                  <a:pt x="12350" y="1142"/>
                </a:lnTo>
                <a:lnTo>
                  <a:pt x="12355" y="1136"/>
                </a:lnTo>
                <a:lnTo>
                  <a:pt x="12357" y="1130"/>
                </a:lnTo>
                <a:lnTo>
                  <a:pt x="12359" y="1122"/>
                </a:lnTo>
                <a:lnTo>
                  <a:pt x="12360" y="1115"/>
                </a:lnTo>
                <a:lnTo>
                  <a:pt x="12361" y="1107"/>
                </a:lnTo>
                <a:lnTo>
                  <a:pt x="12362" y="1098"/>
                </a:lnTo>
                <a:lnTo>
                  <a:pt x="12361" y="1086"/>
                </a:lnTo>
                <a:lnTo>
                  <a:pt x="12358" y="1075"/>
                </a:lnTo>
                <a:lnTo>
                  <a:pt x="12356" y="1070"/>
                </a:lnTo>
                <a:lnTo>
                  <a:pt x="12353" y="1066"/>
                </a:lnTo>
                <a:lnTo>
                  <a:pt x="12350" y="1062"/>
                </a:lnTo>
                <a:lnTo>
                  <a:pt x="12347" y="1058"/>
                </a:lnTo>
                <a:lnTo>
                  <a:pt x="12340" y="1051"/>
                </a:lnTo>
                <a:lnTo>
                  <a:pt x="12331" y="1047"/>
                </a:lnTo>
                <a:lnTo>
                  <a:pt x="12322" y="1044"/>
                </a:lnTo>
                <a:lnTo>
                  <a:pt x="12313" y="1042"/>
                </a:lnTo>
                <a:lnTo>
                  <a:pt x="12299" y="1041"/>
                </a:lnTo>
                <a:lnTo>
                  <a:pt x="12280" y="1041"/>
                </a:lnTo>
                <a:lnTo>
                  <a:pt x="12257" y="1040"/>
                </a:lnTo>
                <a:lnTo>
                  <a:pt x="12227" y="1040"/>
                </a:lnTo>
                <a:lnTo>
                  <a:pt x="12227" y="937"/>
                </a:lnTo>
                <a:close/>
                <a:moveTo>
                  <a:pt x="11831" y="1006"/>
                </a:moveTo>
                <a:lnTo>
                  <a:pt x="11813" y="1008"/>
                </a:lnTo>
                <a:lnTo>
                  <a:pt x="11796" y="1010"/>
                </a:lnTo>
                <a:lnTo>
                  <a:pt x="11780" y="1013"/>
                </a:lnTo>
                <a:lnTo>
                  <a:pt x="11767" y="1017"/>
                </a:lnTo>
                <a:lnTo>
                  <a:pt x="11754" y="1020"/>
                </a:lnTo>
                <a:lnTo>
                  <a:pt x="11742" y="1024"/>
                </a:lnTo>
                <a:lnTo>
                  <a:pt x="11732" y="1030"/>
                </a:lnTo>
                <a:lnTo>
                  <a:pt x="11723" y="1035"/>
                </a:lnTo>
                <a:lnTo>
                  <a:pt x="11716" y="1040"/>
                </a:lnTo>
                <a:lnTo>
                  <a:pt x="11710" y="1047"/>
                </a:lnTo>
                <a:lnTo>
                  <a:pt x="11705" y="1055"/>
                </a:lnTo>
                <a:lnTo>
                  <a:pt x="11699" y="1063"/>
                </a:lnTo>
                <a:lnTo>
                  <a:pt x="11696" y="1072"/>
                </a:lnTo>
                <a:lnTo>
                  <a:pt x="11694" y="1083"/>
                </a:lnTo>
                <a:lnTo>
                  <a:pt x="11692" y="1094"/>
                </a:lnTo>
                <a:lnTo>
                  <a:pt x="11692" y="1106"/>
                </a:lnTo>
                <a:lnTo>
                  <a:pt x="11693" y="1121"/>
                </a:lnTo>
                <a:lnTo>
                  <a:pt x="11695" y="1136"/>
                </a:lnTo>
                <a:lnTo>
                  <a:pt x="11697" y="1141"/>
                </a:lnTo>
                <a:lnTo>
                  <a:pt x="11699" y="1147"/>
                </a:lnTo>
                <a:lnTo>
                  <a:pt x="11702" y="1151"/>
                </a:lnTo>
                <a:lnTo>
                  <a:pt x="11706" y="1157"/>
                </a:lnTo>
                <a:lnTo>
                  <a:pt x="11710" y="1161"/>
                </a:lnTo>
                <a:lnTo>
                  <a:pt x="11714" y="1164"/>
                </a:lnTo>
                <a:lnTo>
                  <a:pt x="11719" y="1167"/>
                </a:lnTo>
                <a:lnTo>
                  <a:pt x="11723" y="1169"/>
                </a:lnTo>
                <a:lnTo>
                  <a:pt x="11730" y="1171"/>
                </a:lnTo>
                <a:lnTo>
                  <a:pt x="11735" y="1172"/>
                </a:lnTo>
                <a:lnTo>
                  <a:pt x="11742" y="1173"/>
                </a:lnTo>
                <a:lnTo>
                  <a:pt x="11749" y="1173"/>
                </a:lnTo>
                <a:lnTo>
                  <a:pt x="11757" y="1172"/>
                </a:lnTo>
                <a:lnTo>
                  <a:pt x="11764" y="1171"/>
                </a:lnTo>
                <a:lnTo>
                  <a:pt x="11772" y="1169"/>
                </a:lnTo>
                <a:lnTo>
                  <a:pt x="11778" y="1166"/>
                </a:lnTo>
                <a:lnTo>
                  <a:pt x="11785" y="1162"/>
                </a:lnTo>
                <a:lnTo>
                  <a:pt x="11792" y="1157"/>
                </a:lnTo>
                <a:lnTo>
                  <a:pt x="11799" y="1150"/>
                </a:lnTo>
                <a:lnTo>
                  <a:pt x="11805" y="1143"/>
                </a:lnTo>
                <a:lnTo>
                  <a:pt x="11811" y="1135"/>
                </a:lnTo>
                <a:lnTo>
                  <a:pt x="11816" y="1124"/>
                </a:lnTo>
                <a:lnTo>
                  <a:pt x="11820" y="1113"/>
                </a:lnTo>
                <a:lnTo>
                  <a:pt x="11824" y="1100"/>
                </a:lnTo>
                <a:lnTo>
                  <a:pt x="11826" y="1086"/>
                </a:lnTo>
                <a:lnTo>
                  <a:pt x="11828" y="1069"/>
                </a:lnTo>
                <a:lnTo>
                  <a:pt x="11830" y="1051"/>
                </a:lnTo>
                <a:lnTo>
                  <a:pt x="11831" y="1032"/>
                </a:lnTo>
                <a:lnTo>
                  <a:pt x="11831" y="1006"/>
                </a:lnTo>
                <a:close/>
                <a:moveTo>
                  <a:pt x="11698" y="897"/>
                </a:moveTo>
                <a:lnTo>
                  <a:pt x="11539" y="883"/>
                </a:lnTo>
                <a:lnTo>
                  <a:pt x="11542" y="864"/>
                </a:lnTo>
                <a:lnTo>
                  <a:pt x="11547" y="846"/>
                </a:lnTo>
                <a:lnTo>
                  <a:pt x="11554" y="829"/>
                </a:lnTo>
                <a:lnTo>
                  <a:pt x="11564" y="813"/>
                </a:lnTo>
                <a:lnTo>
                  <a:pt x="11574" y="799"/>
                </a:lnTo>
                <a:lnTo>
                  <a:pt x="11586" y="785"/>
                </a:lnTo>
                <a:lnTo>
                  <a:pt x="11601" y="773"/>
                </a:lnTo>
                <a:lnTo>
                  <a:pt x="11616" y="761"/>
                </a:lnTo>
                <a:lnTo>
                  <a:pt x="11633" y="751"/>
                </a:lnTo>
                <a:lnTo>
                  <a:pt x="11651" y="743"/>
                </a:lnTo>
                <a:lnTo>
                  <a:pt x="11671" y="735"/>
                </a:lnTo>
                <a:lnTo>
                  <a:pt x="11691" y="729"/>
                </a:lnTo>
                <a:lnTo>
                  <a:pt x="11713" y="725"/>
                </a:lnTo>
                <a:lnTo>
                  <a:pt x="11735" y="722"/>
                </a:lnTo>
                <a:lnTo>
                  <a:pt x="11758" y="720"/>
                </a:lnTo>
                <a:lnTo>
                  <a:pt x="11783" y="719"/>
                </a:lnTo>
                <a:lnTo>
                  <a:pt x="11804" y="719"/>
                </a:lnTo>
                <a:lnTo>
                  <a:pt x="11824" y="721"/>
                </a:lnTo>
                <a:lnTo>
                  <a:pt x="11842" y="723"/>
                </a:lnTo>
                <a:lnTo>
                  <a:pt x="11860" y="726"/>
                </a:lnTo>
                <a:lnTo>
                  <a:pt x="11877" y="730"/>
                </a:lnTo>
                <a:lnTo>
                  <a:pt x="11893" y="734"/>
                </a:lnTo>
                <a:lnTo>
                  <a:pt x="11907" y="741"/>
                </a:lnTo>
                <a:lnTo>
                  <a:pt x="11920" y="747"/>
                </a:lnTo>
                <a:lnTo>
                  <a:pt x="11932" y="754"/>
                </a:lnTo>
                <a:lnTo>
                  <a:pt x="11944" y="762"/>
                </a:lnTo>
                <a:lnTo>
                  <a:pt x="11953" y="770"/>
                </a:lnTo>
                <a:lnTo>
                  <a:pt x="11962" y="778"/>
                </a:lnTo>
                <a:lnTo>
                  <a:pt x="11970" y="786"/>
                </a:lnTo>
                <a:lnTo>
                  <a:pt x="11977" y="795"/>
                </a:lnTo>
                <a:lnTo>
                  <a:pt x="11982" y="804"/>
                </a:lnTo>
                <a:lnTo>
                  <a:pt x="11985" y="813"/>
                </a:lnTo>
                <a:lnTo>
                  <a:pt x="11988" y="824"/>
                </a:lnTo>
                <a:lnTo>
                  <a:pt x="11991" y="834"/>
                </a:lnTo>
                <a:lnTo>
                  <a:pt x="11993" y="848"/>
                </a:lnTo>
                <a:lnTo>
                  <a:pt x="11995" y="861"/>
                </a:lnTo>
                <a:lnTo>
                  <a:pt x="11998" y="892"/>
                </a:lnTo>
                <a:lnTo>
                  <a:pt x="11999" y="930"/>
                </a:lnTo>
                <a:lnTo>
                  <a:pt x="11999" y="1140"/>
                </a:lnTo>
                <a:lnTo>
                  <a:pt x="12000" y="1184"/>
                </a:lnTo>
                <a:lnTo>
                  <a:pt x="12001" y="1218"/>
                </a:lnTo>
                <a:lnTo>
                  <a:pt x="12003" y="1231"/>
                </a:lnTo>
                <a:lnTo>
                  <a:pt x="12004" y="1242"/>
                </a:lnTo>
                <a:lnTo>
                  <a:pt x="12006" y="1251"/>
                </a:lnTo>
                <a:lnTo>
                  <a:pt x="12008" y="1256"/>
                </a:lnTo>
                <a:lnTo>
                  <a:pt x="11853" y="1256"/>
                </a:lnTo>
                <a:lnTo>
                  <a:pt x="11848" y="1244"/>
                </a:lnTo>
                <a:lnTo>
                  <a:pt x="11846" y="1226"/>
                </a:lnTo>
                <a:lnTo>
                  <a:pt x="11844" y="1203"/>
                </a:lnTo>
                <a:lnTo>
                  <a:pt x="11844" y="1176"/>
                </a:lnTo>
                <a:lnTo>
                  <a:pt x="11837" y="1188"/>
                </a:lnTo>
                <a:lnTo>
                  <a:pt x="11830" y="1198"/>
                </a:lnTo>
                <a:lnTo>
                  <a:pt x="11821" y="1208"/>
                </a:lnTo>
                <a:lnTo>
                  <a:pt x="11813" y="1217"/>
                </a:lnTo>
                <a:lnTo>
                  <a:pt x="11804" y="1225"/>
                </a:lnTo>
                <a:lnTo>
                  <a:pt x="11795" y="1232"/>
                </a:lnTo>
                <a:lnTo>
                  <a:pt x="11784" y="1240"/>
                </a:lnTo>
                <a:lnTo>
                  <a:pt x="11775" y="1246"/>
                </a:lnTo>
                <a:lnTo>
                  <a:pt x="11764" y="1251"/>
                </a:lnTo>
                <a:lnTo>
                  <a:pt x="11753" y="1256"/>
                </a:lnTo>
                <a:lnTo>
                  <a:pt x="11741" y="1261"/>
                </a:lnTo>
                <a:lnTo>
                  <a:pt x="11730" y="1264"/>
                </a:lnTo>
                <a:lnTo>
                  <a:pt x="11717" y="1266"/>
                </a:lnTo>
                <a:lnTo>
                  <a:pt x="11705" y="1268"/>
                </a:lnTo>
                <a:lnTo>
                  <a:pt x="11692" y="1269"/>
                </a:lnTo>
                <a:lnTo>
                  <a:pt x="11678" y="1270"/>
                </a:lnTo>
                <a:lnTo>
                  <a:pt x="11660" y="1269"/>
                </a:lnTo>
                <a:lnTo>
                  <a:pt x="11645" y="1267"/>
                </a:lnTo>
                <a:lnTo>
                  <a:pt x="11629" y="1265"/>
                </a:lnTo>
                <a:lnTo>
                  <a:pt x="11614" y="1261"/>
                </a:lnTo>
                <a:lnTo>
                  <a:pt x="11600" y="1255"/>
                </a:lnTo>
                <a:lnTo>
                  <a:pt x="11587" y="1249"/>
                </a:lnTo>
                <a:lnTo>
                  <a:pt x="11574" y="1241"/>
                </a:lnTo>
                <a:lnTo>
                  <a:pt x="11563" y="1232"/>
                </a:lnTo>
                <a:lnTo>
                  <a:pt x="11552" y="1223"/>
                </a:lnTo>
                <a:lnTo>
                  <a:pt x="11544" y="1212"/>
                </a:lnTo>
                <a:lnTo>
                  <a:pt x="11536" y="1200"/>
                </a:lnTo>
                <a:lnTo>
                  <a:pt x="11530" y="1188"/>
                </a:lnTo>
                <a:lnTo>
                  <a:pt x="11525" y="1173"/>
                </a:lnTo>
                <a:lnTo>
                  <a:pt x="11522" y="1159"/>
                </a:lnTo>
                <a:lnTo>
                  <a:pt x="11520" y="1142"/>
                </a:lnTo>
                <a:lnTo>
                  <a:pt x="11519" y="1125"/>
                </a:lnTo>
                <a:lnTo>
                  <a:pt x="11519" y="1115"/>
                </a:lnTo>
                <a:lnTo>
                  <a:pt x="11520" y="1104"/>
                </a:lnTo>
                <a:lnTo>
                  <a:pt x="11521" y="1094"/>
                </a:lnTo>
                <a:lnTo>
                  <a:pt x="11523" y="1084"/>
                </a:lnTo>
                <a:lnTo>
                  <a:pt x="11525" y="1074"/>
                </a:lnTo>
                <a:lnTo>
                  <a:pt x="11528" y="1065"/>
                </a:lnTo>
                <a:lnTo>
                  <a:pt x="11531" y="1056"/>
                </a:lnTo>
                <a:lnTo>
                  <a:pt x="11536" y="1047"/>
                </a:lnTo>
                <a:lnTo>
                  <a:pt x="11540" y="1039"/>
                </a:lnTo>
                <a:lnTo>
                  <a:pt x="11545" y="1031"/>
                </a:lnTo>
                <a:lnTo>
                  <a:pt x="11550" y="1022"/>
                </a:lnTo>
                <a:lnTo>
                  <a:pt x="11557" y="1015"/>
                </a:lnTo>
                <a:lnTo>
                  <a:pt x="11563" y="1008"/>
                </a:lnTo>
                <a:lnTo>
                  <a:pt x="11570" y="1002"/>
                </a:lnTo>
                <a:lnTo>
                  <a:pt x="11578" y="995"/>
                </a:lnTo>
                <a:lnTo>
                  <a:pt x="11586" y="989"/>
                </a:lnTo>
                <a:lnTo>
                  <a:pt x="11594" y="983"/>
                </a:lnTo>
                <a:lnTo>
                  <a:pt x="11605" y="978"/>
                </a:lnTo>
                <a:lnTo>
                  <a:pt x="11615" y="972"/>
                </a:lnTo>
                <a:lnTo>
                  <a:pt x="11626" y="967"/>
                </a:lnTo>
                <a:lnTo>
                  <a:pt x="11638" y="962"/>
                </a:lnTo>
                <a:lnTo>
                  <a:pt x="11652" y="958"/>
                </a:lnTo>
                <a:lnTo>
                  <a:pt x="11666" y="954"/>
                </a:lnTo>
                <a:lnTo>
                  <a:pt x="11680" y="951"/>
                </a:lnTo>
                <a:lnTo>
                  <a:pt x="11713" y="943"/>
                </a:lnTo>
                <a:lnTo>
                  <a:pt x="11749" y="938"/>
                </a:lnTo>
                <a:lnTo>
                  <a:pt x="11788" y="934"/>
                </a:lnTo>
                <a:lnTo>
                  <a:pt x="11831" y="931"/>
                </a:lnTo>
                <a:lnTo>
                  <a:pt x="11831" y="911"/>
                </a:lnTo>
                <a:lnTo>
                  <a:pt x="11830" y="886"/>
                </a:lnTo>
                <a:lnTo>
                  <a:pt x="11827" y="865"/>
                </a:lnTo>
                <a:lnTo>
                  <a:pt x="11825" y="856"/>
                </a:lnTo>
                <a:lnTo>
                  <a:pt x="11823" y="849"/>
                </a:lnTo>
                <a:lnTo>
                  <a:pt x="11821" y="841"/>
                </a:lnTo>
                <a:lnTo>
                  <a:pt x="11818" y="836"/>
                </a:lnTo>
                <a:lnTo>
                  <a:pt x="11815" y="831"/>
                </a:lnTo>
                <a:lnTo>
                  <a:pt x="11811" y="827"/>
                </a:lnTo>
                <a:lnTo>
                  <a:pt x="11805" y="824"/>
                </a:lnTo>
                <a:lnTo>
                  <a:pt x="11799" y="821"/>
                </a:lnTo>
                <a:lnTo>
                  <a:pt x="11793" y="819"/>
                </a:lnTo>
                <a:lnTo>
                  <a:pt x="11786" y="816"/>
                </a:lnTo>
                <a:lnTo>
                  <a:pt x="11778" y="815"/>
                </a:lnTo>
                <a:lnTo>
                  <a:pt x="11770" y="815"/>
                </a:lnTo>
                <a:lnTo>
                  <a:pt x="11762" y="815"/>
                </a:lnTo>
                <a:lnTo>
                  <a:pt x="11755" y="816"/>
                </a:lnTo>
                <a:lnTo>
                  <a:pt x="11748" y="819"/>
                </a:lnTo>
                <a:lnTo>
                  <a:pt x="11741" y="821"/>
                </a:lnTo>
                <a:lnTo>
                  <a:pt x="11735" y="823"/>
                </a:lnTo>
                <a:lnTo>
                  <a:pt x="11730" y="827"/>
                </a:lnTo>
                <a:lnTo>
                  <a:pt x="11725" y="831"/>
                </a:lnTo>
                <a:lnTo>
                  <a:pt x="11719" y="835"/>
                </a:lnTo>
                <a:lnTo>
                  <a:pt x="11715" y="841"/>
                </a:lnTo>
                <a:lnTo>
                  <a:pt x="11712" y="847"/>
                </a:lnTo>
                <a:lnTo>
                  <a:pt x="11708" y="854"/>
                </a:lnTo>
                <a:lnTo>
                  <a:pt x="11706" y="861"/>
                </a:lnTo>
                <a:lnTo>
                  <a:pt x="11702" y="868"/>
                </a:lnTo>
                <a:lnTo>
                  <a:pt x="11700" y="878"/>
                </a:lnTo>
                <a:lnTo>
                  <a:pt x="11699" y="887"/>
                </a:lnTo>
                <a:lnTo>
                  <a:pt x="11698" y="897"/>
                </a:lnTo>
                <a:close/>
                <a:moveTo>
                  <a:pt x="11122" y="662"/>
                </a:moveTo>
                <a:lnTo>
                  <a:pt x="11122" y="874"/>
                </a:lnTo>
                <a:lnTo>
                  <a:pt x="11176" y="874"/>
                </a:lnTo>
                <a:lnTo>
                  <a:pt x="11194" y="873"/>
                </a:lnTo>
                <a:lnTo>
                  <a:pt x="11210" y="872"/>
                </a:lnTo>
                <a:lnTo>
                  <a:pt x="11225" y="869"/>
                </a:lnTo>
                <a:lnTo>
                  <a:pt x="11237" y="865"/>
                </a:lnTo>
                <a:lnTo>
                  <a:pt x="11248" y="861"/>
                </a:lnTo>
                <a:lnTo>
                  <a:pt x="11257" y="856"/>
                </a:lnTo>
                <a:lnTo>
                  <a:pt x="11265" y="851"/>
                </a:lnTo>
                <a:lnTo>
                  <a:pt x="11271" y="843"/>
                </a:lnTo>
                <a:lnTo>
                  <a:pt x="11276" y="836"/>
                </a:lnTo>
                <a:lnTo>
                  <a:pt x="11280" y="828"/>
                </a:lnTo>
                <a:lnTo>
                  <a:pt x="11284" y="819"/>
                </a:lnTo>
                <a:lnTo>
                  <a:pt x="11287" y="809"/>
                </a:lnTo>
                <a:lnTo>
                  <a:pt x="11289" y="800"/>
                </a:lnTo>
                <a:lnTo>
                  <a:pt x="11291" y="789"/>
                </a:lnTo>
                <a:lnTo>
                  <a:pt x="11292" y="778"/>
                </a:lnTo>
                <a:lnTo>
                  <a:pt x="11292" y="767"/>
                </a:lnTo>
                <a:lnTo>
                  <a:pt x="11292" y="757"/>
                </a:lnTo>
                <a:lnTo>
                  <a:pt x="11291" y="748"/>
                </a:lnTo>
                <a:lnTo>
                  <a:pt x="11290" y="738"/>
                </a:lnTo>
                <a:lnTo>
                  <a:pt x="11288" y="730"/>
                </a:lnTo>
                <a:lnTo>
                  <a:pt x="11286" y="723"/>
                </a:lnTo>
                <a:lnTo>
                  <a:pt x="11282" y="716"/>
                </a:lnTo>
                <a:lnTo>
                  <a:pt x="11279" y="708"/>
                </a:lnTo>
                <a:lnTo>
                  <a:pt x="11276" y="702"/>
                </a:lnTo>
                <a:lnTo>
                  <a:pt x="11268" y="691"/>
                </a:lnTo>
                <a:lnTo>
                  <a:pt x="11258" y="681"/>
                </a:lnTo>
                <a:lnTo>
                  <a:pt x="11253" y="678"/>
                </a:lnTo>
                <a:lnTo>
                  <a:pt x="11248" y="675"/>
                </a:lnTo>
                <a:lnTo>
                  <a:pt x="11243" y="672"/>
                </a:lnTo>
                <a:lnTo>
                  <a:pt x="11237" y="670"/>
                </a:lnTo>
                <a:lnTo>
                  <a:pt x="11226" y="667"/>
                </a:lnTo>
                <a:lnTo>
                  <a:pt x="11212" y="665"/>
                </a:lnTo>
                <a:lnTo>
                  <a:pt x="11195" y="664"/>
                </a:lnTo>
                <a:lnTo>
                  <a:pt x="11176" y="662"/>
                </a:lnTo>
                <a:lnTo>
                  <a:pt x="11122" y="662"/>
                </a:lnTo>
                <a:close/>
                <a:moveTo>
                  <a:pt x="10941" y="547"/>
                </a:moveTo>
                <a:lnTo>
                  <a:pt x="11176" y="547"/>
                </a:lnTo>
                <a:lnTo>
                  <a:pt x="11202" y="547"/>
                </a:lnTo>
                <a:lnTo>
                  <a:pt x="11227" y="548"/>
                </a:lnTo>
                <a:lnTo>
                  <a:pt x="11250" y="549"/>
                </a:lnTo>
                <a:lnTo>
                  <a:pt x="11271" y="551"/>
                </a:lnTo>
                <a:lnTo>
                  <a:pt x="11291" y="553"/>
                </a:lnTo>
                <a:lnTo>
                  <a:pt x="11310" y="556"/>
                </a:lnTo>
                <a:lnTo>
                  <a:pt x="11327" y="560"/>
                </a:lnTo>
                <a:lnTo>
                  <a:pt x="11341" y="563"/>
                </a:lnTo>
                <a:lnTo>
                  <a:pt x="11356" y="568"/>
                </a:lnTo>
                <a:lnTo>
                  <a:pt x="11370" y="573"/>
                </a:lnTo>
                <a:lnTo>
                  <a:pt x="11383" y="580"/>
                </a:lnTo>
                <a:lnTo>
                  <a:pt x="11396" y="589"/>
                </a:lnTo>
                <a:lnTo>
                  <a:pt x="11407" y="598"/>
                </a:lnTo>
                <a:lnTo>
                  <a:pt x="11419" y="608"/>
                </a:lnTo>
                <a:lnTo>
                  <a:pt x="11431" y="621"/>
                </a:lnTo>
                <a:lnTo>
                  <a:pt x="11440" y="633"/>
                </a:lnTo>
                <a:lnTo>
                  <a:pt x="11449" y="648"/>
                </a:lnTo>
                <a:lnTo>
                  <a:pt x="11458" y="662"/>
                </a:lnTo>
                <a:lnTo>
                  <a:pt x="11465" y="678"/>
                </a:lnTo>
                <a:lnTo>
                  <a:pt x="11470" y="695"/>
                </a:lnTo>
                <a:lnTo>
                  <a:pt x="11475" y="712"/>
                </a:lnTo>
                <a:lnTo>
                  <a:pt x="11478" y="731"/>
                </a:lnTo>
                <a:lnTo>
                  <a:pt x="11480" y="750"/>
                </a:lnTo>
                <a:lnTo>
                  <a:pt x="11480" y="770"/>
                </a:lnTo>
                <a:lnTo>
                  <a:pt x="11480" y="788"/>
                </a:lnTo>
                <a:lnTo>
                  <a:pt x="11478" y="807"/>
                </a:lnTo>
                <a:lnTo>
                  <a:pt x="11476" y="825"/>
                </a:lnTo>
                <a:lnTo>
                  <a:pt x="11473" y="841"/>
                </a:lnTo>
                <a:lnTo>
                  <a:pt x="11467" y="857"/>
                </a:lnTo>
                <a:lnTo>
                  <a:pt x="11462" y="872"/>
                </a:lnTo>
                <a:lnTo>
                  <a:pt x="11456" y="886"/>
                </a:lnTo>
                <a:lnTo>
                  <a:pt x="11448" y="899"/>
                </a:lnTo>
                <a:lnTo>
                  <a:pt x="11440" y="911"/>
                </a:lnTo>
                <a:lnTo>
                  <a:pt x="11431" y="923"/>
                </a:lnTo>
                <a:lnTo>
                  <a:pt x="11421" y="933"/>
                </a:lnTo>
                <a:lnTo>
                  <a:pt x="11410" y="942"/>
                </a:lnTo>
                <a:lnTo>
                  <a:pt x="11398" y="952"/>
                </a:lnTo>
                <a:lnTo>
                  <a:pt x="11386" y="960"/>
                </a:lnTo>
                <a:lnTo>
                  <a:pt x="11373" y="966"/>
                </a:lnTo>
                <a:lnTo>
                  <a:pt x="11359" y="972"/>
                </a:lnTo>
                <a:lnTo>
                  <a:pt x="11344" y="978"/>
                </a:lnTo>
                <a:lnTo>
                  <a:pt x="11327" y="983"/>
                </a:lnTo>
                <a:lnTo>
                  <a:pt x="11308" y="986"/>
                </a:lnTo>
                <a:lnTo>
                  <a:pt x="11287" y="989"/>
                </a:lnTo>
                <a:lnTo>
                  <a:pt x="11265" y="992"/>
                </a:lnTo>
                <a:lnTo>
                  <a:pt x="11239" y="993"/>
                </a:lnTo>
                <a:lnTo>
                  <a:pt x="11213" y="994"/>
                </a:lnTo>
                <a:lnTo>
                  <a:pt x="11185" y="995"/>
                </a:lnTo>
                <a:lnTo>
                  <a:pt x="11122" y="995"/>
                </a:lnTo>
                <a:lnTo>
                  <a:pt x="11122" y="1256"/>
                </a:lnTo>
                <a:lnTo>
                  <a:pt x="10941" y="1256"/>
                </a:lnTo>
                <a:lnTo>
                  <a:pt x="10941" y="547"/>
                </a:lnTo>
                <a:close/>
                <a:moveTo>
                  <a:pt x="10155" y="731"/>
                </a:moveTo>
                <a:lnTo>
                  <a:pt x="10323" y="731"/>
                </a:lnTo>
                <a:lnTo>
                  <a:pt x="10323" y="932"/>
                </a:lnTo>
                <a:lnTo>
                  <a:pt x="10490" y="731"/>
                </a:lnTo>
                <a:lnTo>
                  <a:pt x="10643" y="731"/>
                </a:lnTo>
                <a:lnTo>
                  <a:pt x="10492" y="908"/>
                </a:lnTo>
                <a:lnTo>
                  <a:pt x="10659" y="1256"/>
                </a:lnTo>
                <a:lnTo>
                  <a:pt x="10477" y="1256"/>
                </a:lnTo>
                <a:lnTo>
                  <a:pt x="10384" y="1014"/>
                </a:lnTo>
                <a:lnTo>
                  <a:pt x="10323" y="1087"/>
                </a:lnTo>
                <a:lnTo>
                  <a:pt x="10323" y="1256"/>
                </a:lnTo>
                <a:lnTo>
                  <a:pt x="10155" y="1256"/>
                </a:lnTo>
                <a:lnTo>
                  <a:pt x="10155" y="731"/>
                </a:lnTo>
                <a:close/>
                <a:moveTo>
                  <a:pt x="9569" y="1256"/>
                </a:moveTo>
                <a:lnTo>
                  <a:pt x="9569" y="731"/>
                </a:lnTo>
                <a:lnTo>
                  <a:pt x="9738" y="731"/>
                </a:lnTo>
                <a:lnTo>
                  <a:pt x="9738" y="920"/>
                </a:lnTo>
                <a:lnTo>
                  <a:pt x="9872" y="920"/>
                </a:lnTo>
                <a:lnTo>
                  <a:pt x="9872" y="731"/>
                </a:lnTo>
                <a:lnTo>
                  <a:pt x="10040" y="731"/>
                </a:lnTo>
                <a:lnTo>
                  <a:pt x="10040" y="1256"/>
                </a:lnTo>
                <a:lnTo>
                  <a:pt x="9872" y="1256"/>
                </a:lnTo>
                <a:lnTo>
                  <a:pt x="9872" y="1034"/>
                </a:lnTo>
                <a:lnTo>
                  <a:pt x="9738" y="1034"/>
                </a:lnTo>
                <a:lnTo>
                  <a:pt x="9738" y="1256"/>
                </a:lnTo>
                <a:lnTo>
                  <a:pt x="9569" y="1256"/>
                </a:lnTo>
                <a:close/>
                <a:moveTo>
                  <a:pt x="9286" y="1006"/>
                </a:moveTo>
                <a:lnTo>
                  <a:pt x="9269" y="1008"/>
                </a:lnTo>
                <a:lnTo>
                  <a:pt x="9252" y="1010"/>
                </a:lnTo>
                <a:lnTo>
                  <a:pt x="9237" y="1013"/>
                </a:lnTo>
                <a:lnTo>
                  <a:pt x="9222" y="1017"/>
                </a:lnTo>
                <a:lnTo>
                  <a:pt x="9210" y="1020"/>
                </a:lnTo>
                <a:lnTo>
                  <a:pt x="9198" y="1024"/>
                </a:lnTo>
                <a:lnTo>
                  <a:pt x="9189" y="1030"/>
                </a:lnTo>
                <a:lnTo>
                  <a:pt x="9180" y="1035"/>
                </a:lnTo>
                <a:lnTo>
                  <a:pt x="9173" y="1040"/>
                </a:lnTo>
                <a:lnTo>
                  <a:pt x="9166" y="1047"/>
                </a:lnTo>
                <a:lnTo>
                  <a:pt x="9160" y="1055"/>
                </a:lnTo>
                <a:lnTo>
                  <a:pt x="9156" y="1063"/>
                </a:lnTo>
                <a:lnTo>
                  <a:pt x="9153" y="1072"/>
                </a:lnTo>
                <a:lnTo>
                  <a:pt x="9150" y="1083"/>
                </a:lnTo>
                <a:lnTo>
                  <a:pt x="9149" y="1094"/>
                </a:lnTo>
                <a:lnTo>
                  <a:pt x="9148" y="1106"/>
                </a:lnTo>
                <a:lnTo>
                  <a:pt x="9149" y="1121"/>
                </a:lnTo>
                <a:lnTo>
                  <a:pt x="9152" y="1136"/>
                </a:lnTo>
                <a:lnTo>
                  <a:pt x="9154" y="1141"/>
                </a:lnTo>
                <a:lnTo>
                  <a:pt x="9156" y="1147"/>
                </a:lnTo>
                <a:lnTo>
                  <a:pt x="9159" y="1151"/>
                </a:lnTo>
                <a:lnTo>
                  <a:pt x="9163" y="1157"/>
                </a:lnTo>
                <a:lnTo>
                  <a:pt x="9167" y="1161"/>
                </a:lnTo>
                <a:lnTo>
                  <a:pt x="9171" y="1164"/>
                </a:lnTo>
                <a:lnTo>
                  <a:pt x="9175" y="1167"/>
                </a:lnTo>
                <a:lnTo>
                  <a:pt x="9180" y="1169"/>
                </a:lnTo>
                <a:lnTo>
                  <a:pt x="9186" y="1171"/>
                </a:lnTo>
                <a:lnTo>
                  <a:pt x="9192" y="1172"/>
                </a:lnTo>
                <a:lnTo>
                  <a:pt x="9198" y="1173"/>
                </a:lnTo>
                <a:lnTo>
                  <a:pt x="9206" y="1173"/>
                </a:lnTo>
                <a:lnTo>
                  <a:pt x="9213" y="1172"/>
                </a:lnTo>
                <a:lnTo>
                  <a:pt x="9220" y="1171"/>
                </a:lnTo>
                <a:lnTo>
                  <a:pt x="9228" y="1169"/>
                </a:lnTo>
                <a:lnTo>
                  <a:pt x="9235" y="1166"/>
                </a:lnTo>
                <a:lnTo>
                  <a:pt x="9241" y="1162"/>
                </a:lnTo>
                <a:lnTo>
                  <a:pt x="9249" y="1157"/>
                </a:lnTo>
                <a:lnTo>
                  <a:pt x="9255" y="1150"/>
                </a:lnTo>
                <a:lnTo>
                  <a:pt x="9261" y="1143"/>
                </a:lnTo>
                <a:lnTo>
                  <a:pt x="9268" y="1135"/>
                </a:lnTo>
                <a:lnTo>
                  <a:pt x="9273" y="1124"/>
                </a:lnTo>
                <a:lnTo>
                  <a:pt x="9277" y="1113"/>
                </a:lnTo>
                <a:lnTo>
                  <a:pt x="9280" y="1100"/>
                </a:lnTo>
                <a:lnTo>
                  <a:pt x="9283" y="1086"/>
                </a:lnTo>
                <a:lnTo>
                  <a:pt x="9285" y="1069"/>
                </a:lnTo>
                <a:lnTo>
                  <a:pt x="9286" y="1051"/>
                </a:lnTo>
                <a:lnTo>
                  <a:pt x="9286" y="1032"/>
                </a:lnTo>
                <a:lnTo>
                  <a:pt x="9286" y="1006"/>
                </a:lnTo>
                <a:close/>
                <a:moveTo>
                  <a:pt x="9155" y="897"/>
                </a:moveTo>
                <a:lnTo>
                  <a:pt x="8995" y="883"/>
                </a:lnTo>
                <a:lnTo>
                  <a:pt x="8999" y="864"/>
                </a:lnTo>
                <a:lnTo>
                  <a:pt x="9004" y="846"/>
                </a:lnTo>
                <a:lnTo>
                  <a:pt x="9011" y="829"/>
                </a:lnTo>
                <a:lnTo>
                  <a:pt x="9020" y="813"/>
                </a:lnTo>
                <a:lnTo>
                  <a:pt x="9030" y="799"/>
                </a:lnTo>
                <a:lnTo>
                  <a:pt x="9043" y="785"/>
                </a:lnTo>
                <a:lnTo>
                  <a:pt x="9056" y="773"/>
                </a:lnTo>
                <a:lnTo>
                  <a:pt x="9072" y="761"/>
                </a:lnTo>
                <a:lnTo>
                  <a:pt x="9090" y="751"/>
                </a:lnTo>
                <a:lnTo>
                  <a:pt x="9108" y="743"/>
                </a:lnTo>
                <a:lnTo>
                  <a:pt x="9127" y="735"/>
                </a:lnTo>
                <a:lnTo>
                  <a:pt x="9148" y="729"/>
                </a:lnTo>
                <a:lnTo>
                  <a:pt x="9169" y="725"/>
                </a:lnTo>
                <a:lnTo>
                  <a:pt x="9191" y="722"/>
                </a:lnTo>
                <a:lnTo>
                  <a:pt x="9215" y="720"/>
                </a:lnTo>
                <a:lnTo>
                  <a:pt x="9240" y="719"/>
                </a:lnTo>
                <a:lnTo>
                  <a:pt x="9260" y="719"/>
                </a:lnTo>
                <a:lnTo>
                  <a:pt x="9280" y="721"/>
                </a:lnTo>
                <a:lnTo>
                  <a:pt x="9299" y="723"/>
                </a:lnTo>
                <a:lnTo>
                  <a:pt x="9317" y="726"/>
                </a:lnTo>
                <a:lnTo>
                  <a:pt x="9334" y="730"/>
                </a:lnTo>
                <a:lnTo>
                  <a:pt x="9348" y="734"/>
                </a:lnTo>
                <a:lnTo>
                  <a:pt x="9363" y="741"/>
                </a:lnTo>
                <a:lnTo>
                  <a:pt x="9377" y="747"/>
                </a:lnTo>
                <a:lnTo>
                  <a:pt x="9389" y="754"/>
                </a:lnTo>
                <a:lnTo>
                  <a:pt x="9400" y="762"/>
                </a:lnTo>
                <a:lnTo>
                  <a:pt x="9410" y="770"/>
                </a:lnTo>
                <a:lnTo>
                  <a:pt x="9419" y="778"/>
                </a:lnTo>
                <a:lnTo>
                  <a:pt x="9426" y="786"/>
                </a:lnTo>
                <a:lnTo>
                  <a:pt x="9432" y="795"/>
                </a:lnTo>
                <a:lnTo>
                  <a:pt x="9438" y="804"/>
                </a:lnTo>
                <a:lnTo>
                  <a:pt x="9442" y="813"/>
                </a:lnTo>
                <a:lnTo>
                  <a:pt x="9445" y="824"/>
                </a:lnTo>
                <a:lnTo>
                  <a:pt x="9448" y="834"/>
                </a:lnTo>
                <a:lnTo>
                  <a:pt x="9450" y="848"/>
                </a:lnTo>
                <a:lnTo>
                  <a:pt x="9452" y="861"/>
                </a:lnTo>
                <a:lnTo>
                  <a:pt x="9454" y="892"/>
                </a:lnTo>
                <a:lnTo>
                  <a:pt x="9455" y="930"/>
                </a:lnTo>
                <a:lnTo>
                  <a:pt x="9455" y="1140"/>
                </a:lnTo>
                <a:lnTo>
                  <a:pt x="9455" y="1184"/>
                </a:lnTo>
                <a:lnTo>
                  <a:pt x="9458" y="1218"/>
                </a:lnTo>
                <a:lnTo>
                  <a:pt x="9459" y="1231"/>
                </a:lnTo>
                <a:lnTo>
                  <a:pt x="9461" y="1242"/>
                </a:lnTo>
                <a:lnTo>
                  <a:pt x="9462" y="1251"/>
                </a:lnTo>
                <a:lnTo>
                  <a:pt x="9464" y="1256"/>
                </a:lnTo>
                <a:lnTo>
                  <a:pt x="9308" y="1256"/>
                </a:lnTo>
                <a:lnTo>
                  <a:pt x="9305" y="1244"/>
                </a:lnTo>
                <a:lnTo>
                  <a:pt x="9302" y="1226"/>
                </a:lnTo>
                <a:lnTo>
                  <a:pt x="9301" y="1203"/>
                </a:lnTo>
                <a:lnTo>
                  <a:pt x="9300" y="1176"/>
                </a:lnTo>
                <a:lnTo>
                  <a:pt x="9294" y="1188"/>
                </a:lnTo>
                <a:lnTo>
                  <a:pt x="9285" y="1198"/>
                </a:lnTo>
                <a:lnTo>
                  <a:pt x="9278" y="1208"/>
                </a:lnTo>
                <a:lnTo>
                  <a:pt x="9270" y="1217"/>
                </a:lnTo>
                <a:lnTo>
                  <a:pt x="9260" y="1225"/>
                </a:lnTo>
                <a:lnTo>
                  <a:pt x="9251" y="1232"/>
                </a:lnTo>
                <a:lnTo>
                  <a:pt x="9241" y="1240"/>
                </a:lnTo>
                <a:lnTo>
                  <a:pt x="9231" y="1246"/>
                </a:lnTo>
                <a:lnTo>
                  <a:pt x="9220" y="1251"/>
                </a:lnTo>
                <a:lnTo>
                  <a:pt x="9210" y="1256"/>
                </a:lnTo>
                <a:lnTo>
                  <a:pt x="9198" y="1261"/>
                </a:lnTo>
                <a:lnTo>
                  <a:pt x="9187" y="1264"/>
                </a:lnTo>
                <a:lnTo>
                  <a:pt x="9174" y="1266"/>
                </a:lnTo>
                <a:lnTo>
                  <a:pt x="9161" y="1268"/>
                </a:lnTo>
                <a:lnTo>
                  <a:pt x="9148" y="1269"/>
                </a:lnTo>
                <a:lnTo>
                  <a:pt x="9134" y="1270"/>
                </a:lnTo>
                <a:lnTo>
                  <a:pt x="9117" y="1269"/>
                </a:lnTo>
                <a:lnTo>
                  <a:pt x="9101" y="1267"/>
                </a:lnTo>
                <a:lnTo>
                  <a:pt x="9085" y="1265"/>
                </a:lnTo>
                <a:lnTo>
                  <a:pt x="9070" y="1261"/>
                </a:lnTo>
                <a:lnTo>
                  <a:pt x="9056" y="1255"/>
                </a:lnTo>
                <a:lnTo>
                  <a:pt x="9044" y="1249"/>
                </a:lnTo>
                <a:lnTo>
                  <a:pt x="9031" y="1241"/>
                </a:lnTo>
                <a:lnTo>
                  <a:pt x="9020" y="1232"/>
                </a:lnTo>
                <a:lnTo>
                  <a:pt x="9009" y="1223"/>
                </a:lnTo>
                <a:lnTo>
                  <a:pt x="9000" y="1212"/>
                </a:lnTo>
                <a:lnTo>
                  <a:pt x="8992" y="1200"/>
                </a:lnTo>
                <a:lnTo>
                  <a:pt x="8986" y="1188"/>
                </a:lnTo>
                <a:lnTo>
                  <a:pt x="8982" y="1173"/>
                </a:lnTo>
                <a:lnTo>
                  <a:pt x="8978" y="1159"/>
                </a:lnTo>
                <a:lnTo>
                  <a:pt x="8976" y="1142"/>
                </a:lnTo>
                <a:lnTo>
                  <a:pt x="8976" y="1125"/>
                </a:lnTo>
                <a:lnTo>
                  <a:pt x="8976" y="1115"/>
                </a:lnTo>
                <a:lnTo>
                  <a:pt x="8977" y="1104"/>
                </a:lnTo>
                <a:lnTo>
                  <a:pt x="8978" y="1094"/>
                </a:lnTo>
                <a:lnTo>
                  <a:pt x="8980" y="1084"/>
                </a:lnTo>
                <a:lnTo>
                  <a:pt x="8982" y="1074"/>
                </a:lnTo>
                <a:lnTo>
                  <a:pt x="8985" y="1065"/>
                </a:lnTo>
                <a:lnTo>
                  <a:pt x="8988" y="1056"/>
                </a:lnTo>
                <a:lnTo>
                  <a:pt x="8992" y="1047"/>
                </a:lnTo>
                <a:lnTo>
                  <a:pt x="8997" y="1039"/>
                </a:lnTo>
                <a:lnTo>
                  <a:pt x="9002" y="1031"/>
                </a:lnTo>
                <a:lnTo>
                  <a:pt x="9007" y="1022"/>
                </a:lnTo>
                <a:lnTo>
                  <a:pt x="9012" y="1015"/>
                </a:lnTo>
                <a:lnTo>
                  <a:pt x="9020" y="1008"/>
                </a:lnTo>
                <a:lnTo>
                  <a:pt x="9026" y="1002"/>
                </a:lnTo>
                <a:lnTo>
                  <a:pt x="9034" y="995"/>
                </a:lnTo>
                <a:lnTo>
                  <a:pt x="9042" y="989"/>
                </a:lnTo>
                <a:lnTo>
                  <a:pt x="9051" y="983"/>
                </a:lnTo>
                <a:lnTo>
                  <a:pt x="9061" y="978"/>
                </a:lnTo>
                <a:lnTo>
                  <a:pt x="9071" y="972"/>
                </a:lnTo>
                <a:lnTo>
                  <a:pt x="9083" y="967"/>
                </a:lnTo>
                <a:lnTo>
                  <a:pt x="9095" y="962"/>
                </a:lnTo>
                <a:lnTo>
                  <a:pt x="9108" y="958"/>
                </a:lnTo>
                <a:lnTo>
                  <a:pt x="9122" y="954"/>
                </a:lnTo>
                <a:lnTo>
                  <a:pt x="9137" y="951"/>
                </a:lnTo>
                <a:lnTo>
                  <a:pt x="9169" y="943"/>
                </a:lnTo>
                <a:lnTo>
                  <a:pt x="9205" y="938"/>
                </a:lnTo>
                <a:lnTo>
                  <a:pt x="9244" y="934"/>
                </a:lnTo>
                <a:lnTo>
                  <a:pt x="9286" y="931"/>
                </a:lnTo>
                <a:lnTo>
                  <a:pt x="9286" y="911"/>
                </a:lnTo>
                <a:lnTo>
                  <a:pt x="9286" y="886"/>
                </a:lnTo>
                <a:lnTo>
                  <a:pt x="9283" y="865"/>
                </a:lnTo>
                <a:lnTo>
                  <a:pt x="9282" y="856"/>
                </a:lnTo>
                <a:lnTo>
                  <a:pt x="9280" y="849"/>
                </a:lnTo>
                <a:lnTo>
                  <a:pt x="9277" y="841"/>
                </a:lnTo>
                <a:lnTo>
                  <a:pt x="9274" y="836"/>
                </a:lnTo>
                <a:lnTo>
                  <a:pt x="9271" y="831"/>
                </a:lnTo>
                <a:lnTo>
                  <a:pt x="9266" y="827"/>
                </a:lnTo>
                <a:lnTo>
                  <a:pt x="9261" y="824"/>
                </a:lnTo>
                <a:lnTo>
                  <a:pt x="9256" y="821"/>
                </a:lnTo>
                <a:lnTo>
                  <a:pt x="9250" y="819"/>
                </a:lnTo>
                <a:lnTo>
                  <a:pt x="9242" y="816"/>
                </a:lnTo>
                <a:lnTo>
                  <a:pt x="9235" y="815"/>
                </a:lnTo>
                <a:lnTo>
                  <a:pt x="9227" y="815"/>
                </a:lnTo>
                <a:lnTo>
                  <a:pt x="9218" y="815"/>
                </a:lnTo>
                <a:lnTo>
                  <a:pt x="9211" y="816"/>
                </a:lnTo>
                <a:lnTo>
                  <a:pt x="9205" y="819"/>
                </a:lnTo>
                <a:lnTo>
                  <a:pt x="9197" y="821"/>
                </a:lnTo>
                <a:lnTo>
                  <a:pt x="9192" y="823"/>
                </a:lnTo>
                <a:lnTo>
                  <a:pt x="9186" y="827"/>
                </a:lnTo>
                <a:lnTo>
                  <a:pt x="9180" y="831"/>
                </a:lnTo>
                <a:lnTo>
                  <a:pt x="9176" y="835"/>
                </a:lnTo>
                <a:lnTo>
                  <a:pt x="9172" y="841"/>
                </a:lnTo>
                <a:lnTo>
                  <a:pt x="9168" y="847"/>
                </a:lnTo>
                <a:lnTo>
                  <a:pt x="9165" y="854"/>
                </a:lnTo>
                <a:lnTo>
                  <a:pt x="9161" y="861"/>
                </a:lnTo>
                <a:lnTo>
                  <a:pt x="9159" y="868"/>
                </a:lnTo>
                <a:lnTo>
                  <a:pt x="9157" y="878"/>
                </a:lnTo>
                <a:lnTo>
                  <a:pt x="9156" y="887"/>
                </a:lnTo>
                <a:lnTo>
                  <a:pt x="9155" y="897"/>
                </a:lnTo>
                <a:close/>
                <a:moveTo>
                  <a:pt x="8545" y="931"/>
                </a:moveTo>
                <a:lnTo>
                  <a:pt x="8545" y="1135"/>
                </a:lnTo>
                <a:lnTo>
                  <a:pt x="8601" y="1135"/>
                </a:lnTo>
                <a:lnTo>
                  <a:pt x="8615" y="1135"/>
                </a:lnTo>
                <a:lnTo>
                  <a:pt x="8629" y="1133"/>
                </a:lnTo>
                <a:lnTo>
                  <a:pt x="8642" y="1132"/>
                </a:lnTo>
                <a:lnTo>
                  <a:pt x="8653" y="1128"/>
                </a:lnTo>
                <a:lnTo>
                  <a:pt x="8663" y="1125"/>
                </a:lnTo>
                <a:lnTo>
                  <a:pt x="8672" y="1122"/>
                </a:lnTo>
                <a:lnTo>
                  <a:pt x="8681" y="1117"/>
                </a:lnTo>
                <a:lnTo>
                  <a:pt x="8689" y="1112"/>
                </a:lnTo>
                <a:lnTo>
                  <a:pt x="8695" y="1106"/>
                </a:lnTo>
                <a:lnTo>
                  <a:pt x="8701" y="1098"/>
                </a:lnTo>
                <a:lnTo>
                  <a:pt x="8706" y="1091"/>
                </a:lnTo>
                <a:lnTo>
                  <a:pt x="8709" y="1082"/>
                </a:lnTo>
                <a:lnTo>
                  <a:pt x="8712" y="1071"/>
                </a:lnTo>
                <a:lnTo>
                  <a:pt x="8714" y="1061"/>
                </a:lnTo>
                <a:lnTo>
                  <a:pt x="8716" y="1048"/>
                </a:lnTo>
                <a:lnTo>
                  <a:pt x="8716" y="1035"/>
                </a:lnTo>
                <a:lnTo>
                  <a:pt x="8716" y="1023"/>
                </a:lnTo>
                <a:lnTo>
                  <a:pt x="8715" y="1013"/>
                </a:lnTo>
                <a:lnTo>
                  <a:pt x="8713" y="1003"/>
                </a:lnTo>
                <a:lnTo>
                  <a:pt x="8711" y="992"/>
                </a:lnTo>
                <a:lnTo>
                  <a:pt x="8708" y="983"/>
                </a:lnTo>
                <a:lnTo>
                  <a:pt x="8705" y="975"/>
                </a:lnTo>
                <a:lnTo>
                  <a:pt x="8699" y="967"/>
                </a:lnTo>
                <a:lnTo>
                  <a:pt x="8695" y="959"/>
                </a:lnTo>
                <a:lnTo>
                  <a:pt x="8689" y="953"/>
                </a:lnTo>
                <a:lnTo>
                  <a:pt x="8681" y="946"/>
                </a:lnTo>
                <a:lnTo>
                  <a:pt x="8671" y="942"/>
                </a:lnTo>
                <a:lnTo>
                  <a:pt x="8661" y="938"/>
                </a:lnTo>
                <a:lnTo>
                  <a:pt x="8648" y="935"/>
                </a:lnTo>
                <a:lnTo>
                  <a:pt x="8634" y="933"/>
                </a:lnTo>
                <a:lnTo>
                  <a:pt x="8619" y="931"/>
                </a:lnTo>
                <a:lnTo>
                  <a:pt x="8601" y="931"/>
                </a:lnTo>
                <a:lnTo>
                  <a:pt x="8545" y="931"/>
                </a:lnTo>
                <a:close/>
                <a:moveTo>
                  <a:pt x="8366" y="547"/>
                </a:moveTo>
                <a:lnTo>
                  <a:pt x="8829" y="547"/>
                </a:lnTo>
                <a:lnTo>
                  <a:pt x="8829" y="670"/>
                </a:lnTo>
                <a:lnTo>
                  <a:pt x="8545" y="670"/>
                </a:lnTo>
                <a:lnTo>
                  <a:pt x="8545" y="808"/>
                </a:lnTo>
                <a:lnTo>
                  <a:pt x="8608" y="808"/>
                </a:lnTo>
                <a:lnTo>
                  <a:pt x="8648" y="809"/>
                </a:lnTo>
                <a:lnTo>
                  <a:pt x="8685" y="812"/>
                </a:lnTo>
                <a:lnTo>
                  <a:pt x="8703" y="814"/>
                </a:lnTo>
                <a:lnTo>
                  <a:pt x="8719" y="816"/>
                </a:lnTo>
                <a:lnTo>
                  <a:pt x="8735" y="820"/>
                </a:lnTo>
                <a:lnTo>
                  <a:pt x="8750" y="824"/>
                </a:lnTo>
                <a:lnTo>
                  <a:pt x="8764" y="827"/>
                </a:lnTo>
                <a:lnTo>
                  <a:pt x="8777" y="831"/>
                </a:lnTo>
                <a:lnTo>
                  <a:pt x="8790" y="836"/>
                </a:lnTo>
                <a:lnTo>
                  <a:pt x="8801" y="841"/>
                </a:lnTo>
                <a:lnTo>
                  <a:pt x="8812" y="848"/>
                </a:lnTo>
                <a:lnTo>
                  <a:pt x="8822" y="854"/>
                </a:lnTo>
                <a:lnTo>
                  <a:pt x="8832" y="860"/>
                </a:lnTo>
                <a:lnTo>
                  <a:pt x="8840" y="867"/>
                </a:lnTo>
                <a:lnTo>
                  <a:pt x="8848" y="875"/>
                </a:lnTo>
                <a:lnTo>
                  <a:pt x="8855" y="882"/>
                </a:lnTo>
                <a:lnTo>
                  <a:pt x="8862" y="890"/>
                </a:lnTo>
                <a:lnTo>
                  <a:pt x="8869" y="900"/>
                </a:lnTo>
                <a:lnTo>
                  <a:pt x="8874" y="909"/>
                </a:lnTo>
                <a:lnTo>
                  <a:pt x="8879" y="918"/>
                </a:lnTo>
                <a:lnTo>
                  <a:pt x="8884" y="928"/>
                </a:lnTo>
                <a:lnTo>
                  <a:pt x="8888" y="938"/>
                </a:lnTo>
                <a:lnTo>
                  <a:pt x="8892" y="950"/>
                </a:lnTo>
                <a:lnTo>
                  <a:pt x="8896" y="960"/>
                </a:lnTo>
                <a:lnTo>
                  <a:pt x="8898" y="972"/>
                </a:lnTo>
                <a:lnTo>
                  <a:pt x="8900" y="984"/>
                </a:lnTo>
                <a:lnTo>
                  <a:pt x="8902" y="996"/>
                </a:lnTo>
                <a:lnTo>
                  <a:pt x="8903" y="1009"/>
                </a:lnTo>
                <a:lnTo>
                  <a:pt x="8904" y="1022"/>
                </a:lnTo>
                <a:lnTo>
                  <a:pt x="8904" y="1036"/>
                </a:lnTo>
                <a:lnTo>
                  <a:pt x="8904" y="1057"/>
                </a:lnTo>
                <a:lnTo>
                  <a:pt x="8902" y="1076"/>
                </a:lnTo>
                <a:lnTo>
                  <a:pt x="8898" y="1095"/>
                </a:lnTo>
                <a:lnTo>
                  <a:pt x="8894" y="1113"/>
                </a:lnTo>
                <a:lnTo>
                  <a:pt x="8887" y="1130"/>
                </a:lnTo>
                <a:lnTo>
                  <a:pt x="8880" y="1146"/>
                </a:lnTo>
                <a:lnTo>
                  <a:pt x="8872" y="1161"/>
                </a:lnTo>
                <a:lnTo>
                  <a:pt x="8861" y="1175"/>
                </a:lnTo>
                <a:lnTo>
                  <a:pt x="8851" y="1188"/>
                </a:lnTo>
                <a:lnTo>
                  <a:pt x="8839" y="1199"/>
                </a:lnTo>
                <a:lnTo>
                  <a:pt x="8827" y="1210"/>
                </a:lnTo>
                <a:lnTo>
                  <a:pt x="8814" y="1219"/>
                </a:lnTo>
                <a:lnTo>
                  <a:pt x="8801" y="1226"/>
                </a:lnTo>
                <a:lnTo>
                  <a:pt x="8789" y="1234"/>
                </a:lnTo>
                <a:lnTo>
                  <a:pt x="8774" y="1239"/>
                </a:lnTo>
                <a:lnTo>
                  <a:pt x="8760" y="1243"/>
                </a:lnTo>
                <a:lnTo>
                  <a:pt x="8745" y="1246"/>
                </a:lnTo>
                <a:lnTo>
                  <a:pt x="8729" y="1249"/>
                </a:lnTo>
                <a:lnTo>
                  <a:pt x="8711" y="1251"/>
                </a:lnTo>
                <a:lnTo>
                  <a:pt x="8691" y="1253"/>
                </a:lnTo>
                <a:lnTo>
                  <a:pt x="8670" y="1254"/>
                </a:lnTo>
                <a:lnTo>
                  <a:pt x="8648" y="1255"/>
                </a:lnTo>
                <a:lnTo>
                  <a:pt x="8625" y="1256"/>
                </a:lnTo>
                <a:lnTo>
                  <a:pt x="8601" y="1256"/>
                </a:lnTo>
                <a:lnTo>
                  <a:pt x="8366" y="1256"/>
                </a:lnTo>
                <a:lnTo>
                  <a:pt x="8366" y="547"/>
                </a:lnTo>
                <a:close/>
                <a:moveTo>
                  <a:pt x="7714" y="1194"/>
                </a:moveTo>
                <a:lnTo>
                  <a:pt x="7714" y="1256"/>
                </a:lnTo>
                <a:lnTo>
                  <a:pt x="7546" y="1256"/>
                </a:lnTo>
                <a:lnTo>
                  <a:pt x="7546" y="731"/>
                </a:lnTo>
                <a:lnTo>
                  <a:pt x="7714" y="731"/>
                </a:lnTo>
                <a:lnTo>
                  <a:pt x="7714" y="984"/>
                </a:lnTo>
                <a:lnTo>
                  <a:pt x="7850" y="799"/>
                </a:lnTo>
                <a:lnTo>
                  <a:pt x="7850" y="731"/>
                </a:lnTo>
                <a:lnTo>
                  <a:pt x="8019" y="731"/>
                </a:lnTo>
                <a:lnTo>
                  <a:pt x="8019" y="1256"/>
                </a:lnTo>
                <a:lnTo>
                  <a:pt x="7850" y="1256"/>
                </a:lnTo>
                <a:lnTo>
                  <a:pt x="7850" y="1012"/>
                </a:lnTo>
                <a:lnTo>
                  <a:pt x="7823" y="1051"/>
                </a:lnTo>
                <a:lnTo>
                  <a:pt x="7714" y="1194"/>
                </a:lnTo>
                <a:close/>
                <a:moveTo>
                  <a:pt x="7127" y="1194"/>
                </a:moveTo>
                <a:lnTo>
                  <a:pt x="7127" y="1256"/>
                </a:lnTo>
                <a:lnTo>
                  <a:pt x="6958" y="1256"/>
                </a:lnTo>
                <a:lnTo>
                  <a:pt x="6958" y="731"/>
                </a:lnTo>
                <a:lnTo>
                  <a:pt x="7127" y="731"/>
                </a:lnTo>
                <a:lnTo>
                  <a:pt x="7127" y="984"/>
                </a:lnTo>
                <a:lnTo>
                  <a:pt x="7263" y="799"/>
                </a:lnTo>
                <a:lnTo>
                  <a:pt x="7263" y="731"/>
                </a:lnTo>
                <a:lnTo>
                  <a:pt x="7432" y="731"/>
                </a:lnTo>
                <a:lnTo>
                  <a:pt x="7432" y="1256"/>
                </a:lnTo>
                <a:lnTo>
                  <a:pt x="7263" y="1256"/>
                </a:lnTo>
                <a:lnTo>
                  <a:pt x="7263" y="1012"/>
                </a:lnTo>
                <a:lnTo>
                  <a:pt x="7236" y="1051"/>
                </a:lnTo>
                <a:lnTo>
                  <a:pt x="7127" y="1194"/>
                </a:lnTo>
                <a:close/>
                <a:moveTo>
                  <a:pt x="6404" y="731"/>
                </a:moveTo>
                <a:lnTo>
                  <a:pt x="6573" y="731"/>
                </a:lnTo>
                <a:lnTo>
                  <a:pt x="6573" y="932"/>
                </a:lnTo>
                <a:lnTo>
                  <a:pt x="6739" y="731"/>
                </a:lnTo>
                <a:lnTo>
                  <a:pt x="6893" y="731"/>
                </a:lnTo>
                <a:lnTo>
                  <a:pt x="6742" y="908"/>
                </a:lnTo>
                <a:lnTo>
                  <a:pt x="6908" y="1256"/>
                </a:lnTo>
                <a:lnTo>
                  <a:pt x="6727" y="1256"/>
                </a:lnTo>
                <a:lnTo>
                  <a:pt x="6633" y="1014"/>
                </a:lnTo>
                <a:lnTo>
                  <a:pt x="6573" y="1087"/>
                </a:lnTo>
                <a:lnTo>
                  <a:pt x="6573" y="1256"/>
                </a:lnTo>
                <a:lnTo>
                  <a:pt x="6404" y="1256"/>
                </a:lnTo>
                <a:lnTo>
                  <a:pt x="6404" y="731"/>
                </a:lnTo>
                <a:close/>
                <a:moveTo>
                  <a:pt x="6321" y="924"/>
                </a:moveTo>
                <a:lnTo>
                  <a:pt x="6166" y="929"/>
                </a:lnTo>
                <a:lnTo>
                  <a:pt x="6164" y="907"/>
                </a:lnTo>
                <a:lnTo>
                  <a:pt x="6160" y="887"/>
                </a:lnTo>
                <a:lnTo>
                  <a:pt x="6157" y="879"/>
                </a:lnTo>
                <a:lnTo>
                  <a:pt x="6154" y="871"/>
                </a:lnTo>
                <a:lnTo>
                  <a:pt x="6151" y="863"/>
                </a:lnTo>
                <a:lnTo>
                  <a:pt x="6148" y="857"/>
                </a:lnTo>
                <a:lnTo>
                  <a:pt x="6144" y="851"/>
                </a:lnTo>
                <a:lnTo>
                  <a:pt x="6140" y="847"/>
                </a:lnTo>
                <a:lnTo>
                  <a:pt x="6134" y="842"/>
                </a:lnTo>
                <a:lnTo>
                  <a:pt x="6129" y="838"/>
                </a:lnTo>
                <a:lnTo>
                  <a:pt x="6123" y="836"/>
                </a:lnTo>
                <a:lnTo>
                  <a:pt x="6115" y="834"/>
                </a:lnTo>
                <a:lnTo>
                  <a:pt x="6108" y="833"/>
                </a:lnTo>
                <a:lnTo>
                  <a:pt x="6100" y="832"/>
                </a:lnTo>
                <a:lnTo>
                  <a:pt x="6089" y="833"/>
                </a:lnTo>
                <a:lnTo>
                  <a:pt x="6080" y="835"/>
                </a:lnTo>
                <a:lnTo>
                  <a:pt x="6070" y="837"/>
                </a:lnTo>
                <a:lnTo>
                  <a:pt x="6062" y="842"/>
                </a:lnTo>
                <a:lnTo>
                  <a:pt x="6055" y="848"/>
                </a:lnTo>
                <a:lnTo>
                  <a:pt x="6048" y="854"/>
                </a:lnTo>
                <a:lnTo>
                  <a:pt x="6042" y="862"/>
                </a:lnTo>
                <a:lnTo>
                  <a:pt x="6036" y="872"/>
                </a:lnTo>
                <a:lnTo>
                  <a:pt x="6030" y="882"/>
                </a:lnTo>
                <a:lnTo>
                  <a:pt x="6026" y="893"/>
                </a:lnTo>
                <a:lnTo>
                  <a:pt x="6023" y="906"/>
                </a:lnTo>
                <a:lnTo>
                  <a:pt x="6020" y="920"/>
                </a:lnTo>
                <a:lnTo>
                  <a:pt x="6018" y="935"/>
                </a:lnTo>
                <a:lnTo>
                  <a:pt x="6016" y="952"/>
                </a:lnTo>
                <a:lnTo>
                  <a:pt x="6015" y="969"/>
                </a:lnTo>
                <a:lnTo>
                  <a:pt x="6015" y="988"/>
                </a:lnTo>
                <a:lnTo>
                  <a:pt x="6015" y="1010"/>
                </a:lnTo>
                <a:lnTo>
                  <a:pt x="6016" y="1031"/>
                </a:lnTo>
                <a:lnTo>
                  <a:pt x="6018" y="1048"/>
                </a:lnTo>
                <a:lnTo>
                  <a:pt x="6020" y="1066"/>
                </a:lnTo>
                <a:lnTo>
                  <a:pt x="6023" y="1081"/>
                </a:lnTo>
                <a:lnTo>
                  <a:pt x="6026" y="1094"/>
                </a:lnTo>
                <a:lnTo>
                  <a:pt x="6030" y="1106"/>
                </a:lnTo>
                <a:lnTo>
                  <a:pt x="6036" y="1115"/>
                </a:lnTo>
                <a:lnTo>
                  <a:pt x="6041" y="1124"/>
                </a:lnTo>
                <a:lnTo>
                  <a:pt x="6047" y="1132"/>
                </a:lnTo>
                <a:lnTo>
                  <a:pt x="6053" y="1138"/>
                </a:lnTo>
                <a:lnTo>
                  <a:pt x="6061" y="1143"/>
                </a:lnTo>
                <a:lnTo>
                  <a:pt x="6069" y="1146"/>
                </a:lnTo>
                <a:lnTo>
                  <a:pt x="6078" y="1149"/>
                </a:lnTo>
                <a:lnTo>
                  <a:pt x="6087" y="1151"/>
                </a:lnTo>
                <a:lnTo>
                  <a:pt x="6097" y="1151"/>
                </a:lnTo>
                <a:lnTo>
                  <a:pt x="6104" y="1151"/>
                </a:lnTo>
                <a:lnTo>
                  <a:pt x="6111" y="1150"/>
                </a:lnTo>
                <a:lnTo>
                  <a:pt x="6119" y="1148"/>
                </a:lnTo>
                <a:lnTo>
                  <a:pt x="6125" y="1145"/>
                </a:lnTo>
                <a:lnTo>
                  <a:pt x="6130" y="1142"/>
                </a:lnTo>
                <a:lnTo>
                  <a:pt x="6136" y="1138"/>
                </a:lnTo>
                <a:lnTo>
                  <a:pt x="6141" y="1133"/>
                </a:lnTo>
                <a:lnTo>
                  <a:pt x="6146" y="1127"/>
                </a:lnTo>
                <a:lnTo>
                  <a:pt x="6150" y="1120"/>
                </a:lnTo>
                <a:lnTo>
                  <a:pt x="6153" y="1113"/>
                </a:lnTo>
                <a:lnTo>
                  <a:pt x="6156" y="1106"/>
                </a:lnTo>
                <a:lnTo>
                  <a:pt x="6160" y="1096"/>
                </a:lnTo>
                <a:lnTo>
                  <a:pt x="6162" y="1087"/>
                </a:lnTo>
                <a:lnTo>
                  <a:pt x="6164" y="1076"/>
                </a:lnTo>
                <a:lnTo>
                  <a:pt x="6165" y="1065"/>
                </a:lnTo>
                <a:lnTo>
                  <a:pt x="6166" y="1054"/>
                </a:lnTo>
                <a:lnTo>
                  <a:pt x="6321" y="1062"/>
                </a:lnTo>
                <a:lnTo>
                  <a:pt x="6318" y="1087"/>
                </a:lnTo>
                <a:lnTo>
                  <a:pt x="6314" y="1111"/>
                </a:lnTo>
                <a:lnTo>
                  <a:pt x="6308" y="1133"/>
                </a:lnTo>
                <a:lnTo>
                  <a:pt x="6299" y="1152"/>
                </a:lnTo>
                <a:lnTo>
                  <a:pt x="6295" y="1163"/>
                </a:lnTo>
                <a:lnTo>
                  <a:pt x="6290" y="1171"/>
                </a:lnTo>
                <a:lnTo>
                  <a:pt x="6284" y="1180"/>
                </a:lnTo>
                <a:lnTo>
                  <a:pt x="6279" y="1189"/>
                </a:lnTo>
                <a:lnTo>
                  <a:pt x="6273" y="1196"/>
                </a:lnTo>
                <a:lnTo>
                  <a:pt x="6267" y="1203"/>
                </a:lnTo>
                <a:lnTo>
                  <a:pt x="6259" y="1211"/>
                </a:lnTo>
                <a:lnTo>
                  <a:pt x="6252" y="1218"/>
                </a:lnTo>
                <a:lnTo>
                  <a:pt x="6245" y="1224"/>
                </a:lnTo>
                <a:lnTo>
                  <a:pt x="6237" y="1229"/>
                </a:lnTo>
                <a:lnTo>
                  <a:pt x="6229" y="1236"/>
                </a:lnTo>
                <a:lnTo>
                  <a:pt x="6219" y="1240"/>
                </a:lnTo>
                <a:lnTo>
                  <a:pt x="6211" y="1245"/>
                </a:lnTo>
                <a:lnTo>
                  <a:pt x="6202" y="1249"/>
                </a:lnTo>
                <a:lnTo>
                  <a:pt x="6191" y="1253"/>
                </a:lnTo>
                <a:lnTo>
                  <a:pt x="6182" y="1256"/>
                </a:lnTo>
                <a:lnTo>
                  <a:pt x="6160" y="1263"/>
                </a:lnTo>
                <a:lnTo>
                  <a:pt x="6136" y="1266"/>
                </a:lnTo>
                <a:lnTo>
                  <a:pt x="6112" y="1269"/>
                </a:lnTo>
                <a:lnTo>
                  <a:pt x="6086" y="1270"/>
                </a:lnTo>
                <a:lnTo>
                  <a:pt x="6071" y="1269"/>
                </a:lnTo>
                <a:lnTo>
                  <a:pt x="6058" y="1268"/>
                </a:lnTo>
                <a:lnTo>
                  <a:pt x="6044" y="1267"/>
                </a:lnTo>
                <a:lnTo>
                  <a:pt x="6030" y="1265"/>
                </a:lnTo>
                <a:lnTo>
                  <a:pt x="6018" y="1263"/>
                </a:lnTo>
                <a:lnTo>
                  <a:pt x="6006" y="1260"/>
                </a:lnTo>
                <a:lnTo>
                  <a:pt x="5995" y="1256"/>
                </a:lnTo>
                <a:lnTo>
                  <a:pt x="5983" y="1252"/>
                </a:lnTo>
                <a:lnTo>
                  <a:pt x="5972" y="1248"/>
                </a:lnTo>
                <a:lnTo>
                  <a:pt x="5961" y="1243"/>
                </a:lnTo>
                <a:lnTo>
                  <a:pt x="5952" y="1237"/>
                </a:lnTo>
                <a:lnTo>
                  <a:pt x="5942" y="1230"/>
                </a:lnTo>
                <a:lnTo>
                  <a:pt x="5933" y="1224"/>
                </a:lnTo>
                <a:lnTo>
                  <a:pt x="5923" y="1217"/>
                </a:lnTo>
                <a:lnTo>
                  <a:pt x="5916" y="1209"/>
                </a:lnTo>
                <a:lnTo>
                  <a:pt x="5908" y="1200"/>
                </a:lnTo>
                <a:lnTo>
                  <a:pt x="5900" y="1192"/>
                </a:lnTo>
                <a:lnTo>
                  <a:pt x="5893" y="1183"/>
                </a:lnTo>
                <a:lnTo>
                  <a:pt x="5887" y="1172"/>
                </a:lnTo>
                <a:lnTo>
                  <a:pt x="5880" y="1162"/>
                </a:lnTo>
                <a:lnTo>
                  <a:pt x="5875" y="1151"/>
                </a:lnTo>
                <a:lnTo>
                  <a:pt x="5870" y="1140"/>
                </a:lnTo>
                <a:lnTo>
                  <a:pt x="5866" y="1127"/>
                </a:lnTo>
                <a:lnTo>
                  <a:pt x="5861" y="1115"/>
                </a:lnTo>
                <a:lnTo>
                  <a:pt x="5857" y="1101"/>
                </a:lnTo>
                <a:lnTo>
                  <a:pt x="5854" y="1088"/>
                </a:lnTo>
                <a:lnTo>
                  <a:pt x="5852" y="1074"/>
                </a:lnTo>
                <a:lnTo>
                  <a:pt x="5850" y="1060"/>
                </a:lnTo>
                <a:lnTo>
                  <a:pt x="5847" y="1029"/>
                </a:lnTo>
                <a:lnTo>
                  <a:pt x="5846" y="995"/>
                </a:lnTo>
                <a:lnTo>
                  <a:pt x="5846" y="979"/>
                </a:lnTo>
                <a:lnTo>
                  <a:pt x="5847" y="962"/>
                </a:lnTo>
                <a:lnTo>
                  <a:pt x="5848" y="946"/>
                </a:lnTo>
                <a:lnTo>
                  <a:pt x="5850" y="932"/>
                </a:lnTo>
                <a:lnTo>
                  <a:pt x="5852" y="917"/>
                </a:lnTo>
                <a:lnTo>
                  <a:pt x="5855" y="903"/>
                </a:lnTo>
                <a:lnTo>
                  <a:pt x="5858" y="889"/>
                </a:lnTo>
                <a:lnTo>
                  <a:pt x="5862" y="877"/>
                </a:lnTo>
                <a:lnTo>
                  <a:pt x="5867" y="863"/>
                </a:lnTo>
                <a:lnTo>
                  <a:pt x="5871" y="852"/>
                </a:lnTo>
                <a:lnTo>
                  <a:pt x="5876" y="840"/>
                </a:lnTo>
                <a:lnTo>
                  <a:pt x="5882" y="829"/>
                </a:lnTo>
                <a:lnTo>
                  <a:pt x="5889" y="819"/>
                </a:lnTo>
                <a:lnTo>
                  <a:pt x="5895" y="808"/>
                </a:lnTo>
                <a:lnTo>
                  <a:pt x="5902" y="799"/>
                </a:lnTo>
                <a:lnTo>
                  <a:pt x="5911" y="789"/>
                </a:lnTo>
                <a:lnTo>
                  <a:pt x="5919" y="781"/>
                </a:lnTo>
                <a:lnTo>
                  <a:pt x="5927" y="773"/>
                </a:lnTo>
                <a:lnTo>
                  <a:pt x="5937" y="765"/>
                </a:lnTo>
                <a:lnTo>
                  <a:pt x="5946" y="758"/>
                </a:lnTo>
                <a:lnTo>
                  <a:pt x="5956" y="752"/>
                </a:lnTo>
                <a:lnTo>
                  <a:pt x="5966" y="747"/>
                </a:lnTo>
                <a:lnTo>
                  <a:pt x="5977" y="742"/>
                </a:lnTo>
                <a:lnTo>
                  <a:pt x="5988" y="736"/>
                </a:lnTo>
                <a:lnTo>
                  <a:pt x="6000" y="732"/>
                </a:lnTo>
                <a:lnTo>
                  <a:pt x="6011" y="729"/>
                </a:lnTo>
                <a:lnTo>
                  <a:pt x="6024" y="726"/>
                </a:lnTo>
                <a:lnTo>
                  <a:pt x="6037" y="723"/>
                </a:lnTo>
                <a:lnTo>
                  <a:pt x="6050" y="721"/>
                </a:lnTo>
                <a:lnTo>
                  <a:pt x="6064" y="720"/>
                </a:lnTo>
                <a:lnTo>
                  <a:pt x="6078" y="719"/>
                </a:lnTo>
                <a:lnTo>
                  <a:pt x="6092" y="719"/>
                </a:lnTo>
                <a:lnTo>
                  <a:pt x="6118" y="720"/>
                </a:lnTo>
                <a:lnTo>
                  <a:pt x="6142" y="722"/>
                </a:lnTo>
                <a:lnTo>
                  <a:pt x="6165" y="726"/>
                </a:lnTo>
                <a:lnTo>
                  <a:pt x="6186" y="731"/>
                </a:lnTo>
                <a:lnTo>
                  <a:pt x="6206" y="738"/>
                </a:lnTo>
                <a:lnTo>
                  <a:pt x="6224" y="748"/>
                </a:lnTo>
                <a:lnTo>
                  <a:pt x="6232" y="753"/>
                </a:lnTo>
                <a:lnTo>
                  <a:pt x="6240" y="758"/>
                </a:lnTo>
                <a:lnTo>
                  <a:pt x="6248" y="763"/>
                </a:lnTo>
                <a:lnTo>
                  <a:pt x="6255" y="770"/>
                </a:lnTo>
                <a:lnTo>
                  <a:pt x="6262" y="777"/>
                </a:lnTo>
                <a:lnTo>
                  <a:pt x="6269" y="783"/>
                </a:lnTo>
                <a:lnTo>
                  <a:pt x="6275" y="790"/>
                </a:lnTo>
                <a:lnTo>
                  <a:pt x="6280" y="799"/>
                </a:lnTo>
                <a:lnTo>
                  <a:pt x="6292" y="815"/>
                </a:lnTo>
                <a:lnTo>
                  <a:pt x="6300" y="834"/>
                </a:lnTo>
                <a:lnTo>
                  <a:pt x="6308" y="854"/>
                </a:lnTo>
                <a:lnTo>
                  <a:pt x="6314" y="876"/>
                </a:lnTo>
                <a:lnTo>
                  <a:pt x="6319" y="899"/>
                </a:lnTo>
                <a:lnTo>
                  <a:pt x="6321" y="924"/>
                </a:lnTo>
                <a:close/>
                <a:moveTo>
                  <a:pt x="5454" y="1194"/>
                </a:moveTo>
                <a:lnTo>
                  <a:pt x="5454" y="1256"/>
                </a:lnTo>
                <a:lnTo>
                  <a:pt x="5285" y="1256"/>
                </a:lnTo>
                <a:lnTo>
                  <a:pt x="5285" y="731"/>
                </a:lnTo>
                <a:lnTo>
                  <a:pt x="5454" y="731"/>
                </a:lnTo>
                <a:lnTo>
                  <a:pt x="5453" y="984"/>
                </a:lnTo>
                <a:lnTo>
                  <a:pt x="5589" y="799"/>
                </a:lnTo>
                <a:lnTo>
                  <a:pt x="5589" y="731"/>
                </a:lnTo>
                <a:lnTo>
                  <a:pt x="5758" y="731"/>
                </a:lnTo>
                <a:lnTo>
                  <a:pt x="5758" y="1256"/>
                </a:lnTo>
                <a:lnTo>
                  <a:pt x="5589" y="1256"/>
                </a:lnTo>
                <a:lnTo>
                  <a:pt x="5589" y="1012"/>
                </a:lnTo>
                <a:lnTo>
                  <a:pt x="5562" y="1051"/>
                </a:lnTo>
                <a:lnTo>
                  <a:pt x="5454" y="1194"/>
                </a:lnTo>
                <a:close/>
                <a:moveTo>
                  <a:pt x="4867" y="1194"/>
                </a:moveTo>
                <a:lnTo>
                  <a:pt x="4867" y="1256"/>
                </a:lnTo>
                <a:lnTo>
                  <a:pt x="4698" y="1256"/>
                </a:lnTo>
                <a:lnTo>
                  <a:pt x="4698" y="731"/>
                </a:lnTo>
                <a:lnTo>
                  <a:pt x="4867" y="731"/>
                </a:lnTo>
                <a:lnTo>
                  <a:pt x="4866" y="984"/>
                </a:lnTo>
                <a:lnTo>
                  <a:pt x="5002" y="799"/>
                </a:lnTo>
                <a:lnTo>
                  <a:pt x="5002" y="731"/>
                </a:lnTo>
                <a:lnTo>
                  <a:pt x="5171" y="731"/>
                </a:lnTo>
                <a:lnTo>
                  <a:pt x="5171" y="1256"/>
                </a:lnTo>
                <a:lnTo>
                  <a:pt x="5002" y="1256"/>
                </a:lnTo>
                <a:lnTo>
                  <a:pt x="5002" y="1012"/>
                </a:lnTo>
                <a:lnTo>
                  <a:pt x="4975" y="1051"/>
                </a:lnTo>
                <a:lnTo>
                  <a:pt x="4867" y="1194"/>
                </a:lnTo>
                <a:close/>
                <a:moveTo>
                  <a:pt x="4305" y="937"/>
                </a:moveTo>
                <a:lnTo>
                  <a:pt x="4333" y="937"/>
                </a:lnTo>
                <a:lnTo>
                  <a:pt x="4355" y="937"/>
                </a:lnTo>
                <a:lnTo>
                  <a:pt x="4371" y="936"/>
                </a:lnTo>
                <a:lnTo>
                  <a:pt x="4383" y="935"/>
                </a:lnTo>
                <a:lnTo>
                  <a:pt x="4391" y="933"/>
                </a:lnTo>
                <a:lnTo>
                  <a:pt x="4399" y="930"/>
                </a:lnTo>
                <a:lnTo>
                  <a:pt x="4405" y="925"/>
                </a:lnTo>
                <a:lnTo>
                  <a:pt x="4411" y="919"/>
                </a:lnTo>
                <a:lnTo>
                  <a:pt x="4414" y="915"/>
                </a:lnTo>
                <a:lnTo>
                  <a:pt x="4418" y="912"/>
                </a:lnTo>
                <a:lnTo>
                  <a:pt x="4419" y="908"/>
                </a:lnTo>
                <a:lnTo>
                  <a:pt x="4421" y="903"/>
                </a:lnTo>
                <a:lnTo>
                  <a:pt x="4423" y="892"/>
                </a:lnTo>
                <a:lnTo>
                  <a:pt x="4424" y="880"/>
                </a:lnTo>
                <a:lnTo>
                  <a:pt x="4423" y="864"/>
                </a:lnTo>
                <a:lnTo>
                  <a:pt x="4421" y="852"/>
                </a:lnTo>
                <a:lnTo>
                  <a:pt x="4419" y="846"/>
                </a:lnTo>
                <a:lnTo>
                  <a:pt x="4415" y="840"/>
                </a:lnTo>
                <a:lnTo>
                  <a:pt x="4413" y="835"/>
                </a:lnTo>
                <a:lnTo>
                  <a:pt x="4410" y="831"/>
                </a:lnTo>
                <a:lnTo>
                  <a:pt x="4406" y="828"/>
                </a:lnTo>
                <a:lnTo>
                  <a:pt x="4402" y="825"/>
                </a:lnTo>
                <a:lnTo>
                  <a:pt x="4398" y="822"/>
                </a:lnTo>
                <a:lnTo>
                  <a:pt x="4392" y="820"/>
                </a:lnTo>
                <a:lnTo>
                  <a:pt x="4387" y="817"/>
                </a:lnTo>
                <a:lnTo>
                  <a:pt x="4381" y="816"/>
                </a:lnTo>
                <a:lnTo>
                  <a:pt x="4375" y="815"/>
                </a:lnTo>
                <a:lnTo>
                  <a:pt x="4368" y="815"/>
                </a:lnTo>
                <a:lnTo>
                  <a:pt x="4362" y="815"/>
                </a:lnTo>
                <a:lnTo>
                  <a:pt x="4356" y="816"/>
                </a:lnTo>
                <a:lnTo>
                  <a:pt x="4350" y="817"/>
                </a:lnTo>
                <a:lnTo>
                  <a:pt x="4345" y="820"/>
                </a:lnTo>
                <a:lnTo>
                  <a:pt x="4340" y="823"/>
                </a:lnTo>
                <a:lnTo>
                  <a:pt x="4335" y="826"/>
                </a:lnTo>
                <a:lnTo>
                  <a:pt x="4330" y="830"/>
                </a:lnTo>
                <a:lnTo>
                  <a:pt x="4326" y="834"/>
                </a:lnTo>
                <a:lnTo>
                  <a:pt x="4322" y="839"/>
                </a:lnTo>
                <a:lnTo>
                  <a:pt x="4319" y="845"/>
                </a:lnTo>
                <a:lnTo>
                  <a:pt x="4316" y="851"/>
                </a:lnTo>
                <a:lnTo>
                  <a:pt x="4313" y="857"/>
                </a:lnTo>
                <a:lnTo>
                  <a:pt x="4307" y="873"/>
                </a:lnTo>
                <a:lnTo>
                  <a:pt x="4302" y="890"/>
                </a:lnTo>
                <a:lnTo>
                  <a:pt x="4153" y="865"/>
                </a:lnTo>
                <a:lnTo>
                  <a:pt x="4158" y="848"/>
                </a:lnTo>
                <a:lnTo>
                  <a:pt x="4163" y="831"/>
                </a:lnTo>
                <a:lnTo>
                  <a:pt x="4171" y="815"/>
                </a:lnTo>
                <a:lnTo>
                  <a:pt x="4179" y="801"/>
                </a:lnTo>
                <a:lnTo>
                  <a:pt x="4189" y="788"/>
                </a:lnTo>
                <a:lnTo>
                  <a:pt x="4199" y="776"/>
                </a:lnTo>
                <a:lnTo>
                  <a:pt x="4212" y="765"/>
                </a:lnTo>
                <a:lnTo>
                  <a:pt x="4224" y="755"/>
                </a:lnTo>
                <a:lnTo>
                  <a:pt x="4239" y="747"/>
                </a:lnTo>
                <a:lnTo>
                  <a:pt x="4256" y="739"/>
                </a:lnTo>
                <a:lnTo>
                  <a:pt x="4273" y="733"/>
                </a:lnTo>
                <a:lnTo>
                  <a:pt x="4292" y="728"/>
                </a:lnTo>
                <a:lnTo>
                  <a:pt x="4312" y="724"/>
                </a:lnTo>
                <a:lnTo>
                  <a:pt x="4333" y="721"/>
                </a:lnTo>
                <a:lnTo>
                  <a:pt x="4356" y="719"/>
                </a:lnTo>
                <a:lnTo>
                  <a:pt x="4379" y="719"/>
                </a:lnTo>
                <a:lnTo>
                  <a:pt x="4405" y="720"/>
                </a:lnTo>
                <a:lnTo>
                  <a:pt x="4429" y="722"/>
                </a:lnTo>
                <a:lnTo>
                  <a:pt x="4452" y="725"/>
                </a:lnTo>
                <a:lnTo>
                  <a:pt x="4473" y="730"/>
                </a:lnTo>
                <a:lnTo>
                  <a:pt x="4493" y="735"/>
                </a:lnTo>
                <a:lnTo>
                  <a:pt x="4511" y="744"/>
                </a:lnTo>
                <a:lnTo>
                  <a:pt x="4527" y="752"/>
                </a:lnTo>
                <a:lnTo>
                  <a:pt x="4541" y="762"/>
                </a:lnTo>
                <a:lnTo>
                  <a:pt x="4555" y="774"/>
                </a:lnTo>
                <a:lnTo>
                  <a:pt x="4566" y="785"/>
                </a:lnTo>
                <a:lnTo>
                  <a:pt x="4575" y="798"/>
                </a:lnTo>
                <a:lnTo>
                  <a:pt x="4583" y="811"/>
                </a:lnTo>
                <a:lnTo>
                  <a:pt x="4589" y="825"/>
                </a:lnTo>
                <a:lnTo>
                  <a:pt x="4593" y="838"/>
                </a:lnTo>
                <a:lnTo>
                  <a:pt x="4596" y="853"/>
                </a:lnTo>
                <a:lnTo>
                  <a:pt x="4597" y="868"/>
                </a:lnTo>
                <a:lnTo>
                  <a:pt x="4596" y="878"/>
                </a:lnTo>
                <a:lnTo>
                  <a:pt x="4596" y="886"/>
                </a:lnTo>
                <a:lnTo>
                  <a:pt x="4594" y="894"/>
                </a:lnTo>
                <a:lnTo>
                  <a:pt x="4592" y="903"/>
                </a:lnTo>
                <a:lnTo>
                  <a:pt x="4589" y="911"/>
                </a:lnTo>
                <a:lnTo>
                  <a:pt x="4586" y="918"/>
                </a:lnTo>
                <a:lnTo>
                  <a:pt x="4581" y="926"/>
                </a:lnTo>
                <a:lnTo>
                  <a:pt x="4577" y="933"/>
                </a:lnTo>
                <a:lnTo>
                  <a:pt x="4571" y="940"/>
                </a:lnTo>
                <a:lnTo>
                  <a:pt x="4566" y="946"/>
                </a:lnTo>
                <a:lnTo>
                  <a:pt x="4558" y="953"/>
                </a:lnTo>
                <a:lnTo>
                  <a:pt x="4552" y="959"/>
                </a:lnTo>
                <a:lnTo>
                  <a:pt x="4544" y="965"/>
                </a:lnTo>
                <a:lnTo>
                  <a:pt x="4535" y="970"/>
                </a:lnTo>
                <a:lnTo>
                  <a:pt x="4526" y="976"/>
                </a:lnTo>
                <a:lnTo>
                  <a:pt x="4516" y="981"/>
                </a:lnTo>
                <a:lnTo>
                  <a:pt x="4528" y="986"/>
                </a:lnTo>
                <a:lnTo>
                  <a:pt x="4538" y="991"/>
                </a:lnTo>
                <a:lnTo>
                  <a:pt x="4549" y="997"/>
                </a:lnTo>
                <a:lnTo>
                  <a:pt x="4558" y="1004"/>
                </a:lnTo>
                <a:lnTo>
                  <a:pt x="4567" y="1010"/>
                </a:lnTo>
                <a:lnTo>
                  <a:pt x="4574" y="1016"/>
                </a:lnTo>
                <a:lnTo>
                  <a:pt x="4581" y="1023"/>
                </a:lnTo>
                <a:lnTo>
                  <a:pt x="4588" y="1031"/>
                </a:lnTo>
                <a:lnTo>
                  <a:pt x="4594" y="1039"/>
                </a:lnTo>
                <a:lnTo>
                  <a:pt x="4598" y="1047"/>
                </a:lnTo>
                <a:lnTo>
                  <a:pt x="4602" y="1056"/>
                </a:lnTo>
                <a:lnTo>
                  <a:pt x="4606" y="1064"/>
                </a:lnTo>
                <a:lnTo>
                  <a:pt x="4609" y="1073"/>
                </a:lnTo>
                <a:lnTo>
                  <a:pt x="4611" y="1083"/>
                </a:lnTo>
                <a:lnTo>
                  <a:pt x="4612" y="1093"/>
                </a:lnTo>
                <a:lnTo>
                  <a:pt x="4612" y="1104"/>
                </a:lnTo>
                <a:lnTo>
                  <a:pt x="4611" y="1119"/>
                </a:lnTo>
                <a:lnTo>
                  <a:pt x="4609" y="1136"/>
                </a:lnTo>
                <a:lnTo>
                  <a:pt x="4604" y="1150"/>
                </a:lnTo>
                <a:lnTo>
                  <a:pt x="4598" y="1166"/>
                </a:lnTo>
                <a:lnTo>
                  <a:pt x="4591" y="1179"/>
                </a:lnTo>
                <a:lnTo>
                  <a:pt x="4581" y="1194"/>
                </a:lnTo>
                <a:lnTo>
                  <a:pt x="4571" y="1206"/>
                </a:lnTo>
                <a:lnTo>
                  <a:pt x="4558" y="1220"/>
                </a:lnTo>
                <a:lnTo>
                  <a:pt x="4552" y="1225"/>
                </a:lnTo>
                <a:lnTo>
                  <a:pt x="4544" y="1231"/>
                </a:lnTo>
                <a:lnTo>
                  <a:pt x="4536" y="1237"/>
                </a:lnTo>
                <a:lnTo>
                  <a:pt x="4527" y="1242"/>
                </a:lnTo>
                <a:lnTo>
                  <a:pt x="4518" y="1246"/>
                </a:lnTo>
                <a:lnTo>
                  <a:pt x="4508" y="1250"/>
                </a:lnTo>
                <a:lnTo>
                  <a:pt x="4498" y="1253"/>
                </a:lnTo>
                <a:lnTo>
                  <a:pt x="4487" y="1256"/>
                </a:lnTo>
                <a:lnTo>
                  <a:pt x="4464" y="1263"/>
                </a:lnTo>
                <a:lnTo>
                  <a:pt x="4439" y="1267"/>
                </a:lnTo>
                <a:lnTo>
                  <a:pt x="4410" y="1269"/>
                </a:lnTo>
                <a:lnTo>
                  <a:pt x="4381" y="1270"/>
                </a:lnTo>
                <a:lnTo>
                  <a:pt x="4361" y="1269"/>
                </a:lnTo>
                <a:lnTo>
                  <a:pt x="4342" y="1268"/>
                </a:lnTo>
                <a:lnTo>
                  <a:pt x="4323" y="1266"/>
                </a:lnTo>
                <a:lnTo>
                  <a:pt x="4305" y="1263"/>
                </a:lnTo>
                <a:lnTo>
                  <a:pt x="4288" y="1258"/>
                </a:lnTo>
                <a:lnTo>
                  <a:pt x="4272" y="1254"/>
                </a:lnTo>
                <a:lnTo>
                  <a:pt x="4257" y="1248"/>
                </a:lnTo>
                <a:lnTo>
                  <a:pt x="4242" y="1242"/>
                </a:lnTo>
                <a:lnTo>
                  <a:pt x="4235" y="1238"/>
                </a:lnTo>
                <a:lnTo>
                  <a:pt x="4228" y="1234"/>
                </a:lnTo>
                <a:lnTo>
                  <a:pt x="4220" y="1228"/>
                </a:lnTo>
                <a:lnTo>
                  <a:pt x="4214" y="1223"/>
                </a:lnTo>
                <a:lnTo>
                  <a:pt x="4200" y="1211"/>
                </a:lnTo>
                <a:lnTo>
                  <a:pt x="4188" y="1196"/>
                </a:lnTo>
                <a:lnTo>
                  <a:pt x="4175" y="1178"/>
                </a:lnTo>
                <a:lnTo>
                  <a:pt x="4162" y="1160"/>
                </a:lnTo>
                <a:lnTo>
                  <a:pt x="4151" y="1138"/>
                </a:lnTo>
                <a:lnTo>
                  <a:pt x="4140" y="1114"/>
                </a:lnTo>
                <a:lnTo>
                  <a:pt x="4285" y="1091"/>
                </a:lnTo>
                <a:lnTo>
                  <a:pt x="4293" y="1110"/>
                </a:lnTo>
                <a:lnTo>
                  <a:pt x="4301" y="1126"/>
                </a:lnTo>
                <a:lnTo>
                  <a:pt x="4305" y="1134"/>
                </a:lnTo>
                <a:lnTo>
                  <a:pt x="4310" y="1140"/>
                </a:lnTo>
                <a:lnTo>
                  <a:pt x="4316" y="1146"/>
                </a:lnTo>
                <a:lnTo>
                  <a:pt x="4321" y="1151"/>
                </a:lnTo>
                <a:lnTo>
                  <a:pt x="4326" y="1156"/>
                </a:lnTo>
                <a:lnTo>
                  <a:pt x="4333" y="1160"/>
                </a:lnTo>
                <a:lnTo>
                  <a:pt x="4339" y="1163"/>
                </a:lnTo>
                <a:lnTo>
                  <a:pt x="4345" y="1166"/>
                </a:lnTo>
                <a:lnTo>
                  <a:pt x="4351" y="1168"/>
                </a:lnTo>
                <a:lnTo>
                  <a:pt x="4359" y="1170"/>
                </a:lnTo>
                <a:lnTo>
                  <a:pt x="4366" y="1170"/>
                </a:lnTo>
                <a:lnTo>
                  <a:pt x="4373" y="1171"/>
                </a:lnTo>
                <a:lnTo>
                  <a:pt x="4380" y="1170"/>
                </a:lnTo>
                <a:lnTo>
                  <a:pt x="4387" y="1170"/>
                </a:lnTo>
                <a:lnTo>
                  <a:pt x="4393" y="1168"/>
                </a:lnTo>
                <a:lnTo>
                  <a:pt x="4399" y="1166"/>
                </a:lnTo>
                <a:lnTo>
                  <a:pt x="4405" y="1164"/>
                </a:lnTo>
                <a:lnTo>
                  <a:pt x="4410" y="1161"/>
                </a:lnTo>
                <a:lnTo>
                  <a:pt x="4415" y="1157"/>
                </a:lnTo>
                <a:lnTo>
                  <a:pt x="4420" y="1152"/>
                </a:lnTo>
                <a:lnTo>
                  <a:pt x="4424" y="1147"/>
                </a:lnTo>
                <a:lnTo>
                  <a:pt x="4428" y="1142"/>
                </a:lnTo>
                <a:lnTo>
                  <a:pt x="4431" y="1136"/>
                </a:lnTo>
                <a:lnTo>
                  <a:pt x="4434" y="1130"/>
                </a:lnTo>
                <a:lnTo>
                  <a:pt x="4436" y="1122"/>
                </a:lnTo>
                <a:lnTo>
                  <a:pt x="4438" y="1115"/>
                </a:lnTo>
                <a:lnTo>
                  <a:pt x="4439" y="1107"/>
                </a:lnTo>
                <a:lnTo>
                  <a:pt x="4439" y="1098"/>
                </a:lnTo>
                <a:lnTo>
                  <a:pt x="4438" y="1086"/>
                </a:lnTo>
                <a:lnTo>
                  <a:pt x="4435" y="1075"/>
                </a:lnTo>
                <a:lnTo>
                  <a:pt x="4433" y="1070"/>
                </a:lnTo>
                <a:lnTo>
                  <a:pt x="4431" y="1066"/>
                </a:lnTo>
                <a:lnTo>
                  <a:pt x="4428" y="1062"/>
                </a:lnTo>
                <a:lnTo>
                  <a:pt x="4425" y="1058"/>
                </a:lnTo>
                <a:lnTo>
                  <a:pt x="4417" y="1051"/>
                </a:lnTo>
                <a:lnTo>
                  <a:pt x="4408" y="1047"/>
                </a:lnTo>
                <a:lnTo>
                  <a:pt x="4400" y="1044"/>
                </a:lnTo>
                <a:lnTo>
                  <a:pt x="4389" y="1042"/>
                </a:lnTo>
                <a:lnTo>
                  <a:pt x="4377" y="1041"/>
                </a:lnTo>
                <a:lnTo>
                  <a:pt x="4358" y="1041"/>
                </a:lnTo>
                <a:lnTo>
                  <a:pt x="4335" y="1040"/>
                </a:lnTo>
                <a:lnTo>
                  <a:pt x="4305" y="1040"/>
                </a:lnTo>
                <a:lnTo>
                  <a:pt x="4305" y="937"/>
                </a:lnTo>
                <a:close/>
                <a:moveTo>
                  <a:pt x="3907" y="1006"/>
                </a:moveTo>
                <a:lnTo>
                  <a:pt x="3889" y="1008"/>
                </a:lnTo>
                <a:lnTo>
                  <a:pt x="3873" y="1010"/>
                </a:lnTo>
                <a:lnTo>
                  <a:pt x="3858" y="1013"/>
                </a:lnTo>
                <a:lnTo>
                  <a:pt x="3843" y="1017"/>
                </a:lnTo>
                <a:lnTo>
                  <a:pt x="3831" y="1020"/>
                </a:lnTo>
                <a:lnTo>
                  <a:pt x="3820" y="1024"/>
                </a:lnTo>
                <a:lnTo>
                  <a:pt x="3810" y="1030"/>
                </a:lnTo>
                <a:lnTo>
                  <a:pt x="3801" y="1035"/>
                </a:lnTo>
                <a:lnTo>
                  <a:pt x="3794" y="1040"/>
                </a:lnTo>
                <a:lnTo>
                  <a:pt x="3788" y="1047"/>
                </a:lnTo>
                <a:lnTo>
                  <a:pt x="3781" y="1055"/>
                </a:lnTo>
                <a:lnTo>
                  <a:pt x="3777" y="1063"/>
                </a:lnTo>
                <a:lnTo>
                  <a:pt x="3774" y="1072"/>
                </a:lnTo>
                <a:lnTo>
                  <a:pt x="3771" y="1083"/>
                </a:lnTo>
                <a:lnTo>
                  <a:pt x="3770" y="1094"/>
                </a:lnTo>
                <a:lnTo>
                  <a:pt x="3770" y="1106"/>
                </a:lnTo>
                <a:lnTo>
                  <a:pt x="3770" y="1121"/>
                </a:lnTo>
                <a:lnTo>
                  <a:pt x="3773" y="1136"/>
                </a:lnTo>
                <a:lnTo>
                  <a:pt x="3775" y="1141"/>
                </a:lnTo>
                <a:lnTo>
                  <a:pt x="3777" y="1147"/>
                </a:lnTo>
                <a:lnTo>
                  <a:pt x="3780" y="1151"/>
                </a:lnTo>
                <a:lnTo>
                  <a:pt x="3783" y="1157"/>
                </a:lnTo>
                <a:lnTo>
                  <a:pt x="3788" y="1161"/>
                </a:lnTo>
                <a:lnTo>
                  <a:pt x="3792" y="1164"/>
                </a:lnTo>
                <a:lnTo>
                  <a:pt x="3796" y="1167"/>
                </a:lnTo>
                <a:lnTo>
                  <a:pt x="3801" y="1169"/>
                </a:lnTo>
                <a:lnTo>
                  <a:pt x="3808" y="1171"/>
                </a:lnTo>
                <a:lnTo>
                  <a:pt x="3813" y="1172"/>
                </a:lnTo>
                <a:lnTo>
                  <a:pt x="3819" y="1173"/>
                </a:lnTo>
                <a:lnTo>
                  <a:pt x="3826" y="1173"/>
                </a:lnTo>
                <a:lnTo>
                  <a:pt x="3834" y="1172"/>
                </a:lnTo>
                <a:lnTo>
                  <a:pt x="3841" y="1171"/>
                </a:lnTo>
                <a:lnTo>
                  <a:pt x="3848" y="1169"/>
                </a:lnTo>
                <a:lnTo>
                  <a:pt x="3856" y="1166"/>
                </a:lnTo>
                <a:lnTo>
                  <a:pt x="3863" y="1162"/>
                </a:lnTo>
                <a:lnTo>
                  <a:pt x="3869" y="1157"/>
                </a:lnTo>
                <a:lnTo>
                  <a:pt x="3876" y="1150"/>
                </a:lnTo>
                <a:lnTo>
                  <a:pt x="3882" y="1143"/>
                </a:lnTo>
                <a:lnTo>
                  <a:pt x="3888" y="1135"/>
                </a:lnTo>
                <a:lnTo>
                  <a:pt x="3894" y="1124"/>
                </a:lnTo>
                <a:lnTo>
                  <a:pt x="3898" y="1113"/>
                </a:lnTo>
                <a:lnTo>
                  <a:pt x="3901" y="1100"/>
                </a:lnTo>
                <a:lnTo>
                  <a:pt x="3904" y="1086"/>
                </a:lnTo>
                <a:lnTo>
                  <a:pt x="3906" y="1069"/>
                </a:lnTo>
                <a:lnTo>
                  <a:pt x="3907" y="1051"/>
                </a:lnTo>
                <a:lnTo>
                  <a:pt x="3907" y="1032"/>
                </a:lnTo>
                <a:lnTo>
                  <a:pt x="3907" y="1006"/>
                </a:lnTo>
                <a:close/>
                <a:moveTo>
                  <a:pt x="3776" y="897"/>
                </a:moveTo>
                <a:lnTo>
                  <a:pt x="3615" y="883"/>
                </a:lnTo>
                <a:lnTo>
                  <a:pt x="3620" y="864"/>
                </a:lnTo>
                <a:lnTo>
                  <a:pt x="3625" y="846"/>
                </a:lnTo>
                <a:lnTo>
                  <a:pt x="3632" y="829"/>
                </a:lnTo>
                <a:lnTo>
                  <a:pt x="3641" y="813"/>
                </a:lnTo>
                <a:lnTo>
                  <a:pt x="3651" y="799"/>
                </a:lnTo>
                <a:lnTo>
                  <a:pt x="3664" y="785"/>
                </a:lnTo>
                <a:lnTo>
                  <a:pt x="3677" y="773"/>
                </a:lnTo>
                <a:lnTo>
                  <a:pt x="3693" y="761"/>
                </a:lnTo>
                <a:lnTo>
                  <a:pt x="3711" y="751"/>
                </a:lnTo>
                <a:lnTo>
                  <a:pt x="3729" y="743"/>
                </a:lnTo>
                <a:lnTo>
                  <a:pt x="3748" y="735"/>
                </a:lnTo>
                <a:lnTo>
                  <a:pt x="3769" y="729"/>
                </a:lnTo>
                <a:lnTo>
                  <a:pt x="3790" y="725"/>
                </a:lnTo>
                <a:lnTo>
                  <a:pt x="3813" y="722"/>
                </a:lnTo>
                <a:lnTo>
                  <a:pt x="3836" y="720"/>
                </a:lnTo>
                <a:lnTo>
                  <a:pt x="3861" y="719"/>
                </a:lnTo>
                <a:lnTo>
                  <a:pt x="3881" y="719"/>
                </a:lnTo>
                <a:lnTo>
                  <a:pt x="3901" y="721"/>
                </a:lnTo>
                <a:lnTo>
                  <a:pt x="3920" y="723"/>
                </a:lnTo>
                <a:lnTo>
                  <a:pt x="3938" y="726"/>
                </a:lnTo>
                <a:lnTo>
                  <a:pt x="3955" y="730"/>
                </a:lnTo>
                <a:lnTo>
                  <a:pt x="3969" y="734"/>
                </a:lnTo>
                <a:lnTo>
                  <a:pt x="3984" y="741"/>
                </a:lnTo>
                <a:lnTo>
                  <a:pt x="3998" y="747"/>
                </a:lnTo>
                <a:lnTo>
                  <a:pt x="4010" y="754"/>
                </a:lnTo>
                <a:lnTo>
                  <a:pt x="4021" y="762"/>
                </a:lnTo>
                <a:lnTo>
                  <a:pt x="4031" y="770"/>
                </a:lnTo>
                <a:lnTo>
                  <a:pt x="4040" y="778"/>
                </a:lnTo>
                <a:lnTo>
                  <a:pt x="4047" y="786"/>
                </a:lnTo>
                <a:lnTo>
                  <a:pt x="4053" y="795"/>
                </a:lnTo>
                <a:lnTo>
                  <a:pt x="4058" y="804"/>
                </a:lnTo>
                <a:lnTo>
                  <a:pt x="4063" y="813"/>
                </a:lnTo>
                <a:lnTo>
                  <a:pt x="4066" y="824"/>
                </a:lnTo>
                <a:lnTo>
                  <a:pt x="4069" y="834"/>
                </a:lnTo>
                <a:lnTo>
                  <a:pt x="4071" y="848"/>
                </a:lnTo>
                <a:lnTo>
                  <a:pt x="4073" y="861"/>
                </a:lnTo>
                <a:lnTo>
                  <a:pt x="4075" y="892"/>
                </a:lnTo>
                <a:lnTo>
                  <a:pt x="4076" y="930"/>
                </a:lnTo>
                <a:lnTo>
                  <a:pt x="4076" y="1140"/>
                </a:lnTo>
                <a:lnTo>
                  <a:pt x="4077" y="1184"/>
                </a:lnTo>
                <a:lnTo>
                  <a:pt x="4078" y="1218"/>
                </a:lnTo>
                <a:lnTo>
                  <a:pt x="4079" y="1231"/>
                </a:lnTo>
                <a:lnTo>
                  <a:pt x="4082" y="1242"/>
                </a:lnTo>
                <a:lnTo>
                  <a:pt x="4083" y="1251"/>
                </a:lnTo>
                <a:lnTo>
                  <a:pt x="4085" y="1256"/>
                </a:lnTo>
                <a:lnTo>
                  <a:pt x="3929" y="1256"/>
                </a:lnTo>
                <a:lnTo>
                  <a:pt x="3926" y="1244"/>
                </a:lnTo>
                <a:lnTo>
                  <a:pt x="3923" y="1226"/>
                </a:lnTo>
                <a:lnTo>
                  <a:pt x="3922" y="1203"/>
                </a:lnTo>
                <a:lnTo>
                  <a:pt x="3921" y="1176"/>
                </a:lnTo>
                <a:lnTo>
                  <a:pt x="3915" y="1188"/>
                </a:lnTo>
                <a:lnTo>
                  <a:pt x="3906" y="1198"/>
                </a:lnTo>
                <a:lnTo>
                  <a:pt x="3899" y="1208"/>
                </a:lnTo>
                <a:lnTo>
                  <a:pt x="3890" y="1217"/>
                </a:lnTo>
                <a:lnTo>
                  <a:pt x="3881" y="1225"/>
                </a:lnTo>
                <a:lnTo>
                  <a:pt x="3872" y="1232"/>
                </a:lnTo>
                <a:lnTo>
                  <a:pt x="3862" y="1240"/>
                </a:lnTo>
                <a:lnTo>
                  <a:pt x="3852" y="1246"/>
                </a:lnTo>
                <a:lnTo>
                  <a:pt x="3841" y="1251"/>
                </a:lnTo>
                <a:lnTo>
                  <a:pt x="3831" y="1256"/>
                </a:lnTo>
                <a:lnTo>
                  <a:pt x="3819" y="1261"/>
                </a:lnTo>
                <a:lnTo>
                  <a:pt x="3808" y="1264"/>
                </a:lnTo>
                <a:lnTo>
                  <a:pt x="3795" y="1266"/>
                </a:lnTo>
                <a:lnTo>
                  <a:pt x="3782" y="1268"/>
                </a:lnTo>
                <a:lnTo>
                  <a:pt x="3769" y="1269"/>
                </a:lnTo>
                <a:lnTo>
                  <a:pt x="3756" y="1270"/>
                </a:lnTo>
                <a:lnTo>
                  <a:pt x="3738" y="1269"/>
                </a:lnTo>
                <a:lnTo>
                  <a:pt x="3721" y="1267"/>
                </a:lnTo>
                <a:lnTo>
                  <a:pt x="3706" y="1265"/>
                </a:lnTo>
                <a:lnTo>
                  <a:pt x="3691" y="1261"/>
                </a:lnTo>
                <a:lnTo>
                  <a:pt x="3677" y="1255"/>
                </a:lnTo>
                <a:lnTo>
                  <a:pt x="3665" y="1249"/>
                </a:lnTo>
                <a:lnTo>
                  <a:pt x="3652" y="1241"/>
                </a:lnTo>
                <a:lnTo>
                  <a:pt x="3641" y="1232"/>
                </a:lnTo>
                <a:lnTo>
                  <a:pt x="3630" y="1223"/>
                </a:lnTo>
                <a:lnTo>
                  <a:pt x="3621" y="1212"/>
                </a:lnTo>
                <a:lnTo>
                  <a:pt x="3613" y="1200"/>
                </a:lnTo>
                <a:lnTo>
                  <a:pt x="3607" y="1188"/>
                </a:lnTo>
                <a:lnTo>
                  <a:pt x="3603" y="1173"/>
                </a:lnTo>
                <a:lnTo>
                  <a:pt x="3599" y="1159"/>
                </a:lnTo>
                <a:lnTo>
                  <a:pt x="3596" y="1142"/>
                </a:lnTo>
                <a:lnTo>
                  <a:pt x="3596" y="1125"/>
                </a:lnTo>
                <a:lnTo>
                  <a:pt x="3596" y="1115"/>
                </a:lnTo>
                <a:lnTo>
                  <a:pt x="3598" y="1104"/>
                </a:lnTo>
                <a:lnTo>
                  <a:pt x="3599" y="1094"/>
                </a:lnTo>
                <a:lnTo>
                  <a:pt x="3601" y="1084"/>
                </a:lnTo>
                <a:lnTo>
                  <a:pt x="3603" y="1074"/>
                </a:lnTo>
                <a:lnTo>
                  <a:pt x="3606" y="1065"/>
                </a:lnTo>
                <a:lnTo>
                  <a:pt x="3609" y="1056"/>
                </a:lnTo>
                <a:lnTo>
                  <a:pt x="3613" y="1047"/>
                </a:lnTo>
                <a:lnTo>
                  <a:pt x="3617" y="1039"/>
                </a:lnTo>
                <a:lnTo>
                  <a:pt x="3623" y="1031"/>
                </a:lnTo>
                <a:lnTo>
                  <a:pt x="3628" y="1022"/>
                </a:lnTo>
                <a:lnTo>
                  <a:pt x="3634" y="1015"/>
                </a:lnTo>
                <a:lnTo>
                  <a:pt x="3641" y="1008"/>
                </a:lnTo>
                <a:lnTo>
                  <a:pt x="3648" y="1002"/>
                </a:lnTo>
                <a:lnTo>
                  <a:pt x="3655" y="995"/>
                </a:lnTo>
                <a:lnTo>
                  <a:pt x="3664" y="989"/>
                </a:lnTo>
                <a:lnTo>
                  <a:pt x="3672" y="983"/>
                </a:lnTo>
                <a:lnTo>
                  <a:pt x="3682" y="978"/>
                </a:lnTo>
                <a:lnTo>
                  <a:pt x="3692" y="972"/>
                </a:lnTo>
                <a:lnTo>
                  <a:pt x="3704" y="967"/>
                </a:lnTo>
                <a:lnTo>
                  <a:pt x="3716" y="962"/>
                </a:lnTo>
                <a:lnTo>
                  <a:pt x="3729" y="958"/>
                </a:lnTo>
                <a:lnTo>
                  <a:pt x="3743" y="954"/>
                </a:lnTo>
                <a:lnTo>
                  <a:pt x="3758" y="951"/>
                </a:lnTo>
                <a:lnTo>
                  <a:pt x="3790" y="943"/>
                </a:lnTo>
                <a:lnTo>
                  <a:pt x="3825" y="938"/>
                </a:lnTo>
                <a:lnTo>
                  <a:pt x="3865" y="934"/>
                </a:lnTo>
                <a:lnTo>
                  <a:pt x="3907" y="931"/>
                </a:lnTo>
                <a:lnTo>
                  <a:pt x="3907" y="911"/>
                </a:lnTo>
                <a:lnTo>
                  <a:pt x="3907" y="886"/>
                </a:lnTo>
                <a:lnTo>
                  <a:pt x="3904" y="865"/>
                </a:lnTo>
                <a:lnTo>
                  <a:pt x="3903" y="856"/>
                </a:lnTo>
                <a:lnTo>
                  <a:pt x="3901" y="849"/>
                </a:lnTo>
                <a:lnTo>
                  <a:pt x="3898" y="841"/>
                </a:lnTo>
                <a:lnTo>
                  <a:pt x="3896" y="836"/>
                </a:lnTo>
                <a:lnTo>
                  <a:pt x="3892" y="831"/>
                </a:lnTo>
                <a:lnTo>
                  <a:pt x="3887" y="827"/>
                </a:lnTo>
                <a:lnTo>
                  <a:pt x="3883" y="824"/>
                </a:lnTo>
                <a:lnTo>
                  <a:pt x="3877" y="821"/>
                </a:lnTo>
                <a:lnTo>
                  <a:pt x="3871" y="819"/>
                </a:lnTo>
                <a:lnTo>
                  <a:pt x="3863" y="816"/>
                </a:lnTo>
                <a:lnTo>
                  <a:pt x="3856" y="815"/>
                </a:lnTo>
                <a:lnTo>
                  <a:pt x="3847" y="815"/>
                </a:lnTo>
                <a:lnTo>
                  <a:pt x="3839" y="815"/>
                </a:lnTo>
                <a:lnTo>
                  <a:pt x="3832" y="816"/>
                </a:lnTo>
                <a:lnTo>
                  <a:pt x="3825" y="819"/>
                </a:lnTo>
                <a:lnTo>
                  <a:pt x="3819" y="821"/>
                </a:lnTo>
                <a:lnTo>
                  <a:pt x="3813" y="823"/>
                </a:lnTo>
                <a:lnTo>
                  <a:pt x="3806" y="827"/>
                </a:lnTo>
                <a:lnTo>
                  <a:pt x="3801" y="831"/>
                </a:lnTo>
                <a:lnTo>
                  <a:pt x="3797" y="835"/>
                </a:lnTo>
                <a:lnTo>
                  <a:pt x="3793" y="841"/>
                </a:lnTo>
                <a:lnTo>
                  <a:pt x="3789" y="847"/>
                </a:lnTo>
                <a:lnTo>
                  <a:pt x="3785" y="854"/>
                </a:lnTo>
                <a:lnTo>
                  <a:pt x="3782" y="861"/>
                </a:lnTo>
                <a:lnTo>
                  <a:pt x="3780" y="868"/>
                </a:lnTo>
                <a:lnTo>
                  <a:pt x="3778" y="878"/>
                </a:lnTo>
                <a:lnTo>
                  <a:pt x="3777" y="887"/>
                </a:lnTo>
                <a:lnTo>
                  <a:pt x="3776" y="897"/>
                </a:lnTo>
                <a:close/>
                <a:moveTo>
                  <a:pt x="3208" y="1041"/>
                </a:moveTo>
                <a:lnTo>
                  <a:pt x="3208" y="1059"/>
                </a:lnTo>
                <a:lnTo>
                  <a:pt x="3209" y="1074"/>
                </a:lnTo>
                <a:lnTo>
                  <a:pt x="3210" y="1089"/>
                </a:lnTo>
                <a:lnTo>
                  <a:pt x="3211" y="1102"/>
                </a:lnTo>
                <a:lnTo>
                  <a:pt x="3213" y="1114"/>
                </a:lnTo>
                <a:lnTo>
                  <a:pt x="3215" y="1123"/>
                </a:lnTo>
                <a:lnTo>
                  <a:pt x="3218" y="1132"/>
                </a:lnTo>
                <a:lnTo>
                  <a:pt x="3222" y="1138"/>
                </a:lnTo>
                <a:lnTo>
                  <a:pt x="3226" y="1143"/>
                </a:lnTo>
                <a:lnTo>
                  <a:pt x="3230" y="1147"/>
                </a:lnTo>
                <a:lnTo>
                  <a:pt x="3236" y="1151"/>
                </a:lnTo>
                <a:lnTo>
                  <a:pt x="3243" y="1154"/>
                </a:lnTo>
                <a:lnTo>
                  <a:pt x="3250" y="1157"/>
                </a:lnTo>
                <a:lnTo>
                  <a:pt x="3258" y="1159"/>
                </a:lnTo>
                <a:lnTo>
                  <a:pt x="3268" y="1160"/>
                </a:lnTo>
                <a:lnTo>
                  <a:pt x="3278" y="1160"/>
                </a:lnTo>
                <a:lnTo>
                  <a:pt x="3288" y="1160"/>
                </a:lnTo>
                <a:lnTo>
                  <a:pt x="3296" y="1159"/>
                </a:lnTo>
                <a:lnTo>
                  <a:pt x="3304" y="1156"/>
                </a:lnTo>
                <a:lnTo>
                  <a:pt x="3311" y="1152"/>
                </a:lnTo>
                <a:lnTo>
                  <a:pt x="3318" y="1148"/>
                </a:lnTo>
                <a:lnTo>
                  <a:pt x="3323" y="1143"/>
                </a:lnTo>
                <a:lnTo>
                  <a:pt x="3330" y="1137"/>
                </a:lnTo>
                <a:lnTo>
                  <a:pt x="3334" y="1131"/>
                </a:lnTo>
                <a:lnTo>
                  <a:pt x="3338" y="1121"/>
                </a:lnTo>
                <a:lnTo>
                  <a:pt x="3342" y="1110"/>
                </a:lnTo>
                <a:lnTo>
                  <a:pt x="3346" y="1096"/>
                </a:lnTo>
                <a:lnTo>
                  <a:pt x="3348" y="1080"/>
                </a:lnTo>
                <a:lnTo>
                  <a:pt x="3350" y="1060"/>
                </a:lnTo>
                <a:lnTo>
                  <a:pt x="3352" y="1038"/>
                </a:lnTo>
                <a:lnTo>
                  <a:pt x="3353" y="1013"/>
                </a:lnTo>
                <a:lnTo>
                  <a:pt x="3353" y="986"/>
                </a:lnTo>
                <a:lnTo>
                  <a:pt x="3353" y="962"/>
                </a:lnTo>
                <a:lnTo>
                  <a:pt x="3352" y="941"/>
                </a:lnTo>
                <a:lnTo>
                  <a:pt x="3351" y="923"/>
                </a:lnTo>
                <a:lnTo>
                  <a:pt x="3349" y="905"/>
                </a:lnTo>
                <a:lnTo>
                  <a:pt x="3347" y="890"/>
                </a:lnTo>
                <a:lnTo>
                  <a:pt x="3343" y="877"/>
                </a:lnTo>
                <a:lnTo>
                  <a:pt x="3340" y="865"/>
                </a:lnTo>
                <a:lnTo>
                  <a:pt x="3337" y="856"/>
                </a:lnTo>
                <a:lnTo>
                  <a:pt x="3332" y="848"/>
                </a:lnTo>
                <a:lnTo>
                  <a:pt x="3328" y="840"/>
                </a:lnTo>
                <a:lnTo>
                  <a:pt x="3321" y="835"/>
                </a:lnTo>
                <a:lnTo>
                  <a:pt x="3315" y="830"/>
                </a:lnTo>
                <a:lnTo>
                  <a:pt x="3308" y="827"/>
                </a:lnTo>
                <a:lnTo>
                  <a:pt x="3300" y="824"/>
                </a:lnTo>
                <a:lnTo>
                  <a:pt x="3292" y="822"/>
                </a:lnTo>
                <a:lnTo>
                  <a:pt x="3283" y="822"/>
                </a:lnTo>
                <a:lnTo>
                  <a:pt x="3275" y="822"/>
                </a:lnTo>
                <a:lnTo>
                  <a:pt x="3268" y="823"/>
                </a:lnTo>
                <a:lnTo>
                  <a:pt x="3260" y="825"/>
                </a:lnTo>
                <a:lnTo>
                  <a:pt x="3254" y="827"/>
                </a:lnTo>
                <a:lnTo>
                  <a:pt x="3247" y="830"/>
                </a:lnTo>
                <a:lnTo>
                  <a:pt x="3242" y="834"/>
                </a:lnTo>
                <a:lnTo>
                  <a:pt x="3235" y="838"/>
                </a:lnTo>
                <a:lnTo>
                  <a:pt x="3230" y="843"/>
                </a:lnTo>
                <a:lnTo>
                  <a:pt x="3225" y="850"/>
                </a:lnTo>
                <a:lnTo>
                  <a:pt x="3220" y="857"/>
                </a:lnTo>
                <a:lnTo>
                  <a:pt x="3216" y="867"/>
                </a:lnTo>
                <a:lnTo>
                  <a:pt x="3213" y="879"/>
                </a:lnTo>
                <a:lnTo>
                  <a:pt x="3211" y="891"/>
                </a:lnTo>
                <a:lnTo>
                  <a:pt x="3209" y="907"/>
                </a:lnTo>
                <a:lnTo>
                  <a:pt x="3208" y="924"/>
                </a:lnTo>
                <a:lnTo>
                  <a:pt x="3208" y="942"/>
                </a:lnTo>
                <a:lnTo>
                  <a:pt x="3208" y="1041"/>
                </a:lnTo>
                <a:close/>
                <a:moveTo>
                  <a:pt x="3041" y="731"/>
                </a:moveTo>
                <a:lnTo>
                  <a:pt x="3200" y="731"/>
                </a:lnTo>
                <a:lnTo>
                  <a:pt x="3200" y="810"/>
                </a:lnTo>
                <a:lnTo>
                  <a:pt x="3206" y="800"/>
                </a:lnTo>
                <a:lnTo>
                  <a:pt x="3212" y="790"/>
                </a:lnTo>
                <a:lnTo>
                  <a:pt x="3218" y="781"/>
                </a:lnTo>
                <a:lnTo>
                  <a:pt x="3226" y="773"/>
                </a:lnTo>
                <a:lnTo>
                  <a:pt x="3233" y="765"/>
                </a:lnTo>
                <a:lnTo>
                  <a:pt x="3242" y="758"/>
                </a:lnTo>
                <a:lnTo>
                  <a:pt x="3249" y="752"/>
                </a:lnTo>
                <a:lnTo>
                  <a:pt x="3257" y="747"/>
                </a:lnTo>
                <a:lnTo>
                  <a:pt x="3266" y="742"/>
                </a:lnTo>
                <a:lnTo>
                  <a:pt x="3275" y="737"/>
                </a:lnTo>
                <a:lnTo>
                  <a:pt x="3285" y="733"/>
                </a:lnTo>
                <a:lnTo>
                  <a:pt x="3294" y="730"/>
                </a:lnTo>
                <a:lnTo>
                  <a:pt x="3304" y="728"/>
                </a:lnTo>
                <a:lnTo>
                  <a:pt x="3314" y="726"/>
                </a:lnTo>
                <a:lnTo>
                  <a:pt x="3325" y="725"/>
                </a:lnTo>
                <a:lnTo>
                  <a:pt x="3335" y="725"/>
                </a:lnTo>
                <a:lnTo>
                  <a:pt x="3346" y="725"/>
                </a:lnTo>
                <a:lnTo>
                  <a:pt x="3355" y="726"/>
                </a:lnTo>
                <a:lnTo>
                  <a:pt x="3364" y="727"/>
                </a:lnTo>
                <a:lnTo>
                  <a:pt x="3374" y="729"/>
                </a:lnTo>
                <a:lnTo>
                  <a:pt x="3383" y="731"/>
                </a:lnTo>
                <a:lnTo>
                  <a:pt x="3393" y="734"/>
                </a:lnTo>
                <a:lnTo>
                  <a:pt x="3401" y="737"/>
                </a:lnTo>
                <a:lnTo>
                  <a:pt x="3411" y="742"/>
                </a:lnTo>
                <a:lnTo>
                  <a:pt x="3419" y="746"/>
                </a:lnTo>
                <a:lnTo>
                  <a:pt x="3426" y="750"/>
                </a:lnTo>
                <a:lnTo>
                  <a:pt x="3435" y="755"/>
                </a:lnTo>
                <a:lnTo>
                  <a:pt x="3442" y="761"/>
                </a:lnTo>
                <a:lnTo>
                  <a:pt x="3457" y="774"/>
                </a:lnTo>
                <a:lnTo>
                  <a:pt x="3472" y="789"/>
                </a:lnTo>
                <a:lnTo>
                  <a:pt x="3478" y="798"/>
                </a:lnTo>
                <a:lnTo>
                  <a:pt x="3484" y="806"/>
                </a:lnTo>
                <a:lnTo>
                  <a:pt x="3489" y="815"/>
                </a:lnTo>
                <a:lnTo>
                  <a:pt x="3495" y="826"/>
                </a:lnTo>
                <a:lnTo>
                  <a:pt x="3500" y="836"/>
                </a:lnTo>
                <a:lnTo>
                  <a:pt x="3504" y="847"/>
                </a:lnTo>
                <a:lnTo>
                  <a:pt x="3508" y="858"/>
                </a:lnTo>
                <a:lnTo>
                  <a:pt x="3512" y="871"/>
                </a:lnTo>
                <a:lnTo>
                  <a:pt x="3518" y="895"/>
                </a:lnTo>
                <a:lnTo>
                  <a:pt x="3522" y="924"/>
                </a:lnTo>
                <a:lnTo>
                  <a:pt x="3525" y="953"/>
                </a:lnTo>
                <a:lnTo>
                  <a:pt x="3526" y="985"/>
                </a:lnTo>
                <a:lnTo>
                  <a:pt x="3525" y="1018"/>
                </a:lnTo>
                <a:lnTo>
                  <a:pt x="3522" y="1049"/>
                </a:lnTo>
                <a:lnTo>
                  <a:pt x="3518" y="1079"/>
                </a:lnTo>
                <a:lnTo>
                  <a:pt x="3512" y="1106"/>
                </a:lnTo>
                <a:lnTo>
                  <a:pt x="3508" y="1119"/>
                </a:lnTo>
                <a:lnTo>
                  <a:pt x="3505" y="1131"/>
                </a:lnTo>
                <a:lnTo>
                  <a:pt x="3501" y="1143"/>
                </a:lnTo>
                <a:lnTo>
                  <a:pt x="3496" y="1153"/>
                </a:lnTo>
                <a:lnTo>
                  <a:pt x="3490" y="1165"/>
                </a:lnTo>
                <a:lnTo>
                  <a:pt x="3485" y="1174"/>
                </a:lnTo>
                <a:lnTo>
                  <a:pt x="3479" y="1185"/>
                </a:lnTo>
                <a:lnTo>
                  <a:pt x="3473" y="1193"/>
                </a:lnTo>
                <a:lnTo>
                  <a:pt x="3465" y="1201"/>
                </a:lnTo>
                <a:lnTo>
                  <a:pt x="3458" y="1210"/>
                </a:lnTo>
                <a:lnTo>
                  <a:pt x="3451" y="1217"/>
                </a:lnTo>
                <a:lnTo>
                  <a:pt x="3443" y="1224"/>
                </a:lnTo>
                <a:lnTo>
                  <a:pt x="3435" y="1230"/>
                </a:lnTo>
                <a:lnTo>
                  <a:pt x="3426" y="1236"/>
                </a:lnTo>
                <a:lnTo>
                  <a:pt x="3417" y="1241"/>
                </a:lnTo>
                <a:lnTo>
                  <a:pt x="3409" y="1246"/>
                </a:lnTo>
                <a:lnTo>
                  <a:pt x="3399" y="1250"/>
                </a:lnTo>
                <a:lnTo>
                  <a:pt x="3389" y="1253"/>
                </a:lnTo>
                <a:lnTo>
                  <a:pt x="3378" y="1256"/>
                </a:lnTo>
                <a:lnTo>
                  <a:pt x="3368" y="1258"/>
                </a:lnTo>
                <a:lnTo>
                  <a:pt x="3357" y="1261"/>
                </a:lnTo>
                <a:lnTo>
                  <a:pt x="3346" y="1262"/>
                </a:lnTo>
                <a:lnTo>
                  <a:pt x="3334" y="1263"/>
                </a:lnTo>
                <a:lnTo>
                  <a:pt x="3322" y="1263"/>
                </a:lnTo>
                <a:lnTo>
                  <a:pt x="3306" y="1263"/>
                </a:lnTo>
                <a:lnTo>
                  <a:pt x="3289" y="1261"/>
                </a:lnTo>
                <a:lnTo>
                  <a:pt x="3273" y="1256"/>
                </a:lnTo>
                <a:lnTo>
                  <a:pt x="3258" y="1251"/>
                </a:lnTo>
                <a:lnTo>
                  <a:pt x="3245" y="1245"/>
                </a:lnTo>
                <a:lnTo>
                  <a:pt x="3232" y="1237"/>
                </a:lnTo>
                <a:lnTo>
                  <a:pt x="3220" y="1227"/>
                </a:lnTo>
                <a:lnTo>
                  <a:pt x="3208" y="1217"/>
                </a:lnTo>
                <a:lnTo>
                  <a:pt x="3208" y="1434"/>
                </a:lnTo>
                <a:lnTo>
                  <a:pt x="3041" y="1434"/>
                </a:lnTo>
                <a:lnTo>
                  <a:pt x="3041" y="731"/>
                </a:lnTo>
                <a:close/>
                <a:moveTo>
                  <a:pt x="2636" y="1143"/>
                </a:moveTo>
                <a:lnTo>
                  <a:pt x="2737" y="1143"/>
                </a:lnTo>
                <a:lnTo>
                  <a:pt x="2745" y="1143"/>
                </a:lnTo>
                <a:lnTo>
                  <a:pt x="2752" y="1142"/>
                </a:lnTo>
                <a:lnTo>
                  <a:pt x="2760" y="1141"/>
                </a:lnTo>
                <a:lnTo>
                  <a:pt x="2766" y="1139"/>
                </a:lnTo>
                <a:lnTo>
                  <a:pt x="2771" y="1138"/>
                </a:lnTo>
                <a:lnTo>
                  <a:pt x="2776" y="1135"/>
                </a:lnTo>
                <a:lnTo>
                  <a:pt x="2781" y="1132"/>
                </a:lnTo>
                <a:lnTo>
                  <a:pt x="2784" y="1128"/>
                </a:lnTo>
                <a:lnTo>
                  <a:pt x="2786" y="1124"/>
                </a:lnTo>
                <a:lnTo>
                  <a:pt x="2789" y="1120"/>
                </a:lnTo>
                <a:lnTo>
                  <a:pt x="2791" y="1116"/>
                </a:lnTo>
                <a:lnTo>
                  <a:pt x="2792" y="1111"/>
                </a:lnTo>
                <a:lnTo>
                  <a:pt x="2795" y="1098"/>
                </a:lnTo>
                <a:lnTo>
                  <a:pt x="2795" y="1085"/>
                </a:lnTo>
                <a:lnTo>
                  <a:pt x="2794" y="1071"/>
                </a:lnTo>
                <a:lnTo>
                  <a:pt x="2792" y="1059"/>
                </a:lnTo>
                <a:lnTo>
                  <a:pt x="2791" y="1054"/>
                </a:lnTo>
                <a:lnTo>
                  <a:pt x="2788" y="1049"/>
                </a:lnTo>
                <a:lnTo>
                  <a:pt x="2786" y="1044"/>
                </a:lnTo>
                <a:lnTo>
                  <a:pt x="2783" y="1041"/>
                </a:lnTo>
                <a:lnTo>
                  <a:pt x="2780" y="1037"/>
                </a:lnTo>
                <a:lnTo>
                  <a:pt x="2775" y="1034"/>
                </a:lnTo>
                <a:lnTo>
                  <a:pt x="2770" y="1031"/>
                </a:lnTo>
                <a:lnTo>
                  <a:pt x="2765" y="1029"/>
                </a:lnTo>
                <a:lnTo>
                  <a:pt x="2759" y="1028"/>
                </a:lnTo>
                <a:lnTo>
                  <a:pt x="2752" y="1027"/>
                </a:lnTo>
                <a:lnTo>
                  <a:pt x="2745" y="1025"/>
                </a:lnTo>
                <a:lnTo>
                  <a:pt x="2737" y="1025"/>
                </a:lnTo>
                <a:lnTo>
                  <a:pt x="2636" y="1025"/>
                </a:lnTo>
                <a:lnTo>
                  <a:pt x="2636" y="1143"/>
                </a:lnTo>
                <a:close/>
                <a:moveTo>
                  <a:pt x="2636" y="935"/>
                </a:moveTo>
                <a:lnTo>
                  <a:pt x="2728" y="935"/>
                </a:lnTo>
                <a:lnTo>
                  <a:pt x="2742" y="935"/>
                </a:lnTo>
                <a:lnTo>
                  <a:pt x="2754" y="933"/>
                </a:lnTo>
                <a:lnTo>
                  <a:pt x="2764" y="929"/>
                </a:lnTo>
                <a:lnTo>
                  <a:pt x="2771" y="925"/>
                </a:lnTo>
                <a:lnTo>
                  <a:pt x="2774" y="921"/>
                </a:lnTo>
                <a:lnTo>
                  <a:pt x="2777" y="917"/>
                </a:lnTo>
                <a:lnTo>
                  <a:pt x="2780" y="913"/>
                </a:lnTo>
                <a:lnTo>
                  <a:pt x="2782" y="908"/>
                </a:lnTo>
                <a:lnTo>
                  <a:pt x="2784" y="898"/>
                </a:lnTo>
                <a:lnTo>
                  <a:pt x="2785" y="884"/>
                </a:lnTo>
                <a:lnTo>
                  <a:pt x="2784" y="873"/>
                </a:lnTo>
                <a:lnTo>
                  <a:pt x="2783" y="863"/>
                </a:lnTo>
                <a:lnTo>
                  <a:pt x="2780" y="854"/>
                </a:lnTo>
                <a:lnTo>
                  <a:pt x="2776" y="846"/>
                </a:lnTo>
                <a:lnTo>
                  <a:pt x="2773" y="841"/>
                </a:lnTo>
                <a:lnTo>
                  <a:pt x="2770" y="837"/>
                </a:lnTo>
                <a:lnTo>
                  <a:pt x="2766" y="835"/>
                </a:lnTo>
                <a:lnTo>
                  <a:pt x="2760" y="832"/>
                </a:lnTo>
                <a:lnTo>
                  <a:pt x="2753" y="830"/>
                </a:lnTo>
                <a:lnTo>
                  <a:pt x="2746" y="829"/>
                </a:lnTo>
                <a:lnTo>
                  <a:pt x="2738" y="828"/>
                </a:lnTo>
                <a:lnTo>
                  <a:pt x="2728" y="828"/>
                </a:lnTo>
                <a:lnTo>
                  <a:pt x="2636" y="828"/>
                </a:lnTo>
                <a:lnTo>
                  <a:pt x="2636" y="935"/>
                </a:lnTo>
                <a:close/>
                <a:moveTo>
                  <a:pt x="2456" y="1256"/>
                </a:moveTo>
                <a:lnTo>
                  <a:pt x="2456" y="731"/>
                </a:lnTo>
                <a:lnTo>
                  <a:pt x="2763" y="731"/>
                </a:lnTo>
                <a:lnTo>
                  <a:pt x="2789" y="732"/>
                </a:lnTo>
                <a:lnTo>
                  <a:pt x="2813" y="734"/>
                </a:lnTo>
                <a:lnTo>
                  <a:pt x="2835" y="737"/>
                </a:lnTo>
                <a:lnTo>
                  <a:pt x="2853" y="743"/>
                </a:lnTo>
                <a:lnTo>
                  <a:pt x="2861" y="746"/>
                </a:lnTo>
                <a:lnTo>
                  <a:pt x="2870" y="749"/>
                </a:lnTo>
                <a:lnTo>
                  <a:pt x="2877" y="753"/>
                </a:lnTo>
                <a:lnTo>
                  <a:pt x="2886" y="758"/>
                </a:lnTo>
                <a:lnTo>
                  <a:pt x="2893" y="764"/>
                </a:lnTo>
                <a:lnTo>
                  <a:pt x="2900" y="771"/>
                </a:lnTo>
                <a:lnTo>
                  <a:pt x="2907" y="778"/>
                </a:lnTo>
                <a:lnTo>
                  <a:pt x="2914" y="786"/>
                </a:lnTo>
                <a:lnTo>
                  <a:pt x="2920" y="795"/>
                </a:lnTo>
                <a:lnTo>
                  <a:pt x="2926" y="804"/>
                </a:lnTo>
                <a:lnTo>
                  <a:pt x="2930" y="813"/>
                </a:lnTo>
                <a:lnTo>
                  <a:pt x="2934" y="823"/>
                </a:lnTo>
                <a:lnTo>
                  <a:pt x="2937" y="833"/>
                </a:lnTo>
                <a:lnTo>
                  <a:pt x="2939" y="843"/>
                </a:lnTo>
                <a:lnTo>
                  <a:pt x="2940" y="854"/>
                </a:lnTo>
                <a:lnTo>
                  <a:pt x="2940" y="865"/>
                </a:lnTo>
                <a:lnTo>
                  <a:pt x="2940" y="874"/>
                </a:lnTo>
                <a:lnTo>
                  <a:pt x="2939" y="883"/>
                </a:lnTo>
                <a:lnTo>
                  <a:pt x="2938" y="891"/>
                </a:lnTo>
                <a:lnTo>
                  <a:pt x="2936" y="900"/>
                </a:lnTo>
                <a:lnTo>
                  <a:pt x="2933" y="907"/>
                </a:lnTo>
                <a:lnTo>
                  <a:pt x="2930" y="914"/>
                </a:lnTo>
                <a:lnTo>
                  <a:pt x="2926" y="921"/>
                </a:lnTo>
                <a:lnTo>
                  <a:pt x="2921" y="929"/>
                </a:lnTo>
                <a:lnTo>
                  <a:pt x="2916" y="936"/>
                </a:lnTo>
                <a:lnTo>
                  <a:pt x="2911" y="942"/>
                </a:lnTo>
                <a:lnTo>
                  <a:pt x="2905" y="949"/>
                </a:lnTo>
                <a:lnTo>
                  <a:pt x="2898" y="955"/>
                </a:lnTo>
                <a:lnTo>
                  <a:pt x="2891" y="961"/>
                </a:lnTo>
                <a:lnTo>
                  <a:pt x="2882" y="966"/>
                </a:lnTo>
                <a:lnTo>
                  <a:pt x="2874" y="971"/>
                </a:lnTo>
                <a:lnTo>
                  <a:pt x="2865" y="977"/>
                </a:lnTo>
                <a:lnTo>
                  <a:pt x="2876" y="982"/>
                </a:lnTo>
                <a:lnTo>
                  <a:pt x="2887" y="987"/>
                </a:lnTo>
                <a:lnTo>
                  <a:pt x="2896" y="992"/>
                </a:lnTo>
                <a:lnTo>
                  <a:pt x="2906" y="998"/>
                </a:lnTo>
                <a:lnTo>
                  <a:pt x="2914" y="1006"/>
                </a:lnTo>
                <a:lnTo>
                  <a:pt x="2921" y="1012"/>
                </a:lnTo>
                <a:lnTo>
                  <a:pt x="2929" y="1019"/>
                </a:lnTo>
                <a:lnTo>
                  <a:pt x="2935" y="1028"/>
                </a:lnTo>
                <a:lnTo>
                  <a:pt x="2940" y="1036"/>
                </a:lnTo>
                <a:lnTo>
                  <a:pt x="2944" y="1044"/>
                </a:lnTo>
                <a:lnTo>
                  <a:pt x="2949" y="1053"/>
                </a:lnTo>
                <a:lnTo>
                  <a:pt x="2952" y="1062"/>
                </a:lnTo>
                <a:lnTo>
                  <a:pt x="2955" y="1071"/>
                </a:lnTo>
                <a:lnTo>
                  <a:pt x="2956" y="1082"/>
                </a:lnTo>
                <a:lnTo>
                  <a:pt x="2957" y="1092"/>
                </a:lnTo>
                <a:lnTo>
                  <a:pt x="2958" y="1102"/>
                </a:lnTo>
                <a:lnTo>
                  <a:pt x="2957" y="1119"/>
                </a:lnTo>
                <a:lnTo>
                  <a:pt x="2955" y="1135"/>
                </a:lnTo>
                <a:lnTo>
                  <a:pt x="2952" y="1150"/>
                </a:lnTo>
                <a:lnTo>
                  <a:pt x="2947" y="1164"/>
                </a:lnTo>
                <a:lnTo>
                  <a:pt x="2940" y="1177"/>
                </a:lnTo>
                <a:lnTo>
                  <a:pt x="2932" y="1191"/>
                </a:lnTo>
                <a:lnTo>
                  <a:pt x="2922" y="1202"/>
                </a:lnTo>
                <a:lnTo>
                  <a:pt x="2912" y="1214"/>
                </a:lnTo>
                <a:lnTo>
                  <a:pt x="2900" y="1223"/>
                </a:lnTo>
                <a:lnTo>
                  <a:pt x="2888" y="1232"/>
                </a:lnTo>
                <a:lnTo>
                  <a:pt x="2873" y="1240"/>
                </a:lnTo>
                <a:lnTo>
                  <a:pt x="2858" y="1246"/>
                </a:lnTo>
                <a:lnTo>
                  <a:pt x="2842" y="1250"/>
                </a:lnTo>
                <a:lnTo>
                  <a:pt x="2825" y="1254"/>
                </a:lnTo>
                <a:lnTo>
                  <a:pt x="2806" y="1256"/>
                </a:lnTo>
                <a:lnTo>
                  <a:pt x="2786" y="1256"/>
                </a:lnTo>
                <a:lnTo>
                  <a:pt x="2456" y="1256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0429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93" r:id="rId3"/>
    <p:sldLayoutId id="2147483680" r:id="rId4"/>
    <p:sldLayoutId id="2147483724" r:id="rId5"/>
    <p:sldLayoutId id="2147483699" r:id="rId6"/>
    <p:sldLayoutId id="2147483662" r:id="rId7"/>
    <p:sldLayoutId id="2147483700" r:id="rId8"/>
    <p:sldLayoutId id="2147483726" r:id="rId9"/>
    <p:sldLayoutId id="2147483710" r:id="rId10"/>
    <p:sldLayoutId id="2147483661" r:id="rId11"/>
    <p:sldLayoutId id="2147483681" r:id="rId12"/>
    <p:sldLayoutId id="2147483705" r:id="rId13"/>
    <p:sldLayoutId id="2147483707" r:id="rId14"/>
    <p:sldLayoutId id="2147483709" r:id="rId15"/>
    <p:sldLayoutId id="2147483717" r:id="rId16"/>
    <p:sldLayoutId id="2147483728" r:id="rId17"/>
    <p:sldLayoutId id="2147483729" r:id="rId18"/>
    <p:sldLayoutId id="2147483730" r:id="rId19"/>
    <p:sldLayoutId id="2147483731" r:id="rId20"/>
    <p:sldLayoutId id="2147483732" r:id="rId2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ru-RU" sz="2800" kern="1200" dirty="0">
          <a:solidFill>
            <a:schemeClr val="tx1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273600" marR="0" indent="-273050" algn="l" defTabSz="914400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accent1"/>
        </a:buClr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76225" algn="l" defTabSz="914400" rtl="0" eaLnBrk="1" latinLnBrk="0" hangingPunct="1">
        <a:lnSpc>
          <a:spcPct val="100000"/>
        </a:lnSpc>
        <a:spcBef>
          <a:spcPts val="6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orient="horz" pos="2472" userDrawn="1">
          <p15:clr>
            <a:srgbClr val="F26B43"/>
          </p15:clr>
        </p15:guide>
        <p15:guide id="3" pos="5602" userDrawn="1">
          <p15:clr>
            <a:srgbClr val="F26B43"/>
          </p15:clr>
        </p15:guide>
        <p15:guide id="4" pos="156" userDrawn="1">
          <p15:clr>
            <a:srgbClr val="F26B43"/>
          </p15:clr>
        </p15:guide>
        <p15:guide id="5" orient="horz" pos="4079" userDrawn="1">
          <p15:clr>
            <a:srgbClr val="F26B43"/>
          </p15:clr>
        </p15:guide>
        <p15:guide id="6" orient="horz" pos="867" userDrawn="1">
          <p15:clr>
            <a:srgbClr val="F26B43"/>
          </p15:clr>
        </p15:guide>
        <p15:guide id="7" orient="horz" pos="640" userDrawn="1">
          <p15:clr>
            <a:srgbClr val="F26B43"/>
          </p15:clr>
        </p15:guide>
        <p15:guide id="8" orient="horz" pos="163" userDrawn="1">
          <p15:clr>
            <a:srgbClr val="F26B43"/>
          </p15:clr>
        </p15:guide>
        <p15:guide id="10" pos="2880" userDrawn="1">
          <p15:clr>
            <a:srgbClr val="F26B43"/>
          </p15:clr>
        </p15:guide>
        <p15:guide id="13" orient="horz" pos="422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9.xml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4" Type="http://schemas.microsoft.com/office/2007/relationships/hdphoto" Target="../media/hdphoto3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8.jpeg"/><Relationship Id="rId4" Type="http://schemas.openxmlformats.org/officeDocument/2006/relationships/image" Target="../media/image27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ru-RU" altLang="ru-RU" dirty="0">
                <a:latin typeface="+mj-lt"/>
              </a:rPr>
              <a:t>Ноябрь </a:t>
            </a:r>
            <a:r>
              <a:rPr lang="ru-RU" altLang="ru-RU" dirty="0" smtClean="0">
                <a:latin typeface="+mj-lt"/>
              </a:rPr>
              <a:t>2020</a:t>
            </a:r>
            <a:endParaRPr lang="en-GB" altLang="ru-RU" dirty="0">
              <a:latin typeface="+mj-lt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4064000" y="3032499"/>
            <a:ext cx="4824413" cy="1368000"/>
          </a:xfrm>
        </p:spPr>
        <p:txBody>
          <a:bodyPr/>
          <a:lstStyle/>
          <a:p>
            <a:r>
              <a:rPr lang="ru-RU" altLang="ru-RU" dirty="0">
                <a:latin typeface="+mj-lt"/>
              </a:rPr>
              <a:t>Опыт ЕАБР </a:t>
            </a:r>
            <a:r>
              <a:rPr lang="ru-RU" altLang="ru-RU" dirty="0" smtClean="0">
                <a:latin typeface="+mj-lt"/>
              </a:rPr>
              <a:t/>
            </a:r>
            <a:br>
              <a:rPr lang="ru-RU" altLang="ru-RU" dirty="0" smtClean="0">
                <a:latin typeface="+mj-lt"/>
              </a:rPr>
            </a:br>
            <a:r>
              <a:rPr lang="ru-RU" altLang="ru-RU" dirty="0" smtClean="0">
                <a:latin typeface="+mj-lt"/>
              </a:rPr>
              <a:t>в </a:t>
            </a:r>
            <a:r>
              <a:rPr lang="ru-RU" altLang="ru-RU" dirty="0">
                <a:latin typeface="+mj-lt"/>
              </a:rPr>
              <a:t>финансировании </a:t>
            </a:r>
            <a:r>
              <a:rPr lang="ru-RU" altLang="ru-RU">
                <a:latin typeface="+mj-lt"/>
              </a:rPr>
              <a:t>проектов </a:t>
            </a:r>
            <a:r>
              <a:rPr lang="ru-RU" altLang="ru-RU" smtClean="0">
                <a:latin typeface="+mj-lt"/>
              </a:rPr>
              <a:t>ВИЭ</a:t>
            </a:r>
            <a:endParaRPr lang="ru-RU" dirty="0">
              <a:latin typeface="+mj-lt"/>
            </a:endParaRPr>
          </a:p>
        </p:txBody>
      </p:sp>
      <p:sp>
        <p:nvSpPr>
          <p:cNvPr id="5" name="Объект 1"/>
          <p:cNvSpPr txBox="1">
            <a:spLocks/>
          </p:cNvSpPr>
          <p:nvPr/>
        </p:nvSpPr>
        <p:spPr>
          <a:xfrm>
            <a:off x="231775" y="5454650"/>
            <a:ext cx="8548688" cy="5842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3600" marR="0" indent="-2730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altLang="ru-RU" sz="4400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2977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8893175" y="1376363"/>
            <a:ext cx="250825" cy="39098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43" name="Полилиния 42"/>
          <p:cNvSpPr/>
          <p:nvPr/>
        </p:nvSpPr>
        <p:spPr>
          <a:xfrm rot="5400000">
            <a:off x="174508" y="3878641"/>
            <a:ext cx="1079103" cy="1429434"/>
          </a:xfrm>
          <a:custGeom>
            <a:avLst/>
            <a:gdLst>
              <a:gd name="connsiteX0" fmla="*/ 0 w 848876"/>
              <a:gd name="connsiteY0" fmla="*/ 1124463 h 1124463"/>
              <a:gd name="connsiteX1" fmla="*/ 0 w 848876"/>
              <a:gd name="connsiteY1" fmla="*/ 424438 h 1124463"/>
              <a:gd name="connsiteX2" fmla="*/ 424438 w 848876"/>
              <a:gd name="connsiteY2" fmla="*/ 0 h 1124463"/>
              <a:gd name="connsiteX3" fmla="*/ 848876 w 848876"/>
              <a:gd name="connsiteY3" fmla="*/ 424438 h 1124463"/>
              <a:gd name="connsiteX4" fmla="*/ 848876 w 848876"/>
              <a:gd name="connsiteY4" fmla="*/ 1124463 h 1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8876" h="1124463">
                <a:moveTo>
                  <a:pt x="0" y="1124463"/>
                </a:moveTo>
                <a:lnTo>
                  <a:pt x="0" y="424438"/>
                </a:lnTo>
                <a:cubicBezTo>
                  <a:pt x="0" y="190027"/>
                  <a:pt x="190027" y="0"/>
                  <a:pt x="424438" y="0"/>
                </a:cubicBezTo>
                <a:cubicBezTo>
                  <a:pt x="658849" y="0"/>
                  <a:pt x="848876" y="190027"/>
                  <a:pt x="848876" y="424438"/>
                </a:cubicBezTo>
                <a:lnTo>
                  <a:pt x="848876" y="112446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42" name="Полилиния 41"/>
          <p:cNvSpPr/>
          <p:nvPr/>
        </p:nvSpPr>
        <p:spPr>
          <a:xfrm rot="5400000">
            <a:off x="101410" y="2664127"/>
            <a:ext cx="645461" cy="855010"/>
          </a:xfrm>
          <a:custGeom>
            <a:avLst/>
            <a:gdLst>
              <a:gd name="connsiteX0" fmla="*/ 0 w 848876"/>
              <a:gd name="connsiteY0" fmla="*/ 1124463 h 1124463"/>
              <a:gd name="connsiteX1" fmla="*/ 0 w 848876"/>
              <a:gd name="connsiteY1" fmla="*/ 424438 h 1124463"/>
              <a:gd name="connsiteX2" fmla="*/ 424438 w 848876"/>
              <a:gd name="connsiteY2" fmla="*/ 0 h 1124463"/>
              <a:gd name="connsiteX3" fmla="*/ 848876 w 848876"/>
              <a:gd name="connsiteY3" fmla="*/ 424438 h 1124463"/>
              <a:gd name="connsiteX4" fmla="*/ 848876 w 848876"/>
              <a:gd name="connsiteY4" fmla="*/ 1124463 h 1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8876" h="1124463">
                <a:moveTo>
                  <a:pt x="0" y="1124463"/>
                </a:moveTo>
                <a:lnTo>
                  <a:pt x="0" y="424438"/>
                </a:lnTo>
                <a:cubicBezTo>
                  <a:pt x="0" y="190027"/>
                  <a:pt x="190027" y="0"/>
                  <a:pt x="424438" y="0"/>
                </a:cubicBezTo>
                <a:cubicBezTo>
                  <a:pt x="658849" y="0"/>
                  <a:pt x="848876" y="190027"/>
                  <a:pt x="848876" y="424438"/>
                </a:cubicBezTo>
                <a:lnTo>
                  <a:pt x="848876" y="112446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41" name="Полилиния 40"/>
          <p:cNvSpPr/>
          <p:nvPr/>
        </p:nvSpPr>
        <p:spPr>
          <a:xfrm rot="5400000">
            <a:off x="104118" y="1975344"/>
            <a:ext cx="645461" cy="855010"/>
          </a:xfrm>
          <a:custGeom>
            <a:avLst/>
            <a:gdLst>
              <a:gd name="connsiteX0" fmla="*/ 0 w 848876"/>
              <a:gd name="connsiteY0" fmla="*/ 1124463 h 1124463"/>
              <a:gd name="connsiteX1" fmla="*/ 0 w 848876"/>
              <a:gd name="connsiteY1" fmla="*/ 424438 h 1124463"/>
              <a:gd name="connsiteX2" fmla="*/ 424438 w 848876"/>
              <a:gd name="connsiteY2" fmla="*/ 0 h 1124463"/>
              <a:gd name="connsiteX3" fmla="*/ 848876 w 848876"/>
              <a:gd name="connsiteY3" fmla="*/ 424438 h 1124463"/>
              <a:gd name="connsiteX4" fmla="*/ 848876 w 848876"/>
              <a:gd name="connsiteY4" fmla="*/ 1124463 h 1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8876" h="1124463">
                <a:moveTo>
                  <a:pt x="0" y="1124463"/>
                </a:moveTo>
                <a:lnTo>
                  <a:pt x="0" y="424438"/>
                </a:lnTo>
                <a:cubicBezTo>
                  <a:pt x="0" y="190027"/>
                  <a:pt x="190027" y="0"/>
                  <a:pt x="424438" y="0"/>
                </a:cubicBezTo>
                <a:cubicBezTo>
                  <a:pt x="658849" y="0"/>
                  <a:pt x="848876" y="190027"/>
                  <a:pt x="848876" y="424438"/>
                </a:cubicBezTo>
                <a:lnTo>
                  <a:pt x="848876" y="112446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40" name="Полилиния 39"/>
          <p:cNvSpPr/>
          <p:nvPr/>
        </p:nvSpPr>
        <p:spPr>
          <a:xfrm rot="5400000">
            <a:off x="101410" y="1282891"/>
            <a:ext cx="645461" cy="855010"/>
          </a:xfrm>
          <a:custGeom>
            <a:avLst/>
            <a:gdLst>
              <a:gd name="connsiteX0" fmla="*/ 0 w 848876"/>
              <a:gd name="connsiteY0" fmla="*/ 1124463 h 1124463"/>
              <a:gd name="connsiteX1" fmla="*/ 0 w 848876"/>
              <a:gd name="connsiteY1" fmla="*/ 424438 h 1124463"/>
              <a:gd name="connsiteX2" fmla="*/ 424438 w 848876"/>
              <a:gd name="connsiteY2" fmla="*/ 0 h 1124463"/>
              <a:gd name="connsiteX3" fmla="*/ 848876 w 848876"/>
              <a:gd name="connsiteY3" fmla="*/ 424438 h 1124463"/>
              <a:gd name="connsiteX4" fmla="*/ 848876 w 848876"/>
              <a:gd name="connsiteY4" fmla="*/ 1124463 h 1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8876" h="1124463">
                <a:moveTo>
                  <a:pt x="0" y="1124463"/>
                </a:moveTo>
                <a:lnTo>
                  <a:pt x="0" y="424438"/>
                </a:lnTo>
                <a:cubicBezTo>
                  <a:pt x="0" y="190027"/>
                  <a:pt x="190027" y="0"/>
                  <a:pt x="424438" y="0"/>
                </a:cubicBezTo>
                <a:cubicBezTo>
                  <a:pt x="658849" y="0"/>
                  <a:pt x="848876" y="190027"/>
                  <a:pt x="848876" y="424438"/>
                </a:cubicBezTo>
                <a:lnTo>
                  <a:pt x="848876" y="112446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0" y="5286282"/>
            <a:ext cx="9144000" cy="1189131"/>
          </a:xfrm>
          <a:prstGeom prst="rect">
            <a:avLst/>
          </a:prstGeom>
          <a:solidFill>
            <a:srgbClr val="D9E6EF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6708058" y="5427826"/>
            <a:ext cx="546849" cy="54684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4694648" y="5427826"/>
            <a:ext cx="546849" cy="54684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26627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 smtClean="0"/>
              <a:t>Евразийский банк развития (ЕАБР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43435" y="1344461"/>
            <a:ext cx="4742330" cy="72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600" b="1" dirty="0"/>
              <a:t>Международная финансовая </a:t>
            </a:r>
            <a:r>
              <a:rPr lang="ru-RU" sz="1600" b="1" dirty="0" smtClean="0"/>
              <a:t/>
            </a:r>
            <a:br>
              <a:rPr lang="ru-RU" sz="1600" b="1" dirty="0" smtClean="0"/>
            </a:br>
            <a:r>
              <a:rPr lang="ru-RU" sz="1600" b="1" dirty="0" smtClean="0"/>
              <a:t>организация </a:t>
            </a:r>
            <a:r>
              <a:rPr lang="ru-RU" sz="1400" dirty="0"/>
              <a:t>(МФО), регулируемая международным </a:t>
            </a:r>
            <a:r>
              <a:rPr lang="ru-RU" sz="1400" dirty="0" smtClean="0"/>
              <a:t>правом.</a:t>
            </a:r>
            <a:endParaRPr lang="ru-RU" sz="14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61366" y="2137649"/>
            <a:ext cx="451821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600" b="1" dirty="0"/>
              <a:t>Банк учрежден в </a:t>
            </a:r>
            <a:r>
              <a:rPr lang="ru-RU" sz="1600" b="1" dirty="0" smtClean="0"/>
              <a:t>2006 году </a:t>
            </a:r>
            <a:br>
              <a:rPr lang="ru-RU" sz="1600" b="1" dirty="0" smtClean="0"/>
            </a:br>
            <a:r>
              <a:rPr lang="ru-RU" sz="1400" dirty="0" smtClean="0"/>
              <a:t>Россией и </a:t>
            </a:r>
            <a:r>
              <a:rPr lang="ru-RU" sz="1400" dirty="0"/>
              <a:t>Казахстаном</a:t>
            </a:r>
            <a:r>
              <a:rPr lang="en-GB" sz="1400" dirty="0"/>
              <a:t>.</a:t>
            </a:r>
            <a:endParaRPr lang="en-GB" sz="16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61365" y="2745029"/>
            <a:ext cx="4572000" cy="114492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ru-RU" sz="1600" b="1" dirty="0"/>
              <a:t>Участники Банка</a:t>
            </a:r>
            <a:r>
              <a:rPr lang="en-GB" sz="1600" b="1" dirty="0"/>
              <a:t>: </a:t>
            </a:r>
            <a:r>
              <a:rPr lang="ru-RU" sz="1600" b="1" dirty="0"/>
              <a:t>Армения</a:t>
            </a:r>
            <a:r>
              <a:rPr lang="en-GB" sz="1600" b="1" dirty="0"/>
              <a:t>, </a:t>
            </a:r>
            <a:r>
              <a:rPr lang="ru-RU" sz="1600" b="1" dirty="0"/>
              <a:t>Беларусь</a:t>
            </a:r>
            <a:r>
              <a:rPr lang="en-GB" sz="1600" b="1" dirty="0"/>
              <a:t>, </a:t>
            </a:r>
            <a:r>
              <a:rPr lang="ru-RU" sz="1600" b="1" dirty="0"/>
              <a:t>Россия</a:t>
            </a:r>
            <a:r>
              <a:rPr lang="en-GB" sz="1600" b="1" dirty="0"/>
              <a:t>, </a:t>
            </a:r>
            <a:r>
              <a:rPr lang="ru-RU" sz="1600" b="1" dirty="0"/>
              <a:t>Казахстан</a:t>
            </a:r>
            <a:r>
              <a:rPr lang="en-GB" sz="1600" b="1" dirty="0"/>
              <a:t>, </a:t>
            </a:r>
            <a:r>
              <a:rPr lang="ru-RU" sz="1600" b="1" dirty="0"/>
              <a:t>Кыргызстан </a:t>
            </a:r>
            <a:r>
              <a:rPr lang="ru-RU" sz="1600" b="1" dirty="0" smtClean="0"/>
              <a:t/>
            </a:r>
            <a:br>
              <a:rPr lang="ru-RU" sz="1600" b="1" dirty="0" smtClean="0"/>
            </a:br>
            <a:r>
              <a:rPr lang="ru-RU" sz="1600" b="1" dirty="0" smtClean="0"/>
              <a:t>и</a:t>
            </a:r>
            <a:r>
              <a:rPr lang="en-GB" sz="1600" b="1" dirty="0" smtClean="0"/>
              <a:t> </a:t>
            </a:r>
            <a:r>
              <a:rPr lang="ru-RU" sz="1600" b="1" dirty="0"/>
              <a:t>Таджикистан</a:t>
            </a:r>
            <a:r>
              <a:rPr lang="en-GB" sz="1600" b="1" dirty="0"/>
              <a:t>. </a:t>
            </a:r>
            <a:r>
              <a:rPr lang="ru-RU" sz="1400" dirty="0" smtClean="0"/>
              <a:t>К </a:t>
            </a:r>
            <a:r>
              <a:rPr lang="ru-RU" sz="1400" dirty="0"/>
              <a:t>соглашению </a:t>
            </a:r>
            <a:r>
              <a:rPr lang="ru-RU" sz="1400" dirty="0" smtClean="0"/>
              <a:t>об </a:t>
            </a:r>
            <a:r>
              <a:rPr lang="ru-RU" sz="1400" dirty="0"/>
              <a:t>учреждении Банка могут присоединяться другие государства </a:t>
            </a: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/>
              <a:t>и </a:t>
            </a:r>
            <a:r>
              <a:rPr lang="ru-RU" sz="1400" dirty="0"/>
              <a:t>международные организации</a:t>
            </a:r>
            <a:r>
              <a:rPr lang="en-GB" sz="1400" dirty="0"/>
              <a:t>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339253" y="4041724"/>
            <a:ext cx="2931119" cy="11449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dirty="0" smtClean="0"/>
              <a:t>&gt;</a:t>
            </a:r>
            <a:r>
              <a:rPr lang="ru-RU" sz="1600" dirty="0" smtClean="0"/>
              <a:t>$</a:t>
            </a:r>
            <a:r>
              <a:rPr lang="ru-RU" sz="1600" dirty="0"/>
              <a:t>7 млрд</a:t>
            </a:r>
            <a:r>
              <a:rPr lang="ru-RU" sz="1400" dirty="0"/>
              <a:t>, </a:t>
            </a:r>
            <a:r>
              <a:rPr lang="ru-RU" sz="1400" dirty="0" smtClean="0"/>
              <a:t>из </a:t>
            </a:r>
            <a:r>
              <a:rPr lang="ru-RU" sz="1400" dirty="0"/>
              <a:t>них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ru-RU" sz="1600" dirty="0" smtClean="0"/>
              <a:t>$</a:t>
            </a:r>
            <a:r>
              <a:rPr lang="ru-RU" sz="1600" dirty="0"/>
              <a:t>1,5 млрд </a:t>
            </a:r>
            <a:r>
              <a:rPr lang="ru-RU" sz="1400" dirty="0"/>
              <a:t>–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ru-RU" sz="1400" dirty="0" smtClean="0"/>
              <a:t>оплаченный </a:t>
            </a:r>
            <a:r>
              <a:rPr lang="ru-RU" sz="1400" dirty="0"/>
              <a:t>капитал,</a:t>
            </a:r>
            <a:r>
              <a:rPr lang="en-US" sz="1400" dirty="0"/>
              <a:t> </a:t>
            </a: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600" dirty="0" smtClean="0"/>
              <a:t>$</a:t>
            </a:r>
            <a:r>
              <a:rPr lang="ru-RU" sz="1600" dirty="0"/>
              <a:t>5,5 млрд </a:t>
            </a:r>
            <a:r>
              <a:rPr lang="ru-RU" sz="1400" dirty="0"/>
              <a:t>–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ru-RU" sz="1400" dirty="0" smtClean="0"/>
              <a:t>капитал </a:t>
            </a:r>
            <a:r>
              <a:rPr lang="ru-RU" sz="1400" dirty="0"/>
              <a:t>до </a:t>
            </a:r>
            <a:r>
              <a:rPr lang="ru-RU" sz="1400" dirty="0" smtClean="0"/>
              <a:t>востребования</a:t>
            </a:r>
            <a:endParaRPr lang="ru-RU" sz="14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4389850" y="5428476"/>
            <a:ext cx="2366760" cy="8956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9875" lvl="2" indent="0">
              <a:lnSpc>
                <a:spcPct val="90000"/>
              </a:lnSpc>
              <a:buNone/>
            </a:pPr>
            <a:r>
              <a:rPr lang="en-US" sz="1600" dirty="0" smtClean="0"/>
              <a:t>“</a:t>
            </a:r>
            <a:r>
              <a:rPr lang="en-GB" sz="1600" dirty="0"/>
              <a:t>Baa1” </a:t>
            </a:r>
            <a:r>
              <a:rPr lang="ru-RU" sz="1600" dirty="0"/>
              <a:t>от </a:t>
            </a:r>
            <a:r>
              <a:rPr lang="en-GB" sz="1600" dirty="0"/>
              <a:t>Moody’s </a:t>
            </a:r>
            <a:r>
              <a:rPr lang="ru-RU" sz="1600" dirty="0"/>
              <a:t/>
            </a:r>
            <a:br>
              <a:rPr lang="ru-RU" sz="1600" dirty="0"/>
            </a:br>
            <a:r>
              <a:rPr lang="en-GB" sz="1400" dirty="0"/>
              <a:t>(</a:t>
            </a:r>
            <a:r>
              <a:rPr lang="ru-RU" sz="1400" dirty="0"/>
              <a:t>на 2</a:t>
            </a:r>
            <a:r>
              <a:rPr lang="en-GB" sz="1400" dirty="0"/>
              <a:t> </a:t>
            </a:r>
            <a:r>
              <a:rPr lang="ru-RU" sz="1400" dirty="0"/>
              <a:t>пункта выше </a:t>
            </a: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/>
              <a:t>суверенного </a:t>
            </a:r>
            <a:r>
              <a:rPr lang="ru-RU" sz="1400" dirty="0"/>
              <a:t>рейтинга </a:t>
            </a: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/>
              <a:t>России </a:t>
            </a:r>
            <a:r>
              <a:rPr lang="ru-RU" sz="1400" dirty="0"/>
              <a:t>и Казахстана</a:t>
            </a:r>
            <a:r>
              <a:rPr lang="en-GB" sz="1400" dirty="0" smtClean="0"/>
              <a:t>)</a:t>
            </a:r>
            <a:endParaRPr lang="ru-RU" sz="14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6369013" y="5427826"/>
            <a:ext cx="139435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69875" lvl="2" indent="0" algn="r">
              <a:buNone/>
            </a:pPr>
            <a:r>
              <a:rPr lang="en-GB" sz="1600" dirty="0"/>
              <a:t>“BBB-” </a:t>
            </a:r>
            <a:r>
              <a:rPr lang="ru-RU" sz="1600" dirty="0"/>
              <a:t>от</a:t>
            </a:r>
            <a:r>
              <a:rPr lang="en-GB" sz="1600" dirty="0"/>
              <a:t> 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en-GB" sz="1600" dirty="0" smtClean="0"/>
              <a:t>S&amp;P</a:t>
            </a:r>
            <a:endParaRPr lang="en-GB" sz="1600" dirty="0"/>
          </a:p>
        </p:txBody>
      </p:sp>
      <p:pic>
        <p:nvPicPr>
          <p:cNvPr id="24" name="Picture 2" descr="\\eabrnas01\SMK\Фото\Фото разные (по годам)\символы ЕАБР\флаги 2015\A-197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3321" b="7855"/>
          <a:stretch/>
        </p:blipFill>
        <p:spPr bwMode="auto">
          <a:xfrm>
            <a:off x="4730192" y="1376364"/>
            <a:ext cx="4162983" cy="39099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Прямоугольник 36"/>
          <p:cNvSpPr/>
          <p:nvPr/>
        </p:nvSpPr>
        <p:spPr>
          <a:xfrm>
            <a:off x="403412" y="5286201"/>
            <a:ext cx="783113" cy="1189211"/>
          </a:xfrm>
          <a:prstGeom prst="rect">
            <a:avLst/>
          </a:prstGeom>
          <a:solidFill>
            <a:srgbClr val="D9E6EF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321863" y="5427826"/>
            <a:ext cx="250102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/>
              <a:t>Кредитный рейтинг</a:t>
            </a:r>
            <a:r>
              <a:rPr lang="en-GB" sz="1600" b="1" dirty="0"/>
              <a:t>: </a:t>
            </a:r>
          </a:p>
        </p:txBody>
      </p:sp>
      <p:sp>
        <p:nvSpPr>
          <p:cNvPr id="35" name="Полилиния 34"/>
          <p:cNvSpPr/>
          <p:nvPr/>
        </p:nvSpPr>
        <p:spPr>
          <a:xfrm rot="5400000">
            <a:off x="1039145" y="5093164"/>
            <a:ext cx="1189212" cy="1575289"/>
          </a:xfrm>
          <a:custGeom>
            <a:avLst/>
            <a:gdLst>
              <a:gd name="connsiteX0" fmla="*/ 0 w 848876"/>
              <a:gd name="connsiteY0" fmla="*/ 1124463 h 1124463"/>
              <a:gd name="connsiteX1" fmla="*/ 0 w 848876"/>
              <a:gd name="connsiteY1" fmla="*/ 424438 h 1124463"/>
              <a:gd name="connsiteX2" fmla="*/ 424438 w 848876"/>
              <a:gd name="connsiteY2" fmla="*/ 0 h 1124463"/>
              <a:gd name="connsiteX3" fmla="*/ 848876 w 848876"/>
              <a:gd name="connsiteY3" fmla="*/ 424438 h 1124463"/>
              <a:gd name="connsiteX4" fmla="*/ 848876 w 848876"/>
              <a:gd name="connsiteY4" fmla="*/ 1124463 h 1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8876" h="1124463">
                <a:moveTo>
                  <a:pt x="0" y="1124463"/>
                </a:moveTo>
                <a:lnTo>
                  <a:pt x="0" y="424438"/>
                </a:lnTo>
                <a:cubicBezTo>
                  <a:pt x="0" y="190027"/>
                  <a:pt x="190027" y="0"/>
                  <a:pt x="424438" y="0"/>
                </a:cubicBezTo>
                <a:cubicBezTo>
                  <a:pt x="658849" y="0"/>
                  <a:pt x="848876" y="190027"/>
                  <a:pt x="848876" y="424438"/>
                </a:cubicBezTo>
                <a:lnTo>
                  <a:pt x="848876" y="112446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457" y="5445756"/>
            <a:ext cx="998444" cy="998444"/>
          </a:xfrm>
          <a:prstGeom prst="rect">
            <a:avLst/>
          </a:prstGeom>
        </p:spPr>
      </p:pic>
      <p:sp>
        <p:nvSpPr>
          <p:cNvPr id="45" name="Полилиния 44"/>
          <p:cNvSpPr/>
          <p:nvPr/>
        </p:nvSpPr>
        <p:spPr>
          <a:xfrm rot="5400000" flipV="1">
            <a:off x="8117528" y="2246854"/>
            <a:ext cx="1895836" cy="154694"/>
          </a:xfrm>
          <a:custGeom>
            <a:avLst/>
            <a:gdLst>
              <a:gd name="connsiteX0" fmla="*/ 4964640 w 4964640"/>
              <a:gd name="connsiteY0" fmla="*/ 399642 h 399642"/>
              <a:gd name="connsiteX1" fmla="*/ 3034241 w 4964640"/>
              <a:gd name="connsiteY1" fmla="*/ 399642 h 399642"/>
              <a:gd name="connsiteX2" fmla="*/ 2595513 w 4964640"/>
              <a:gd name="connsiteY2" fmla="*/ 399642 h 399642"/>
              <a:gd name="connsiteX3" fmla="*/ 0 w 4964640"/>
              <a:gd name="connsiteY3" fmla="*/ 399642 h 399642"/>
              <a:gd name="connsiteX4" fmla="*/ 0 w 4964640"/>
              <a:gd name="connsiteY4" fmla="*/ 0 h 399642"/>
              <a:gd name="connsiteX5" fmla="*/ 2595513 w 4964640"/>
              <a:gd name="connsiteY5" fmla="*/ 0 h 399642"/>
              <a:gd name="connsiteX6" fmla="*/ 3034241 w 4964640"/>
              <a:gd name="connsiteY6" fmla="*/ 0 h 399642"/>
              <a:gd name="connsiteX7" fmla="*/ 4654837 w 4964640"/>
              <a:gd name="connsiteY7" fmla="*/ 0 h 399642"/>
              <a:gd name="connsiteX8" fmla="*/ 4964640 w 4964640"/>
              <a:gd name="connsiteY8" fmla="*/ 309803 h 39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64640" h="399642">
                <a:moveTo>
                  <a:pt x="4964640" y="399642"/>
                </a:moveTo>
                <a:lnTo>
                  <a:pt x="3034241" y="399642"/>
                </a:lnTo>
                <a:lnTo>
                  <a:pt x="2595513" y="399642"/>
                </a:lnTo>
                <a:lnTo>
                  <a:pt x="0" y="399642"/>
                </a:lnTo>
                <a:lnTo>
                  <a:pt x="0" y="0"/>
                </a:lnTo>
                <a:lnTo>
                  <a:pt x="2595513" y="0"/>
                </a:lnTo>
                <a:lnTo>
                  <a:pt x="3034241" y="0"/>
                </a:lnTo>
                <a:lnTo>
                  <a:pt x="4654837" y="0"/>
                </a:lnTo>
                <a:cubicBezTo>
                  <a:pt x="4825937" y="0"/>
                  <a:pt x="4964640" y="138703"/>
                  <a:pt x="4964640" y="30980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0" y="5286201"/>
            <a:ext cx="923365" cy="118921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0" y="5286201"/>
            <a:ext cx="269139" cy="118921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777555" y="4142084"/>
            <a:ext cx="139005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b="1" dirty="0"/>
              <a:t>Уставный капитал ЕАБР </a:t>
            </a:r>
            <a:endParaRPr lang="ru-RU" dirty="0"/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722" y="4216072"/>
            <a:ext cx="794174" cy="794174"/>
          </a:xfrm>
          <a:prstGeom prst="rect">
            <a:avLst/>
          </a:prstGeom>
        </p:spPr>
      </p:pic>
      <p:sp>
        <p:nvSpPr>
          <p:cNvPr id="48" name="Прямоугольник 47"/>
          <p:cNvSpPr/>
          <p:nvPr/>
        </p:nvSpPr>
        <p:spPr>
          <a:xfrm flipH="1">
            <a:off x="2221399" y="4053806"/>
            <a:ext cx="74490" cy="1079104"/>
          </a:xfrm>
          <a:prstGeom prst="rect">
            <a:avLst/>
          </a:prstGeom>
          <a:solidFill>
            <a:srgbClr val="D9E6EF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-3365" y="1376363"/>
            <a:ext cx="146800" cy="5099049"/>
          </a:xfrm>
          <a:prstGeom prst="rect">
            <a:avLst/>
          </a:prstGeom>
          <a:solidFill>
            <a:srgbClr val="D9E6EF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31" name="Овал 30"/>
          <p:cNvSpPr/>
          <p:nvPr/>
        </p:nvSpPr>
        <p:spPr>
          <a:xfrm>
            <a:off x="7874349" y="5427826"/>
            <a:ext cx="546849" cy="54684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7511144" y="5427826"/>
            <a:ext cx="146706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69875" lvl="2" indent="0" algn="r">
              <a:buNone/>
            </a:pPr>
            <a:r>
              <a:rPr lang="en-US" sz="1600" dirty="0" smtClean="0"/>
              <a:t>“</a:t>
            </a:r>
            <a:r>
              <a:rPr lang="en-US" sz="1600" dirty="0"/>
              <a:t>BBB+” </a:t>
            </a:r>
            <a:r>
              <a:rPr lang="ru-RU" sz="1600" dirty="0"/>
              <a:t>от 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en-US" sz="1600" dirty="0" smtClean="0"/>
              <a:t>Fitch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1194741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1376363"/>
            <a:ext cx="996296" cy="5099050"/>
          </a:xfrm>
          <a:prstGeom prst="rect">
            <a:avLst/>
          </a:prstGeom>
          <a:solidFill>
            <a:srgbClr val="D9E6EF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28674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en-US" smtClean="0"/>
              <a:t>Миссия и отраслевой фокус ЕАБР</a:t>
            </a:r>
            <a:endParaRPr lang="ru-RU" altLang="en-US" dirty="0" smtClean="0"/>
          </a:p>
        </p:txBody>
      </p:sp>
      <p:pic>
        <p:nvPicPr>
          <p:cNvPr id="28676" name="Рисунок 8" descr="22.jpg"/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835" r="2403"/>
          <a:stretch/>
        </p:blipFill>
        <p:spPr>
          <a:xfrm>
            <a:off x="5594213" y="1376363"/>
            <a:ext cx="3532094" cy="5099050"/>
          </a:xfrm>
        </p:spPr>
      </p:pic>
      <p:sp>
        <p:nvSpPr>
          <p:cNvPr id="3" name="Овал 2"/>
          <p:cNvSpPr/>
          <p:nvPr/>
        </p:nvSpPr>
        <p:spPr>
          <a:xfrm>
            <a:off x="250826" y="1383347"/>
            <a:ext cx="1458334" cy="145833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247651" y="2991126"/>
            <a:ext cx="1458334" cy="145833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247651" y="5004378"/>
            <a:ext cx="1458334" cy="145833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712575" y="1349467"/>
            <a:ext cx="3662082" cy="1394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</a:pPr>
            <a:r>
              <a:rPr lang="ru-RU" altLang="en-US" sz="1600" b="1" dirty="0"/>
              <a:t>Миссия ЕАБР </a:t>
            </a:r>
            <a:r>
              <a:rPr lang="ru-RU" altLang="en-US" sz="1600" b="1" dirty="0" smtClean="0"/>
              <a:t/>
            </a:r>
            <a:br>
              <a:rPr lang="ru-RU" altLang="en-US" sz="1600" b="1" dirty="0" smtClean="0"/>
            </a:br>
            <a:r>
              <a:rPr lang="ru-RU" altLang="en-US" sz="1400" dirty="0" smtClean="0"/>
              <a:t>– </a:t>
            </a:r>
            <a:r>
              <a:rPr lang="ru-RU" altLang="en-US" sz="1400" dirty="0"/>
              <a:t>содействие развитию рыночной экономики и расширению торгово-экономических связей государств – участников </a:t>
            </a:r>
            <a:r>
              <a:rPr lang="ru-RU" altLang="en-US" sz="1400" dirty="0" smtClean="0"/>
              <a:t>ЕАБР </a:t>
            </a:r>
            <a:endParaRPr lang="ru-RU" altLang="en-US" sz="14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715563" y="2923990"/>
            <a:ext cx="3900823" cy="202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</a:pPr>
            <a:r>
              <a:rPr lang="ru-RU" altLang="en-US" sz="1600" b="1" dirty="0"/>
              <a:t>Отраслевой фокус </a:t>
            </a:r>
            <a:r>
              <a:rPr lang="ru-RU" altLang="en-US" sz="1600" b="1" dirty="0" smtClean="0"/>
              <a:t/>
            </a:r>
            <a:br>
              <a:rPr lang="ru-RU" altLang="en-US" sz="1600" b="1" dirty="0" smtClean="0"/>
            </a:br>
            <a:r>
              <a:rPr lang="ru-RU" altLang="en-US" sz="1400" dirty="0" smtClean="0"/>
              <a:t>– </a:t>
            </a:r>
            <a:r>
              <a:rPr lang="ru-RU" altLang="en-US" sz="1400" dirty="0"/>
              <a:t>проекты по развитию </a:t>
            </a:r>
            <a:r>
              <a:rPr lang="ru-RU" altLang="en-US" sz="1400" dirty="0" smtClean="0"/>
              <a:t>энергетической, транспортной </a:t>
            </a:r>
            <a:r>
              <a:rPr lang="ru-RU" altLang="en-US" sz="1400" dirty="0"/>
              <a:t>и иной </a:t>
            </a:r>
            <a:r>
              <a:rPr lang="ru-RU" altLang="en-US" sz="1400" dirty="0" smtClean="0"/>
              <a:t>инфраструктуры, химической, нефтехимической, металлурги-ческой, горнодобывающей, нефтегазовой промышленностей, машиностроения </a:t>
            </a:r>
            <a:br>
              <a:rPr lang="ru-RU" altLang="en-US" sz="1400" dirty="0" smtClean="0"/>
            </a:br>
            <a:r>
              <a:rPr lang="ru-RU" altLang="en-US" sz="1400" dirty="0" smtClean="0"/>
              <a:t>и агропромышленного </a:t>
            </a:r>
            <a:r>
              <a:rPr lang="ru-RU" altLang="en-US" sz="1400" spc="-20" dirty="0" smtClean="0"/>
              <a:t>комплекса </a:t>
            </a:r>
            <a:br>
              <a:rPr lang="ru-RU" altLang="en-US" sz="1400" spc="-20" dirty="0" smtClean="0"/>
            </a:br>
            <a:r>
              <a:rPr lang="ru-RU" altLang="en-US" sz="1400" spc="-20" dirty="0" smtClean="0"/>
              <a:t>в </a:t>
            </a:r>
            <a:r>
              <a:rPr lang="ru-RU" altLang="en-US" sz="1400" spc="-20" dirty="0"/>
              <a:t>государствах – </a:t>
            </a:r>
            <a:r>
              <a:rPr lang="ru-RU" altLang="en-US" sz="1400" spc="-20" dirty="0" smtClean="0"/>
              <a:t>участниках Банка</a:t>
            </a:r>
            <a:endParaRPr lang="ru-RU" altLang="en-US" sz="1400" spc="-2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712575" y="5040783"/>
            <a:ext cx="3765175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ct val="0"/>
              </a:spcBef>
              <a:spcAft>
                <a:spcPts val="600"/>
              </a:spcAft>
            </a:pPr>
            <a:r>
              <a:rPr lang="ru-RU" altLang="en-US" sz="1600" b="1" dirty="0"/>
              <a:t>Финансирование </a:t>
            </a:r>
            <a:r>
              <a:rPr lang="ru-RU" altLang="en-US" sz="1600" b="1" dirty="0" smtClean="0"/>
              <a:t>проектов </a:t>
            </a:r>
            <a:r>
              <a:rPr lang="ru-RU" altLang="en-US" sz="1600" b="1" dirty="0"/>
              <a:t>ВИЭ </a:t>
            </a:r>
            <a:r>
              <a:rPr lang="ru-RU" altLang="en-US" b="1" dirty="0" smtClean="0"/>
              <a:t/>
            </a:r>
            <a:br>
              <a:rPr lang="ru-RU" altLang="en-US" b="1" dirty="0" smtClean="0"/>
            </a:br>
            <a:r>
              <a:rPr lang="ru-RU" altLang="en-US" sz="1400" dirty="0" smtClean="0"/>
              <a:t>является </a:t>
            </a:r>
            <a:r>
              <a:rPr lang="ru-RU" altLang="en-US" sz="1400" dirty="0"/>
              <a:t>стратегическим направлением деятельности </a:t>
            </a:r>
            <a:r>
              <a:rPr lang="ru-RU" altLang="en-US" sz="1400" dirty="0" smtClean="0"/>
              <a:t>Банка. Утверждена </a:t>
            </a:r>
            <a:br>
              <a:rPr lang="ru-RU" altLang="en-US" sz="1400" dirty="0" smtClean="0"/>
            </a:br>
            <a:r>
              <a:rPr lang="ru-RU" altLang="en-US" sz="1400" dirty="0" smtClean="0"/>
              <a:t>и реализуется </a:t>
            </a:r>
            <a:r>
              <a:rPr lang="ru-RU" altLang="en-US" sz="1400" dirty="0"/>
              <a:t>Программа </a:t>
            </a:r>
            <a:r>
              <a:rPr lang="ru-RU" altLang="en-US" sz="1400" dirty="0" smtClean="0"/>
              <a:t>финансирования проектов </a:t>
            </a:r>
            <a:r>
              <a:rPr lang="ru-RU" altLang="en-US" sz="1400" dirty="0"/>
              <a:t>в области ВИЭ</a:t>
            </a:r>
            <a:endParaRPr lang="en-US" altLang="en-US" sz="1400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465" y="5227192"/>
            <a:ext cx="1012707" cy="1012707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553" y="3177544"/>
            <a:ext cx="1079942" cy="107994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629" y="1603123"/>
            <a:ext cx="964729" cy="964729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8893175" y="1376363"/>
            <a:ext cx="250825" cy="5099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17" name="Полилиния 16"/>
          <p:cNvSpPr/>
          <p:nvPr/>
        </p:nvSpPr>
        <p:spPr>
          <a:xfrm rot="16200000" flipH="1" flipV="1">
            <a:off x="-1102142" y="2479501"/>
            <a:ext cx="2402295" cy="196019"/>
          </a:xfrm>
          <a:custGeom>
            <a:avLst/>
            <a:gdLst>
              <a:gd name="connsiteX0" fmla="*/ 4964640 w 4964640"/>
              <a:gd name="connsiteY0" fmla="*/ 399642 h 399642"/>
              <a:gd name="connsiteX1" fmla="*/ 3034241 w 4964640"/>
              <a:gd name="connsiteY1" fmla="*/ 399642 h 399642"/>
              <a:gd name="connsiteX2" fmla="*/ 2595513 w 4964640"/>
              <a:gd name="connsiteY2" fmla="*/ 399642 h 399642"/>
              <a:gd name="connsiteX3" fmla="*/ 0 w 4964640"/>
              <a:gd name="connsiteY3" fmla="*/ 399642 h 399642"/>
              <a:gd name="connsiteX4" fmla="*/ 0 w 4964640"/>
              <a:gd name="connsiteY4" fmla="*/ 0 h 399642"/>
              <a:gd name="connsiteX5" fmla="*/ 2595513 w 4964640"/>
              <a:gd name="connsiteY5" fmla="*/ 0 h 399642"/>
              <a:gd name="connsiteX6" fmla="*/ 3034241 w 4964640"/>
              <a:gd name="connsiteY6" fmla="*/ 0 h 399642"/>
              <a:gd name="connsiteX7" fmla="*/ 4654837 w 4964640"/>
              <a:gd name="connsiteY7" fmla="*/ 0 h 399642"/>
              <a:gd name="connsiteX8" fmla="*/ 4964640 w 4964640"/>
              <a:gd name="connsiteY8" fmla="*/ 309803 h 39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64640" h="399642">
                <a:moveTo>
                  <a:pt x="4964640" y="399642"/>
                </a:moveTo>
                <a:lnTo>
                  <a:pt x="3034241" y="399642"/>
                </a:lnTo>
                <a:lnTo>
                  <a:pt x="2595513" y="399642"/>
                </a:lnTo>
                <a:lnTo>
                  <a:pt x="0" y="399642"/>
                </a:lnTo>
                <a:lnTo>
                  <a:pt x="0" y="0"/>
                </a:lnTo>
                <a:lnTo>
                  <a:pt x="2595513" y="0"/>
                </a:lnTo>
                <a:lnTo>
                  <a:pt x="3034241" y="0"/>
                </a:lnTo>
                <a:lnTo>
                  <a:pt x="4654837" y="0"/>
                </a:lnTo>
                <a:cubicBezTo>
                  <a:pt x="4825937" y="0"/>
                  <a:pt x="4964640" y="138703"/>
                  <a:pt x="4964640" y="30980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8893175" y="1376363"/>
            <a:ext cx="250825" cy="828675"/>
          </a:xfrm>
          <a:prstGeom prst="rect">
            <a:avLst/>
          </a:prstGeom>
          <a:solidFill>
            <a:srgbClr val="D9E6EF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893175" y="6170364"/>
            <a:ext cx="250825" cy="30504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197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олилиния 23"/>
          <p:cNvSpPr/>
          <p:nvPr/>
        </p:nvSpPr>
        <p:spPr>
          <a:xfrm>
            <a:off x="257077" y="3638008"/>
            <a:ext cx="4218676" cy="452438"/>
          </a:xfrm>
          <a:custGeom>
            <a:avLst/>
            <a:gdLst>
              <a:gd name="connsiteX0" fmla="*/ 3872670 w 4218676"/>
              <a:gd name="connsiteY0" fmla="*/ 0 h 452438"/>
              <a:gd name="connsiteX1" fmla="*/ 2062696 w 4218676"/>
              <a:gd name="connsiteY1" fmla="*/ 0 h 452438"/>
              <a:gd name="connsiteX2" fmla="*/ 1572699 w 4218676"/>
              <a:gd name="connsiteY2" fmla="*/ 0 h 452438"/>
              <a:gd name="connsiteX3" fmla="*/ 1126688 w 4218676"/>
              <a:gd name="connsiteY3" fmla="*/ 0 h 452438"/>
              <a:gd name="connsiteX4" fmla="*/ 0 w 4218676"/>
              <a:gd name="connsiteY4" fmla="*/ 0 h 452438"/>
              <a:gd name="connsiteX5" fmla="*/ 0 w 4218676"/>
              <a:gd name="connsiteY5" fmla="*/ 452438 h 452438"/>
              <a:gd name="connsiteX6" fmla="*/ 1126688 w 4218676"/>
              <a:gd name="connsiteY6" fmla="*/ 452438 h 452438"/>
              <a:gd name="connsiteX7" fmla="*/ 1572699 w 4218676"/>
              <a:gd name="connsiteY7" fmla="*/ 452438 h 452438"/>
              <a:gd name="connsiteX8" fmla="*/ 2062696 w 4218676"/>
              <a:gd name="connsiteY8" fmla="*/ 452438 h 452438"/>
              <a:gd name="connsiteX9" fmla="*/ 4218676 w 4218676"/>
              <a:gd name="connsiteY9" fmla="*/ 452438 h 452438"/>
              <a:gd name="connsiteX10" fmla="*/ 4218676 w 4218676"/>
              <a:gd name="connsiteY10" fmla="*/ 350731 h 452438"/>
              <a:gd name="connsiteX11" fmla="*/ 3872670 w 4218676"/>
              <a:gd name="connsiteY11" fmla="*/ 0 h 452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218676" h="452438">
                <a:moveTo>
                  <a:pt x="3872670" y="0"/>
                </a:moveTo>
                <a:lnTo>
                  <a:pt x="2062696" y="0"/>
                </a:lnTo>
                <a:lnTo>
                  <a:pt x="1572699" y="0"/>
                </a:lnTo>
                <a:lnTo>
                  <a:pt x="1126688" y="0"/>
                </a:lnTo>
                <a:lnTo>
                  <a:pt x="0" y="0"/>
                </a:lnTo>
                <a:lnTo>
                  <a:pt x="0" y="452438"/>
                </a:lnTo>
                <a:lnTo>
                  <a:pt x="1126688" y="452438"/>
                </a:lnTo>
                <a:lnTo>
                  <a:pt x="1572699" y="452438"/>
                </a:lnTo>
                <a:lnTo>
                  <a:pt x="2062696" y="452438"/>
                </a:lnTo>
                <a:lnTo>
                  <a:pt x="4218676" y="452438"/>
                </a:lnTo>
                <a:lnTo>
                  <a:pt x="4218676" y="350731"/>
                </a:lnTo>
                <a:cubicBezTo>
                  <a:pt x="4218676" y="157027"/>
                  <a:pt x="4063764" y="0"/>
                  <a:pt x="3872670" y="0"/>
                </a:cubicBezTo>
                <a:close/>
              </a:path>
            </a:pathLst>
          </a:custGeom>
          <a:solidFill>
            <a:srgbClr val="D9E6EF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19" name="Полилиния 18"/>
          <p:cNvSpPr/>
          <p:nvPr/>
        </p:nvSpPr>
        <p:spPr>
          <a:xfrm>
            <a:off x="4679353" y="3638008"/>
            <a:ext cx="4214507" cy="452438"/>
          </a:xfrm>
          <a:custGeom>
            <a:avLst/>
            <a:gdLst>
              <a:gd name="connsiteX0" fmla="*/ 4214507 w 4214507"/>
              <a:gd name="connsiteY0" fmla="*/ 0 h 452438"/>
              <a:gd name="connsiteX1" fmla="*/ 3091988 w 4214507"/>
              <a:gd name="connsiteY1" fmla="*/ 0 h 452438"/>
              <a:gd name="connsiteX2" fmla="*/ 2645976 w 4214507"/>
              <a:gd name="connsiteY2" fmla="*/ 0 h 452438"/>
              <a:gd name="connsiteX3" fmla="*/ 2155980 w 4214507"/>
              <a:gd name="connsiteY3" fmla="*/ 0 h 452438"/>
              <a:gd name="connsiteX4" fmla="*/ 346005 w 4214507"/>
              <a:gd name="connsiteY4" fmla="*/ 0 h 452438"/>
              <a:gd name="connsiteX5" fmla="*/ 0 w 4214507"/>
              <a:gd name="connsiteY5" fmla="*/ 350731 h 452438"/>
              <a:gd name="connsiteX6" fmla="*/ 0 w 4214507"/>
              <a:gd name="connsiteY6" fmla="*/ 452438 h 452438"/>
              <a:gd name="connsiteX7" fmla="*/ 2155980 w 4214507"/>
              <a:gd name="connsiteY7" fmla="*/ 452438 h 452438"/>
              <a:gd name="connsiteX8" fmla="*/ 2645976 w 4214507"/>
              <a:gd name="connsiteY8" fmla="*/ 452438 h 452438"/>
              <a:gd name="connsiteX9" fmla="*/ 3091988 w 4214507"/>
              <a:gd name="connsiteY9" fmla="*/ 452438 h 452438"/>
              <a:gd name="connsiteX10" fmla="*/ 4214507 w 4214507"/>
              <a:gd name="connsiteY10" fmla="*/ 452438 h 452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14507" h="452438">
                <a:moveTo>
                  <a:pt x="4214507" y="0"/>
                </a:moveTo>
                <a:lnTo>
                  <a:pt x="3091988" y="0"/>
                </a:lnTo>
                <a:lnTo>
                  <a:pt x="2645976" y="0"/>
                </a:lnTo>
                <a:lnTo>
                  <a:pt x="2155980" y="0"/>
                </a:lnTo>
                <a:lnTo>
                  <a:pt x="346005" y="0"/>
                </a:lnTo>
                <a:cubicBezTo>
                  <a:pt x="154911" y="0"/>
                  <a:pt x="0" y="157027"/>
                  <a:pt x="0" y="350731"/>
                </a:cubicBezTo>
                <a:lnTo>
                  <a:pt x="0" y="452438"/>
                </a:lnTo>
                <a:lnTo>
                  <a:pt x="2155980" y="452438"/>
                </a:lnTo>
                <a:lnTo>
                  <a:pt x="2645976" y="452438"/>
                </a:lnTo>
                <a:lnTo>
                  <a:pt x="3091988" y="452438"/>
                </a:lnTo>
                <a:lnTo>
                  <a:pt x="4214507" y="452438"/>
                </a:lnTo>
                <a:close/>
              </a:path>
            </a:pathLst>
          </a:custGeom>
          <a:solidFill>
            <a:srgbClr val="D9E6EF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23" name="Полилиния 22"/>
          <p:cNvSpPr/>
          <p:nvPr/>
        </p:nvSpPr>
        <p:spPr>
          <a:xfrm>
            <a:off x="4679353" y="1384995"/>
            <a:ext cx="4214506" cy="452438"/>
          </a:xfrm>
          <a:custGeom>
            <a:avLst/>
            <a:gdLst>
              <a:gd name="connsiteX0" fmla="*/ 4214506 w 4214506"/>
              <a:gd name="connsiteY0" fmla="*/ 0 h 452438"/>
              <a:gd name="connsiteX1" fmla="*/ 3091988 w 4214506"/>
              <a:gd name="connsiteY1" fmla="*/ 0 h 452438"/>
              <a:gd name="connsiteX2" fmla="*/ 2645976 w 4214506"/>
              <a:gd name="connsiteY2" fmla="*/ 0 h 452438"/>
              <a:gd name="connsiteX3" fmla="*/ 2155980 w 4214506"/>
              <a:gd name="connsiteY3" fmla="*/ 0 h 452438"/>
              <a:gd name="connsiteX4" fmla="*/ 346005 w 4214506"/>
              <a:gd name="connsiteY4" fmla="*/ 0 h 452438"/>
              <a:gd name="connsiteX5" fmla="*/ 0 w 4214506"/>
              <a:gd name="connsiteY5" fmla="*/ 350731 h 452438"/>
              <a:gd name="connsiteX6" fmla="*/ 0 w 4214506"/>
              <a:gd name="connsiteY6" fmla="*/ 452438 h 452438"/>
              <a:gd name="connsiteX7" fmla="*/ 2155980 w 4214506"/>
              <a:gd name="connsiteY7" fmla="*/ 452438 h 452438"/>
              <a:gd name="connsiteX8" fmla="*/ 2645976 w 4214506"/>
              <a:gd name="connsiteY8" fmla="*/ 452438 h 452438"/>
              <a:gd name="connsiteX9" fmla="*/ 3091988 w 4214506"/>
              <a:gd name="connsiteY9" fmla="*/ 452438 h 452438"/>
              <a:gd name="connsiteX10" fmla="*/ 4214506 w 4214506"/>
              <a:gd name="connsiteY10" fmla="*/ 452438 h 452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214506" h="452438">
                <a:moveTo>
                  <a:pt x="4214506" y="0"/>
                </a:moveTo>
                <a:lnTo>
                  <a:pt x="3091988" y="0"/>
                </a:lnTo>
                <a:lnTo>
                  <a:pt x="2645976" y="0"/>
                </a:lnTo>
                <a:lnTo>
                  <a:pt x="2155980" y="0"/>
                </a:lnTo>
                <a:lnTo>
                  <a:pt x="346005" y="0"/>
                </a:lnTo>
                <a:cubicBezTo>
                  <a:pt x="154911" y="0"/>
                  <a:pt x="0" y="157027"/>
                  <a:pt x="0" y="350731"/>
                </a:cubicBezTo>
                <a:lnTo>
                  <a:pt x="0" y="452438"/>
                </a:lnTo>
                <a:lnTo>
                  <a:pt x="2155980" y="452438"/>
                </a:lnTo>
                <a:lnTo>
                  <a:pt x="2645976" y="452438"/>
                </a:lnTo>
                <a:lnTo>
                  <a:pt x="3091988" y="452438"/>
                </a:lnTo>
                <a:lnTo>
                  <a:pt x="4214506" y="452438"/>
                </a:lnTo>
                <a:close/>
              </a:path>
            </a:pathLst>
          </a:custGeom>
          <a:solidFill>
            <a:srgbClr val="D9E6EF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30722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en-US" dirty="0" smtClean="0"/>
              <a:t>Инвестиционный портфель</a:t>
            </a:r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sz="quarter" idx="4294967295"/>
            <p:extLst/>
          </p:nvPr>
        </p:nvGraphicFramePr>
        <p:xfrm>
          <a:off x="4572000" y="4181237"/>
          <a:ext cx="4298673" cy="25816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Объект 5"/>
          <p:cNvGraphicFramePr>
            <a:graphicFrameLocks noGrp="1"/>
          </p:cNvGraphicFramePr>
          <p:nvPr>
            <p:ph sz="quarter" idx="4294967295"/>
            <p:extLst/>
          </p:nvPr>
        </p:nvGraphicFramePr>
        <p:xfrm>
          <a:off x="365126" y="3831082"/>
          <a:ext cx="3450638" cy="27076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4800384" y="1381760"/>
            <a:ext cx="3911217" cy="4381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>
                <a:solidFill>
                  <a:schemeClr val="tx1"/>
                </a:solidFill>
              </a:rPr>
              <a:t>Инвестиционный портфель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800385" y="3603779"/>
            <a:ext cx="4032250" cy="4905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90000"/>
              </a:lnSpc>
              <a:defRPr/>
            </a:pPr>
            <a:r>
              <a:rPr lang="ru-RU" sz="1600" b="1" dirty="0">
                <a:solidFill>
                  <a:schemeClr val="tx1"/>
                </a:solidFill>
              </a:rPr>
              <a:t>Отраслевая структура </a:t>
            </a:r>
            <a:r>
              <a:rPr lang="ru-RU" sz="1600" b="1" dirty="0" smtClean="0">
                <a:solidFill>
                  <a:schemeClr val="tx1"/>
                </a:solidFill>
              </a:rPr>
              <a:t>текущего инвестиционного </a:t>
            </a:r>
            <a:r>
              <a:rPr lang="ru-RU" sz="1600" b="1" dirty="0">
                <a:solidFill>
                  <a:schemeClr val="tx1"/>
                </a:solidFill>
              </a:rPr>
              <a:t>портфеля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49968" y="3600162"/>
            <a:ext cx="4442708" cy="496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90000"/>
              </a:lnSpc>
              <a:defRPr/>
            </a:pPr>
            <a:r>
              <a:rPr lang="ru-RU" sz="1600" b="1" dirty="0">
                <a:solidFill>
                  <a:schemeClr val="tx1"/>
                </a:solidFill>
              </a:rPr>
              <a:t>Страновая структура </a:t>
            </a:r>
            <a:r>
              <a:rPr lang="ru-RU" sz="1600" b="1" dirty="0" smtClean="0">
                <a:solidFill>
                  <a:schemeClr val="tx1"/>
                </a:solidFill>
              </a:rPr>
              <a:t/>
            </a:r>
            <a:br>
              <a:rPr lang="ru-RU" sz="1600" b="1" dirty="0" smtClean="0">
                <a:solidFill>
                  <a:schemeClr val="tx1"/>
                </a:solidFill>
              </a:rPr>
            </a:br>
            <a:r>
              <a:rPr lang="ru-RU" sz="1600" b="1" dirty="0" smtClean="0">
                <a:solidFill>
                  <a:schemeClr val="tx1"/>
                </a:solidFill>
              </a:rPr>
              <a:t>инвестиционного </a:t>
            </a:r>
            <a:r>
              <a:rPr lang="ru-RU" sz="1600" b="1" dirty="0">
                <a:solidFill>
                  <a:schemeClr val="tx1"/>
                </a:solidFill>
              </a:rPr>
              <a:t>портфеля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30729" name="TextBox 15"/>
          <p:cNvSpPr txBox="1">
            <a:spLocks noChangeArrowheads="1"/>
          </p:cNvSpPr>
          <p:nvPr/>
        </p:nvSpPr>
        <p:spPr bwMode="auto">
          <a:xfrm rot="16200000">
            <a:off x="4284177" y="2656857"/>
            <a:ext cx="1005403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en-US" sz="800" dirty="0"/>
              <a:t>Млрд долл. США</a:t>
            </a:r>
            <a:endParaRPr lang="en-US" altLang="en-US" sz="800" dirty="0"/>
          </a:p>
        </p:txBody>
      </p:sp>
      <p:sp>
        <p:nvSpPr>
          <p:cNvPr id="30730" name="Прямоугольник 16"/>
          <p:cNvSpPr>
            <a:spLocks noChangeArrowheads="1"/>
          </p:cNvSpPr>
          <p:nvPr/>
        </p:nvSpPr>
        <p:spPr bwMode="auto">
          <a:xfrm>
            <a:off x="7475875" y="6277089"/>
            <a:ext cx="1539845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en-US" sz="1100" dirty="0">
                <a:solidFill>
                  <a:srgbClr val="004A84"/>
                </a:solidFill>
                <a:latin typeface="+mn-lt"/>
              </a:rPr>
              <a:t>Данные </a:t>
            </a:r>
            <a:r>
              <a:rPr lang="ru-RU" altLang="en-US" sz="1100">
                <a:solidFill>
                  <a:srgbClr val="004A84"/>
                </a:solidFill>
                <a:latin typeface="+mn-lt"/>
              </a:rPr>
              <a:t>на </a:t>
            </a:r>
            <a:r>
              <a:rPr lang="ru-RU" altLang="en-US" sz="1100" smtClean="0">
                <a:solidFill>
                  <a:srgbClr val="004A84"/>
                </a:solidFill>
                <a:latin typeface="+mn-lt"/>
              </a:rPr>
              <a:t>01.10.2020</a:t>
            </a:r>
            <a:endParaRPr lang="ru-RU" altLang="en-US" sz="1100" dirty="0">
              <a:solidFill>
                <a:srgbClr val="004A84"/>
              </a:solidFill>
              <a:latin typeface="+mn-lt"/>
            </a:endParaRPr>
          </a:p>
        </p:txBody>
      </p:sp>
      <p:graphicFrame>
        <p:nvGraphicFramePr>
          <p:cNvPr id="8" name="Объект 5"/>
          <p:cNvGraphicFramePr>
            <a:graphicFrameLocks/>
          </p:cNvGraphicFramePr>
          <p:nvPr>
            <p:extLst/>
          </p:nvPr>
        </p:nvGraphicFramePr>
        <p:xfrm>
          <a:off x="4968421" y="1868913"/>
          <a:ext cx="3865562" cy="15378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6" name="Полилиния 25"/>
          <p:cNvSpPr/>
          <p:nvPr/>
        </p:nvSpPr>
        <p:spPr>
          <a:xfrm rot="5400000">
            <a:off x="68049" y="2665282"/>
            <a:ext cx="645461" cy="855010"/>
          </a:xfrm>
          <a:custGeom>
            <a:avLst/>
            <a:gdLst>
              <a:gd name="connsiteX0" fmla="*/ 0 w 848876"/>
              <a:gd name="connsiteY0" fmla="*/ 1124463 h 1124463"/>
              <a:gd name="connsiteX1" fmla="*/ 0 w 848876"/>
              <a:gd name="connsiteY1" fmla="*/ 424438 h 1124463"/>
              <a:gd name="connsiteX2" fmla="*/ 424438 w 848876"/>
              <a:gd name="connsiteY2" fmla="*/ 0 h 1124463"/>
              <a:gd name="connsiteX3" fmla="*/ 848876 w 848876"/>
              <a:gd name="connsiteY3" fmla="*/ 424438 h 1124463"/>
              <a:gd name="connsiteX4" fmla="*/ 848876 w 848876"/>
              <a:gd name="connsiteY4" fmla="*/ 1124463 h 1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8876" h="1124463">
                <a:moveTo>
                  <a:pt x="0" y="1124463"/>
                </a:moveTo>
                <a:lnTo>
                  <a:pt x="0" y="424438"/>
                </a:lnTo>
                <a:cubicBezTo>
                  <a:pt x="0" y="190027"/>
                  <a:pt x="190027" y="0"/>
                  <a:pt x="424438" y="0"/>
                </a:cubicBezTo>
                <a:cubicBezTo>
                  <a:pt x="658849" y="0"/>
                  <a:pt x="848876" y="190027"/>
                  <a:pt x="848876" y="424438"/>
                </a:cubicBezTo>
                <a:lnTo>
                  <a:pt x="848876" y="112446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27" name="Полилиния 26"/>
          <p:cNvSpPr/>
          <p:nvPr/>
        </p:nvSpPr>
        <p:spPr>
          <a:xfrm rot="5400000">
            <a:off x="70757" y="1976499"/>
            <a:ext cx="645461" cy="855010"/>
          </a:xfrm>
          <a:custGeom>
            <a:avLst/>
            <a:gdLst>
              <a:gd name="connsiteX0" fmla="*/ 0 w 848876"/>
              <a:gd name="connsiteY0" fmla="*/ 1124463 h 1124463"/>
              <a:gd name="connsiteX1" fmla="*/ 0 w 848876"/>
              <a:gd name="connsiteY1" fmla="*/ 424438 h 1124463"/>
              <a:gd name="connsiteX2" fmla="*/ 424438 w 848876"/>
              <a:gd name="connsiteY2" fmla="*/ 0 h 1124463"/>
              <a:gd name="connsiteX3" fmla="*/ 848876 w 848876"/>
              <a:gd name="connsiteY3" fmla="*/ 424438 h 1124463"/>
              <a:gd name="connsiteX4" fmla="*/ 848876 w 848876"/>
              <a:gd name="connsiteY4" fmla="*/ 1124463 h 1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8876" h="1124463">
                <a:moveTo>
                  <a:pt x="0" y="1124463"/>
                </a:moveTo>
                <a:lnTo>
                  <a:pt x="0" y="424438"/>
                </a:lnTo>
                <a:cubicBezTo>
                  <a:pt x="0" y="190027"/>
                  <a:pt x="190027" y="0"/>
                  <a:pt x="424438" y="0"/>
                </a:cubicBezTo>
                <a:cubicBezTo>
                  <a:pt x="658849" y="0"/>
                  <a:pt x="848876" y="190027"/>
                  <a:pt x="848876" y="424438"/>
                </a:cubicBezTo>
                <a:lnTo>
                  <a:pt x="848876" y="112446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28" name="Полилиния 27"/>
          <p:cNvSpPr/>
          <p:nvPr/>
        </p:nvSpPr>
        <p:spPr>
          <a:xfrm rot="5400000">
            <a:off x="68049" y="1284046"/>
            <a:ext cx="645461" cy="855010"/>
          </a:xfrm>
          <a:custGeom>
            <a:avLst/>
            <a:gdLst>
              <a:gd name="connsiteX0" fmla="*/ 0 w 848876"/>
              <a:gd name="connsiteY0" fmla="*/ 1124463 h 1124463"/>
              <a:gd name="connsiteX1" fmla="*/ 0 w 848876"/>
              <a:gd name="connsiteY1" fmla="*/ 424438 h 1124463"/>
              <a:gd name="connsiteX2" fmla="*/ 424438 w 848876"/>
              <a:gd name="connsiteY2" fmla="*/ 0 h 1124463"/>
              <a:gd name="connsiteX3" fmla="*/ 848876 w 848876"/>
              <a:gd name="connsiteY3" fmla="*/ 424438 h 1124463"/>
              <a:gd name="connsiteX4" fmla="*/ 848876 w 848876"/>
              <a:gd name="connsiteY4" fmla="*/ 1124463 h 1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8876" h="1124463">
                <a:moveTo>
                  <a:pt x="0" y="1124463"/>
                </a:moveTo>
                <a:lnTo>
                  <a:pt x="0" y="424438"/>
                </a:lnTo>
                <a:cubicBezTo>
                  <a:pt x="0" y="190027"/>
                  <a:pt x="190027" y="0"/>
                  <a:pt x="424438" y="0"/>
                </a:cubicBezTo>
                <a:cubicBezTo>
                  <a:pt x="658849" y="0"/>
                  <a:pt x="848876" y="190027"/>
                  <a:pt x="848876" y="424438"/>
                </a:cubicBezTo>
                <a:lnTo>
                  <a:pt x="848876" y="112446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30723" name="Содержимое 6"/>
          <p:cNvSpPr>
            <a:spLocks noGrp="1"/>
          </p:cNvSpPr>
          <p:nvPr>
            <p:ph idx="4294967295"/>
          </p:nvPr>
        </p:nvSpPr>
        <p:spPr>
          <a:xfrm>
            <a:off x="238125" y="1515415"/>
            <a:ext cx="4333875" cy="2444750"/>
          </a:xfrm>
        </p:spPr>
        <p:txBody>
          <a:bodyPr/>
          <a:lstStyle/>
          <a:p>
            <a:pPr>
              <a:lnSpc>
                <a:spcPct val="110000"/>
              </a:lnSpc>
              <a:spcBef>
                <a:spcPct val="0"/>
              </a:spcBef>
              <a:spcAft>
                <a:spcPts val="1500"/>
              </a:spcAft>
            </a:pPr>
            <a:r>
              <a:rPr lang="ru-RU" altLang="en-US" sz="1400" dirty="0" smtClean="0"/>
              <a:t>Инвестиционный портфель по состоянию </a:t>
            </a:r>
            <a:br>
              <a:rPr lang="ru-RU" altLang="en-US" sz="1400" dirty="0" smtClean="0"/>
            </a:br>
            <a:r>
              <a:rPr lang="ru-RU" altLang="en-US" sz="1400" dirty="0" smtClean="0"/>
              <a:t>на </a:t>
            </a:r>
            <a:r>
              <a:rPr lang="ru-RU" altLang="en-US" sz="1400" dirty="0" smtClean="0"/>
              <a:t>октябрь </a:t>
            </a:r>
            <a:r>
              <a:rPr lang="ru-RU" altLang="en-US" sz="1400" dirty="0" smtClean="0"/>
              <a:t>2020 года составляет </a:t>
            </a:r>
            <a:r>
              <a:rPr lang="en-US" altLang="en-US" sz="1400" dirty="0" smtClean="0"/>
              <a:t>$</a:t>
            </a:r>
            <a:r>
              <a:rPr lang="ru-RU" altLang="en-US" sz="1400" b="1" dirty="0" smtClean="0"/>
              <a:t>9,3 </a:t>
            </a:r>
            <a:r>
              <a:rPr lang="ru-RU" altLang="en-US" sz="1400" b="1" dirty="0" smtClean="0"/>
              <a:t>млрд</a:t>
            </a:r>
            <a:endParaRPr lang="ru-RU" altLang="en-US" sz="1400" dirty="0" smtClean="0"/>
          </a:p>
          <a:p>
            <a:pPr>
              <a:lnSpc>
                <a:spcPct val="110000"/>
              </a:lnSpc>
              <a:spcBef>
                <a:spcPct val="0"/>
              </a:spcBef>
              <a:spcAft>
                <a:spcPts val="1500"/>
              </a:spcAft>
            </a:pPr>
            <a:r>
              <a:rPr lang="ru-RU" altLang="en-US" sz="1400" dirty="0" smtClean="0"/>
              <a:t>В стадии финансирования </a:t>
            </a:r>
            <a:br>
              <a:rPr lang="ru-RU" altLang="en-US" sz="1400" dirty="0" smtClean="0"/>
            </a:br>
            <a:r>
              <a:rPr lang="ru-RU" altLang="en-US" sz="1400" b="1" dirty="0" smtClean="0"/>
              <a:t>91 </a:t>
            </a:r>
            <a:r>
              <a:rPr lang="ru-RU" altLang="en-US" sz="1400" dirty="0" smtClean="0"/>
              <a:t>инвестиционный проект</a:t>
            </a:r>
          </a:p>
          <a:p>
            <a:pPr>
              <a:lnSpc>
                <a:spcPct val="110000"/>
              </a:lnSpc>
              <a:spcBef>
                <a:spcPct val="0"/>
              </a:spcBef>
              <a:spcAft>
                <a:spcPts val="1500"/>
              </a:spcAft>
            </a:pPr>
            <a:r>
              <a:rPr lang="ru-RU" altLang="en-US" sz="1400" dirty="0" smtClean="0"/>
              <a:t>Энергетика составляет </a:t>
            </a:r>
            <a:r>
              <a:rPr lang="ru-RU" altLang="en-US" sz="1400" smtClean="0"/>
              <a:t>более </a:t>
            </a:r>
            <a:r>
              <a:rPr lang="ru-RU" altLang="en-US" sz="1400" b="1" smtClean="0"/>
              <a:t>14%</a:t>
            </a:r>
            <a:r>
              <a:rPr lang="ru-RU" altLang="en-US" sz="1400" smtClean="0"/>
              <a:t> </a:t>
            </a:r>
            <a:r>
              <a:rPr lang="ru-RU" altLang="en-US" sz="1400" dirty="0" smtClean="0"/>
              <a:t/>
            </a:r>
            <a:br>
              <a:rPr lang="ru-RU" altLang="en-US" sz="1400" dirty="0" smtClean="0"/>
            </a:br>
            <a:r>
              <a:rPr lang="ru-RU" altLang="en-US" sz="1400" dirty="0" smtClean="0"/>
              <a:t>от инвестиционного портфеля Банка</a:t>
            </a:r>
          </a:p>
        </p:txBody>
      </p:sp>
      <p:sp>
        <p:nvSpPr>
          <p:cNvPr id="7" name="Прямоугольник 6"/>
          <p:cNvSpPr/>
          <p:nvPr/>
        </p:nvSpPr>
        <p:spPr>
          <a:xfrm flipH="1">
            <a:off x="8893856" y="3638008"/>
            <a:ext cx="250141" cy="4524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 flipH="1">
            <a:off x="8893856" y="1376363"/>
            <a:ext cx="250141" cy="4610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-1" y="3638008"/>
            <a:ext cx="257773" cy="4524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942066" y="4262188"/>
            <a:ext cx="1170727" cy="27699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71463">
              <a:defRPr/>
            </a:pPr>
            <a:r>
              <a:rPr lang="ru-RU" sz="1200" dirty="0" smtClean="0"/>
              <a:t>Россия</a:t>
            </a:r>
            <a:endParaRPr lang="ru-RU" sz="1200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555896" y="4229820"/>
            <a:ext cx="1170727" cy="27699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71463">
              <a:defRPr/>
            </a:pPr>
            <a:r>
              <a:rPr lang="ru-RU" sz="1200" dirty="0" smtClean="0"/>
              <a:t>Казахстан</a:t>
            </a:r>
            <a:endParaRPr lang="ru-RU" sz="120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2613724" y="5886706"/>
            <a:ext cx="1170727" cy="27699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71463">
              <a:defRPr/>
            </a:pPr>
            <a:r>
              <a:rPr lang="ru-RU" sz="1200" dirty="0" smtClean="0"/>
              <a:t>Беларусь</a:t>
            </a:r>
            <a:endParaRPr lang="ru-RU" sz="1200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323439" y="5218707"/>
            <a:ext cx="1170727" cy="27699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71463">
              <a:defRPr/>
            </a:pPr>
            <a:r>
              <a:rPr lang="ru-RU" sz="1200" dirty="0" smtClean="0"/>
              <a:t>Кыргызстан</a:t>
            </a:r>
            <a:endParaRPr lang="ru-RU" sz="1200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839116" y="5782419"/>
            <a:ext cx="1170727" cy="276999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271463">
              <a:defRPr/>
            </a:pPr>
            <a:r>
              <a:rPr lang="ru-RU" sz="1200" dirty="0" smtClean="0"/>
              <a:t>Армения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462082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Полилиния 61"/>
          <p:cNvSpPr/>
          <p:nvPr/>
        </p:nvSpPr>
        <p:spPr>
          <a:xfrm rot="5400000">
            <a:off x="-244664" y="1621028"/>
            <a:ext cx="2893850" cy="2404522"/>
          </a:xfrm>
          <a:custGeom>
            <a:avLst/>
            <a:gdLst>
              <a:gd name="connsiteX0" fmla="*/ 2337858 w 2893850"/>
              <a:gd name="connsiteY0" fmla="*/ 2404522 h 2404522"/>
              <a:gd name="connsiteX1" fmla="*/ 2337858 w 2893850"/>
              <a:gd name="connsiteY1" fmla="*/ 277996 h 2404522"/>
              <a:gd name="connsiteX2" fmla="*/ 2615854 w 2893850"/>
              <a:gd name="connsiteY2" fmla="*/ 0 h 2404522"/>
              <a:gd name="connsiteX3" fmla="*/ 2893850 w 2893850"/>
              <a:gd name="connsiteY3" fmla="*/ 277996 h 2404522"/>
              <a:gd name="connsiteX4" fmla="*/ 2893850 w 2893850"/>
              <a:gd name="connsiteY4" fmla="*/ 2404522 h 2404522"/>
              <a:gd name="connsiteX5" fmla="*/ 1753396 w 2893850"/>
              <a:gd name="connsiteY5" fmla="*/ 2404522 h 2404522"/>
              <a:gd name="connsiteX6" fmla="*/ 1753396 w 2893850"/>
              <a:gd name="connsiteY6" fmla="*/ 513666 h 2404522"/>
              <a:gd name="connsiteX7" fmla="*/ 2031392 w 2893850"/>
              <a:gd name="connsiteY7" fmla="*/ 235670 h 2404522"/>
              <a:gd name="connsiteX8" fmla="*/ 2309388 w 2893850"/>
              <a:gd name="connsiteY8" fmla="*/ 513666 h 2404522"/>
              <a:gd name="connsiteX9" fmla="*/ 2309388 w 2893850"/>
              <a:gd name="connsiteY9" fmla="*/ 2404522 h 2404522"/>
              <a:gd name="connsiteX10" fmla="*/ 1168929 w 2893850"/>
              <a:gd name="connsiteY10" fmla="*/ 2404522 h 2404522"/>
              <a:gd name="connsiteX11" fmla="*/ 1168929 w 2893850"/>
              <a:gd name="connsiteY11" fmla="*/ 730484 h 2404522"/>
              <a:gd name="connsiteX12" fmla="*/ 1446925 w 2893850"/>
              <a:gd name="connsiteY12" fmla="*/ 452488 h 2404522"/>
              <a:gd name="connsiteX13" fmla="*/ 1724921 w 2893850"/>
              <a:gd name="connsiteY13" fmla="*/ 730484 h 2404522"/>
              <a:gd name="connsiteX14" fmla="*/ 1724921 w 2893850"/>
              <a:gd name="connsiteY14" fmla="*/ 2404522 h 2404522"/>
              <a:gd name="connsiteX15" fmla="*/ 584467 w 2893850"/>
              <a:gd name="connsiteY15" fmla="*/ 2404522 h 2404522"/>
              <a:gd name="connsiteX16" fmla="*/ 584467 w 2893850"/>
              <a:gd name="connsiteY16" fmla="*/ 966153 h 2404522"/>
              <a:gd name="connsiteX17" fmla="*/ 862463 w 2893850"/>
              <a:gd name="connsiteY17" fmla="*/ 688157 h 2404522"/>
              <a:gd name="connsiteX18" fmla="*/ 1140459 w 2893850"/>
              <a:gd name="connsiteY18" fmla="*/ 966153 h 2404522"/>
              <a:gd name="connsiteX19" fmla="*/ 1140459 w 2893850"/>
              <a:gd name="connsiteY19" fmla="*/ 2404522 h 2404522"/>
              <a:gd name="connsiteX20" fmla="*/ 0 w 2893850"/>
              <a:gd name="connsiteY20" fmla="*/ 2404522 h 2404522"/>
              <a:gd name="connsiteX21" fmla="*/ 0 w 2893850"/>
              <a:gd name="connsiteY21" fmla="*/ 1248960 h 2404522"/>
              <a:gd name="connsiteX22" fmla="*/ 277996 w 2893850"/>
              <a:gd name="connsiteY22" fmla="*/ 970964 h 2404522"/>
              <a:gd name="connsiteX23" fmla="*/ 555992 w 2893850"/>
              <a:gd name="connsiteY23" fmla="*/ 1248960 h 2404522"/>
              <a:gd name="connsiteX24" fmla="*/ 555992 w 2893850"/>
              <a:gd name="connsiteY24" fmla="*/ 2404522 h 2404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893850" h="2404522">
                <a:moveTo>
                  <a:pt x="2337858" y="2404522"/>
                </a:moveTo>
                <a:lnTo>
                  <a:pt x="2337858" y="277996"/>
                </a:lnTo>
                <a:cubicBezTo>
                  <a:pt x="2337858" y="124463"/>
                  <a:pt x="2462321" y="0"/>
                  <a:pt x="2615854" y="0"/>
                </a:cubicBezTo>
                <a:cubicBezTo>
                  <a:pt x="2769387" y="0"/>
                  <a:pt x="2893850" y="124463"/>
                  <a:pt x="2893850" y="277996"/>
                </a:cubicBezTo>
                <a:lnTo>
                  <a:pt x="2893850" y="2404522"/>
                </a:lnTo>
                <a:close/>
                <a:moveTo>
                  <a:pt x="1753396" y="2404522"/>
                </a:moveTo>
                <a:lnTo>
                  <a:pt x="1753396" y="513666"/>
                </a:lnTo>
                <a:cubicBezTo>
                  <a:pt x="1753396" y="360133"/>
                  <a:pt x="1877859" y="235670"/>
                  <a:pt x="2031392" y="235670"/>
                </a:cubicBezTo>
                <a:cubicBezTo>
                  <a:pt x="2184925" y="235670"/>
                  <a:pt x="2309388" y="360133"/>
                  <a:pt x="2309388" y="513666"/>
                </a:cubicBezTo>
                <a:lnTo>
                  <a:pt x="2309388" y="2404522"/>
                </a:lnTo>
                <a:close/>
                <a:moveTo>
                  <a:pt x="1168929" y="2404522"/>
                </a:moveTo>
                <a:lnTo>
                  <a:pt x="1168929" y="730484"/>
                </a:lnTo>
                <a:cubicBezTo>
                  <a:pt x="1168929" y="576951"/>
                  <a:pt x="1293392" y="452488"/>
                  <a:pt x="1446925" y="452488"/>
                </a:cubicBezTo>
                <a:cubicBezTo>
                  <a:pt x="1600458" y="452488"/>
                  <a:pt x="1724921" y="576951"/>
                  <a:pt x="1724921" y="730484"/>
                </a:cubicBezTo>
                <a:lnTo>
                  <a:pt x="1724921" y="2404522"/>
                </a:lnTo>
                <a:close/>
                <a:moveTo>
                  <a:pt x="584467" y="2404522"/>
                </a:moveTo>
                <a:lnTo>
                  <a:pt x="584467" y="966153"/>
                </a:lnTo>
                <a:cubicBezTo>
                  <a:pt x="584467" y="812620"/>
                  <a:pt x="708930" y="688157"/>
                  <a:pt x="862463" y="688157"/>
                </a:cubicBezTo>
                <a:cubicBezTo>
                  <a:pt x="1015996" y="688157"/>
                  <a:pt x="1140459" y="812620"/>
                  <a:pt x="1140459" y="966153"/>
                </a:cubicBezTo>
                <a:lnTo>
                  <a:pt x="1140459" y="2404522"/>
                </a:lnTo>
                <a:close/>
                <a:moveTo>
                  <a:pt x="0" y="2404522"/>
                </a:moveTo>
                <a:lnTo>
                  <a:pt x="0" y="1248960"/>
                </a:lnTo>
                <a:cubicBezTo>
                  <a:pt x="0" y="1095427"/>
                  <a:pt x="124463" y="970964"/>
                  <a:pt x="277996" y="970964"/>
                </a:cubicBezTo>
                <a:cubicBezTo>
                  <a:pt x="431529" y="970964"/>
                  <a:pt x="555992" y="1095427"/>
                  <a:pt x="555992" y="1248960"/>
                </a:cubicBezTo>
                <a:lnTo>
                  <a:pt x="555992" y="2404522"/>
                </a:lnTo>
                <a:close/>
              </a:path>
            </a:pathLst>
          </a:custGeom>
          <a:solidFill>
            <a:srgbClr val="E7EFF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16" name="Rectangle 25"/>
          <p:cNvSpPr/>
          <p:nvPr/>
        </p:nvSpPr>
        <p:spPr>
          <a:xfrm>
            <a:off x="6934719" y="5889994"/>
            <a:ext cx="1638048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ru-RU" sz="1200" dirty="0" smtClean="0">
                <a:solidFill>
                  <a:schemeClr val="accent1"/>
                </a:solidFill>
              </a:rPr>
              <a:t>а </a:t>
            </a:r>
            <a:r>
              <a:rPr lang="ru-RU" sz="1200" dirty="0">
                <a:solidFill>
                  <a:schemeClr val="accent1"/>
                </a:solidFill>
              </a:rPr>
              <a:t>также доллары США и Евро</a:t>
            </a:r>
          </a:p>
        </p:txBody>
      </p:sp>
      <p:sp>
        <p:nvSpPr>
          <p:cNvPr id="31757" name="Прямоугольник 21"/>
          <p:cNvSpPr>
            <a:spLocks noChangeArrowheads="1"/>
          </p:cNvSpPr>
          <p:nvPr/>
        </p:nvSpPr>
        <p:spPr bwMode="auto">
          <a:xfrm>
            <a:off x="1029891" y="1359467"/>
            <a:ext cx="7762413" cy="2831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400050" indent="-40005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ru-RU" altLang="en-US" sz="1800" b="1" dirty="0" smtClean="0">
                <a:latin typeface="+mj-lt"/>
              </a:rPr>
              <a:t>Проектное </a:t>
            </a:r>
            <a:r>
              <a:rPr lang="ru-RU" altLang="en-US" sz="1800" b="1" dirty="0">
                <a:latin typeface="+mj-lt"/>
              </a:rPr>
              <a:t>финансирование </a:t>
            </a:r>
            <a:r>
              <a:rPr lang="ru-RU" altLang="en-US" sz="1800" dirty="0">
                <a:latin typeface="+mj-lt"/>
              </a:rPr>
              <a:t>строительства объектов ВИЭ </a:t>
            </a:r>
            <a:r>
              <a:rPr lang="ru-RU" altLang="en-US" sz="1800" dirty="0" smtClean="0">
                <a:latin typeface="+mj-lt"/>
              </a:rPr>
              <a:t/>
            </a:r>
            <a:br>
              <a:rPr lang="ru-RU" altLang="en-US" sz="1800" dirty="0" smtClean="0">
                <a:latin typeface="+mj-lt"/>
              </a:rPr>
            </a:br>
            <a:r>
              <a:rPr lang="ru-RU" altLang="en-US" sz="1800" dirty="0" smtClean="0">
                <a:latin typeface="+mj-lt"/>
              </a:rPr>
              <a:t>с </a:t>
            </a:r>
            <a:r>
              <a:rPr lang="ru-RU" altLang="en-US" sz="1800" dirty="0">
                <a:latin typeface="+mj-lt"/>
              </a:rPr>
              <a:t>ограниченным регрессом на спонсоров </a:t>
            </a:r>
            <a:r>
              <a:rPr lang="ru-RU" altLang="en-US" sz="1800" dirty="0" smtClean="0">
                <a:latin typeface="+mj-lt"/>
              </a:rPr>
              <a:t>проекта</a:t>
            </a:r>
            <a:endParaRPr lang="ru-RU" altLang="en-US" sz="1800" dirty="0">
              <a:latin typeface="+mj-lt"/>
            </a:endParaRP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ru-RU" altLang="en-US" sz="1800" b="1" dirty="0">
                <a:latin typeface="+mj-lt"/>
              </a:rPr>
              <a:t>Инвестиционное финансирование </a:t>
            </a:r>
            <a:r>
              <a:rPr lang="ru-RU" altLang="en-US" sz="1800" dirty="0">
                <a:latin typeface="+mj-lt"/>
              </a:rPr>
              <a:t>проектов </a:t>
            </a:r>
            <a:r>
              <a:rPr lang="ru-RU" altLang="en-US" sz="1800" dirty="0" smtClean="0">
                <a:latin typeface="+mj-lt"/>
              </a:rPr>
              <a:t>ВИЭ</a:t>
            </a:r>
            <a:endParaRPr lang="ru-RU" altLang="en-US" sz="1800" dirty="0">
              <a:latin typeface="+mj-lt"/>
            </a:endParaRPr>
          </a:p>
          <a:p>
            <a:pPr marL="0" indent="0">
              <a:spcBef>
                <a:spcPts val="1800"/>
              </a:spcBef>
              <a:spcAft>
                <a:spcPts val="600"/>
              </a:spcAft>
              <a:buNone/>
            </a:pPr>
            <a:r>
              <a:rPr lang="ru-RU" altLang="en-US" sz="1800" b="1" dirty="0">
                <a:latin typeface="+mj-lt"/>
              </a:rPr>
              <a:t>Акционерное финансирование </a:t>
            </a:r>
            <a:r>
              <a:rPr lang="ru-RU" altLang="en-US" sz="1800" dirty="0">
                <a:latin typeface="+mj-lt"/>
              </a:rPr>
              <a:t>– вхождение в капитал </a:t>
            </a:r>
            <a:r>
              <a:rPr lang="ru-RU" altLang="en-US" sz="1800" dirty="0" smtClean="0">
                <a:latin typeface="+mj-lt"/>
              </a:rPr>
              <a:t>компаний</a:t>
            </a:r>
            <a:endParaRPr lang="ru-RU" altLang="en-US" sz="1800" dirty="0">
              <a:latin typeface="+mj-lt"/>
            </a:endParaRPr>
          </a:p>
          <a:p>
            <a:pPr marL="0" indent="0">
              <a:spcBef>
                <a:spcPts val="1800"/>
              </a:spcBef>
              <a:spcAft>
                <a:spcPts val="600"/>
              </a:spcAft>
              <a:buNone/>
            </a:pPr>
            <a:r>
              <a:rPr lang="ru-RU" altLang="en-US" sz="1800" b="1" dirty="0">
                <a:latin typeface="+mj-lt"/>
              </a:rPr>
              <a:t>Документарные операции </a:t>
            </a:r>
            <a:r>
              <a:rPr lang="ru-RU" altLang="en-US" sz="1800" dirty="0">
                <a:latin typeface="+mj-lt"/>
              </a:rPr>
              <a:t>– гарантии и </a:t>
            </a:r>
            <a:r>
              <a:rPr lang="ru-RU" altLang="en-US" sz="1800" dirty="0" smtClean="0">
                <a:latin typeface="+mj-lt"/>
              </a:rPr>
              <a:t>аккредитивы</a:t>
            </a:r>
            <a:endParaRPr lang="ru-RU" altLang="en-US" sz="1800" dirty="0">
              <a:latin typeface="+mj-lt"/>
            </a:endParaRPr>
          </a:p>
          <a:p>
            <a:pPr marL="0" indent="0">
              <a:spcBef>
                <a:spcPts val="1800"/>
              </a:spcBef>
              <a:spcAft>
                <a:spcPts val="600"/>
              </a:spcAft>
              <a:buNone/>
            </a:pPr>
            <a:r>
              <a:rPr lang="ru-RU" altLang="en-US" sz="1800" b="1" dirty="0">
                <a:latin typeface="+mj-lt"/>
              </a:rPr>
              <a:t>Техническое содействие </a:t>
            </a:r>
            <a:r>
              <a:rPr lang="ru-RU" altLang="en-US" sz="1800" dirty="0">
                <a:latin typeface="+mj-lt"/>
              </a:rPr>
              <a:t>в рамках подготовки и оценки </a:t>
            </a:r>
            <a:r>
              <a:rPr lang="ru-RU" altLang="en-US" sz="1800" dirty="0" smtClean="0">
                <a:latin typeface="+mj-lt"/>
              </a:rPr>
              <a:t>проектов</a:t>
            </a:r>
            <a:endParaRPr lang="ru-RU" altLang="en-US" sz="1800" dirty="0">
              <a:latin typeface="+mj-l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en-US" dirty="0"/>
              <a:t>Возможные формы финансирования </a:t>
            </a:r>
            <a:r>
              <a:rPr lang="ru-RU" altLang="en-US" dirty="0" smtClean="0"/>
              <a:t/>
            </a:r>
            <a:br>
              <a:rPr lang="ru-RU" altLang="en-US" dirty="0" smtClean="0"/>
            </a:br>
            <a:r>
              <a:rPr lang="ru-RU" altLang="en-US" dirty="0" smtClean="0"/>
              <a:t>проектов ЕАБР</a:t>
            </a:r>
            <a:endParaRPr lang="ru-RU" dirty="0"/>
          </a:p>
        </p:txBody>
      </p:sp>
      <p:grpSp>
        <p:nvGrpSpPr>
          <p:cNvPr id="4" name="Группа 3"/>
          <p:cNvGrpSpPr/>
          <p:nvPr/>
        </p:nvGrpSpPr>
        <p:grpSpPr>
          <a:xfrm>
            <a:off x="473892" y="1376363"/>
            <a:ext cx="555999" cy="2893979"/>
            <a:chOff x="247650" y="1376363"/>
            <a:chExt cx="663575" cy="3453910"/>
          </a:xfrm>
        </p:grpSpPr>
        <p:sp>
          <p:nvSpPr>
            <p:cNvPr id="3" name="Овал 2"/>
            <p:cNvSpPr/>
            <p:nvPr/>
          </p:nvSpPr>
          <p:spPr>
            <a:xfrm>
              <a:off x="247650" y="3469116"/>
              <a:ext cx="663575" cy="66357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200"/>
                </a:spcBef>
              </a:pPr>
              <a:r>
                <a:rPr lang="en-US" sz="2400" dirty="0" smtClean="0"/>
                <a:t>IV</a:t>
              </a:r>
              <a:endParaRPr lang="ru-RU" sz="2400" dirty="0" err="1" smtClean="0"/>
            </a:p>
          </p:txBody>
        </p:sp>
        <p:sp>
          <p:nvSpPr>
            <p:cNvPr id="17" name="Овал 16"/>
            <p:cNvSpPr/>
            <p:nvPr/>
          </p:nvSpPr>
          <p:spPr>
            <a:xfrm>
              <a:off x="247650" y="4166698"/>
              <a:ext cx="663575" cy="66357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200"/>
                </a:spcBef>
              </a:pPr>
              <a:r>
                <a:rPr lang="en-US" sz="2400" dirty="0" smtClean="0"/>
                <a:t>V</a:t>
              </a:r>
              <a:endParaRPr lang="ru-RU" sz="2400" dirty="0" err="1" smtClean="0"/>
            </a:p>
          </p:txBody>
        </p:sp>
        <p:sp>
          <p:nvSpPr>
            <p:cNvPr id="18" name="Овал 17"/>
            <p:cNvSpPr/>
            <p:nvPr/>
          </p:nvSpPr>
          <p:spPr>
            <a:xfrm>
              <a:off x="247650" y="1376363"/>
              <a:ext cx="663575" cy="66357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200"/>
                </a:spcBef>
              </a:pPr>
              <a:r>
                <a:rPr lang="en-US" sz="2400" dirty="0" smtClean="0"/>
                <a:t>I</a:t>
              </a:r>
              <a:endParaRPr lang="ru-RU" sz="2400" dirty="0" err="1" smtClean="0"/>
            </a:p>
          </p:txBody>
        </p:sp>
        <p:sp>
          <p:nvSpPr>
            <p:cNvPr id="19" name="Овал 18"/>
            <p:cNvSpPr/>
            <p:nvPr/>
          </p:nvSpPr>
          <p:spPr>
            <a:xfrm>
              <a:off x="247650" y="2073944"/>
              <a:ext cx="663575" cy="66357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200"/>
                </a:spcBef>
              </a:pPr>
              <a:r>
                <a:rPr lang="en-US" sz="2400" dirty="0" smtClean="0"/>
                <a:t>II</a:t>
              </a:r>
              <a:endParaRPr lang="ru-RU" sz="2400" dirty="0" err="1" smtClean="0"/>
            </a:p>
          </p:txBody>
        </p:sp>
        <p:sp>
          <p:nvSpPr>
            <p:cNvPr id="20" name="Овал 19"/>
            <p:cNvSpPr/>
            <p:nvPr/>
          </p:nvSpPr>
          <p:spPr>
            <a:xfrm>
              <a:off x="247650" y="2771526"/>
              <a:ext cx="663575" cy="66357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200"/>
                </a:spcBef>
              </a:pPr>
              <a:r>
                <a:rPr lang="en-US" sz="2400" dirty="0" smtClean="0"/>
                <a:t>III</a:t>
              </a:r>
              <a:endParaRPr lang="ru-RU" sz="2400" dirty="0" err="1" smtClean="0"/>
            </a:p>
          </p:txBody>
        </p:sp>
      </p:grpSp>
      <p:sp>
        <p:nvSpPr>
          <p:cNvPr id="27" name="Шеврон 26"/>
          <p:cNvSpPr/>
          <p:nvPr/>
        </p:nvSpPr>
        <p:spPr>
          <a:xfrm>
            <a:off x="6601317" y="5005392"/>
            <a:ext cx="2292350" cy="887778"/>
          </a:xfrm>
          <a:prstGeom prst="chevron">
            <a:avLst>
              <a:gd name="adj" fmla="val 33010"/>
            </a:avLst>
          </a:prstGeom>
          <a:solidFill>
            <a:srgbClr val="E7EFF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/>
              <a:t>Национальные валюты государств-участников</a:t>
            </a:r>
          </a:p>
        </p:txBody>
      </p:sp>
      <p:sp>
        <p:nvSpPr>
          <p:cNvPr id="28" name="Шеврон 27"/>
          <p:cNvSpPr/>
          <p:nvPr/>
        </p:nvSpPr>
        <p:spPr>
          <a:xfrm>
            <a:off x="4489710" y="5005392"/>
            <a:ext cx="2292350" cy="887778"/>
          </a:xfrm>
          <a:prstGeom prst="chevron">
            <a:avLst>
              <a:gd name="adj" fmla="val 33010"/>
            </a:avLst>
          </a:prstGeom>
          <a:solidFill>
            <a:srgbClr val="E7EFF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/>
              <a:t>Фиксированная или плавающая</a:t>
            </a:r>
            <a:endParaRPr lang="en-US" sz="1400" dirty="0"/>
          </a:p>
        </p:txBody>
      </p:sp>
      <p:sp>
        <p:nvSpPr>
          <p:cNvPr id="29" name="Шеврон 28"/>
          <p:cNvSpPr/>
          <p:nvPr/>
        </p:nvSpPr>
        <p:spPr>
          <a:xfrm>
            <a:off x="2378112" y="5005392"/>
            <a:ext cx="2292350" cy="887778"/>
          </a:xfrm>
          <a:prstGeom prst="chevron">
            <a:avLst>
              <a:gd name="adj" fmla="val 33010"/>
            </a:avLst>
          </a:prstGeom>
          <a:solidFill>
            <a:srgbClr val="E7EFF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/>
              <a:t>3 года – 15 лет</a:t>
            </a:r>
            <a:endParaRPr lang="en-US" sz="1400" dirty="0"/>
          </a:p>
        </p:txBody>
      </p:sp>
      <p:sp>
        <p:nvSpPr>
          <p:cNvPr id="30" name="Шеврон 29"/>
          <p:cNvSpPr/>
          <p:nvPr/>
        </p:nvSpPr>
        <p:spPr>
          <a:xfrm>
            <a:off x="266505" y="5005392"/>
            <a:ext cx="2292350" cy="887778"/>
          </a:xfrm>
          <a:prstGeom prst="chevron">
            <a:avLst>
              <a:gd name="adj" fmla="val 33010"/>
            </a:avLst>
          </a:prstGeom>
          <a:solidFill>
            <a:srgbClr val="E7EFF5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dirty="0"/>
              <a:t>$</a:t>
            </a:r>
            <a:r>
              <a:rPr lang="ru-RU" sz="1400" dirty="0"/>
              <a:t>3</a:t>
            </a:r>
            <a:r>
              <a:rPr lang="en-US" sz="1400" dirty="0"/>
              <a:t>0 </a:t>
            </a:r>
            <a:r>
              <a:rPr lang="ru-RU" sz="1400" dirty="0"/>
              <a:t>млн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ru-RU" sz="1400" dirty="0" smtClean="0"/>
              <a:t>- </a:t>
            </a:r>
            <a:r>
              <a:rPr lang="en-US" sz="1400" dirty="0"/>
              <a:t>$</a:t>
            </a:r>
            <a:r>
              <a:rPr lang="ru-RU" sz="1400" dirty="0"/>
              <a:t>350 млн</a:t>
            </a:r>
            <a:endParaRPr lang="en-US" sz="1400" dirty="0"/>
          </a:p>
        </p:txBody>
      </p:sp>
      <p:sp>
        <p:nvSpPr>
          <p:cNvPr id="33" name="Rectangle 18"/>
          <p:cNvSpPr/>
          <p:nvPr/>
        </p:nvSpPr>
        <p:spPr>
          <a:xfrm>
            <a:off x="351720" y="4553417"/>
            <a:ext cx="2103437" cy="431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>
                <a:solidFill>
                  <a:schemeClr val="accent1"/>
                </a:solidFill>
              </a:rPr>
              <a:t>Объем </a:t>
            </a:r>
          </a:p>
          <a:p>
            <a:pPr>
              <a:defRPr/>
            </a:pPr>
            <a:r>
              <a:rPr lang="ru-RU" sz="1600" b="1" dirty="0">
                <a:solidFill>
                  <a:schemeClr val="accent1"/>
                </a:solidFill>
              </a:rPr>
              <a:t>финансирования</a:t>
            </a:r>
            <a:endParaRPr lang="en-US" sz="1600" b="1" dirty="0">
              <a:solidFill>
                <a:schemeClr val="accent1"/>
              </a:solidFill>
            </a:endParaRPr>
          </a:p>
        </p:txBody>
      </p:sp>
      <p:sp>
        <p:nvSpPr>
          <p:cNvPr id="34" name="Rectangle 19"/>
          <p:cNvSpPr/>
          <p:nvPr/>
        </p:nvSpPr>
        <p:spPr>
          <a:xfrm>
            <a:off x="2474011" y="4657114"/>
            <a:ext cx="1826703" cy="431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>
                <a:solidFill>
                  <a:schemeClr val="accent1"/>
                </a:solidFill>
              </a:rPr>
              <a:t>Срок </a:t>
            </a:r>
            <a:r>
              <a:rPr lang="ru-RU" sz="1600" b="1" dirty="0" smtClean="0">
                <a:solidFill>
                  <a:schemeClr val="accent1"/>
                </a:solidFill>
              </a:rPr>
              <a:t>проекта</a:t>
            </a:r>
            <a:endParaRPr lang="en-US" sz="1600" b="1" dirty="0">
              <a:solidFill>
                <a:schemeClr val="accent1"/>
              </a:solidFill>
            </a:endParaRPr>
          </a:p>
        </p:txBody>
      </p:sp>
      <p:sp>
        <p:nvSpPr>
          <p:cNvPr id="35" name="Rectangle 20"/>
          <p:cNvSpPr/>
          <p:nvPr/>
        </p:nvSpPr>
        <p:spPr>
          <a:xfrm>
            <a:off x="4585153" y="4657114"/>
            <a:ext cx="2103437" cy="431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>
                <a:solidFill>
                  <a:schemeClr val="accent1"/>
                </a:solidFill>
              </a:rPr>
              <a:t>Ставка</a:t>
            </a:r>
            <a:endParaRPr lang="en-US" sz="1600" b="1" dirty="0">
              <a:solidFill>
                <a:schemeClr val="accent1"/>
              </a:solidFill>
            </a:endParaRPr>
          </a:p>
        </p:txBody>
      </p:sp>
      <p:sp>
        <p:nvSpPr>
          <p:cNvPr id="36" name="Rectangle 21"/>
          <p:cNvSpPr/>
          <p:nvPr/>
        </p:nvSpPr>
        <p:spPr>
          <a:xfrm>
            <a:off x="6688866" y="4657114"/>
            <a:ext cx="2103438" cy="431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>
                <a:solidFill>
                  <a:schemeClr val="accent1"/>
                </a:solidFill>
              </a:rPr>
              <a:t>Валюты</a:t>
            </a:r>
            <a:endParaRPr lang="en-US" sz="1600" b="1" dirty="0">
              <a:solidFill>
                <a:schemeClr val="accent1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 flipV="1">
            <a:off x="4897036" y="5844274"/>
            <a:ext cx="1466055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43" name="Прямоугольник 42"/>
          <p:cNvSpPr/>
          <p:nvPr/>
        </p:nvSpPr>
        <p:spPr>
          <a:xfrm flipV="1">
            <a:off x="2757152" y="5844274"/>
            <a:ext cx="1466055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 flipV="1">
            <a:off x="654973" y="5844274"/>
            <a:ext cx="1466055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 flipV="1">
            <a:off x="6980360" y="5844274"/>
            <a:ext cx="1466055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38" name="Шеврон 37"/>
          <p:cNvSpPr/>
          <p:nvPr/>
        </p:nvSpPr>
        <p:spPr>
          <a:xfrm>
            <a:off x="6080285" y="5016140"/>
            <a:ext cx="684856" cy="873854"/>
          </a:xfrm>
          <a:prstGeom prst="chevron">
            <a:avLst>
              <a:gd name="adj" fmla="val 40823"/>
            </a:avLst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400" dirty="0"/>
          </a:p>
        </p:txBody>
      </p:sp>
      <p:sp>
        <p:nvSpPr>
          <p:cNvPr id="40" name="Шеврон 39"/>
          <p:cNvSpPr/>
          <p:nvPr/>
        </p:nvSpPr>
        <p:spPr>
          <a:xfrm>
            <a:off x="1857080" y="5016140"/>
            <a:ext cx="684856" cy="873854"/>
          </a:xfrm>
          <a:prstGeom prst="chevron">
            <a:avLst>
              <a:gd name="adj" fmla="val 40823"/>
            </a:avLst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400" dirty="0"/>
          </a:p>
        </p:txBody>
      </p:sp>
      <p:sp>
        <p:nvSpPr>
          <p:cNvPr id="41" name="Шеврон 40"/>
          <p:cNvSpPr/>
          <p:nvPr/>
        </p:nvSpPr>
        <p:spPr>
          <a:xfrm>
            <a:off x="3978112" y="5016140"/>
            <a:ext cx="684856" cy="873854"/>
          </a:xfrm>
          <a:prstGeom prst="chevron">
            <a:avLst>
              <a:gd name="adj" fmla="val 40823"/>
            </a:avLst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400" dirty="0"/>
          </a:p>
        </p:txBody>
      </p:sp>
      <p:sp>
        <p:nvSpPr>
          <p:cNvPr id="39" name="Шеврон 38"/>
          <p:cNvSpPr/>
          <p:nvPr/>
        </p:nvSpPr>
        <p:spPr>
          <a:xfrm>
            <a:off x="8201317" y="5016140"/>
            <a:ext cx="684856" cy="873854"/>
          </a:xfrm>
          <a:prstGeom prst="chevron">
            <a:avLst>
              <a:gd name="adj" fmla="val 40823"/>
            </a:avLst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297160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6402"/>
          <a:stretch/>
        </p:blipFill>
        <p:spPr>
          <a:xfrm flipH="1">
            <a:off x="0" y="1376363"/>
            <a:ext cx="9144000" cy="5096155"/>
          </a:xfrm>
          <a:prstGeom prst="rect">
            <a:avLst/>
          </a:prstGeom>
        </p:spPr>
      </p:pic>
      <p:sp>
        <p:nvSpPr>
          <p:cNvPr id="72" name="Полилиния 71"/>
          <p:cNvSpPr/>
          <p:nvPr/>
        </p:nvSpPr>
        <p:spPr>
          <a:xfrm rot="5400000">
            <a:off x="2783521" y="2701777"/>
            <a:ext cx="848876" cy="6433849"/>
          </a:xfrm>
          <a:custGeom>
            <a:avLst/>
            <a:gdLst>
              <a:gd name="connsiteX0" fmla="*/ 0 w 848876"/>
              <a:gd name="connsiteY0" fmla="*/ 6433849 h 6433849"/>
              <a:gd name="connsiteX1" fmla="*/ 0 w 848876"/>
              <a:gd name="connsiteY1" fmla="*/ 424438 h 6433849"/>
              <a:gd name="connsiteX2" fmla="*/ 424438 w 848876"/>
              <a:gd name="connsiteY2" fmla="*/ 0 h 6433849"/>
              <a:gd name="connsiteX3" fmla="*/ 848876 w 848876"/>
              <a:gd name="connsiteY3" fmla="*/ 424438 h 6433849"/>
              <a:gd name="connsiteX4" fmla="*/ 848875 w 848876"/>
              <a:gd name="connsiteY4" fmla="*/ 6433849 h 6433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8876" h="6433849">
                <a:moveTo>
                  <a:pt x="0" y="6433849"/>
                </a:moveTo>
                <a:lnTo>
                  <a:pt x="0" y="424438"/>
                </a:lnTo>
                <a:cubicBezTo>
                  <a:pt x="0" y="190027"/>
                  <a:pt x="190027" y="0"/>
                  <a:pt x="424438" y="0"/>
                </a:cubicBezTo>
                <a:cubicBezTo>
                  <a:pt x="658849" y="0"/>
                  <a:pt x="848876" y="190027"/>
                  <a:pt x="848876" y="424438"/>
                </a:cubicBezTo>
                <a:lnTo>
                  <a:pt x="848875" y="643384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64" name="Полилиния 63"/>
          <p:cNvSpPr/>
          <p:nvPr/>
        </p:nvSpPr>
        <p:spPr>
          <a:xfrm rot="5400000">
            <a:off x="2783521" y="721246"/>
            <a:ext cx="848876" cy="6433849"/>
          </a:xfrm>
          <a:custGeom>
            <a:avLst/>
            <a:gdLst>
              <a:gd name="connsiteX0" fmla="*/ 0 w 848876"/>
              <a:gd name="connsiteY0" fmla="*/ 6433849 h 6433849"/>
              <a:gd name="connsiteX1" fmla="*/ 0 w 848876"/>
              <a:gd name="connsiteY1" fmla="*/ 424438 h 6433849"/>
              <a:gd name="connsiteX2" fmla="*/ 424438 w 848876"/>
              <a:gd name="connsiteY2" fmla="*/ 0 h 6433849"/>
              <a:gd name="connsiteX3" fmla="*/ 848876 w 848876"/>
              <a:gd name="connsiteY3" fmla="*/ 424438 h 6433849"/>
              <a:gd name="connsiteX4" fmla="*/ 848875 w 848876"/>
              <a:gd name="connsiteY4" fmla="*/ 6433849 h 6433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8876" h="6433849">
                <a:moveTo>
                  <a:pt x="0" y="6433849"/>
                </a:moveTo>
                <a:lnTo>
                  <a:pt x="0" y="424438"/>
                </a:lnTo>
                <a:cubicBezTo>
                  <a:pt x="0" y="190027"/>
                  <a:pt x="190027" y="0"/>
                  <a:pt x="424438" y="0"/>
                </a:cubicBezTo>
                <a:cubicBezTo>
                  <a:pt x="658849" y="0"/>
                  <a:pt x="848876" y="190027"/>
                  <a:pt x="848876" y="424438"/>
                </a:cubicBezTo>
                <a:lnTo>
                  <a:pt x="848875" y="643384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60" name="Полилиния 59"/>
          <p:cNvSpPr/>
          <p:nvPr/>
        </p:nvSpPr>
        <p:spPr>
          <a:xfrm rot="5400000">
            <a:off x="2783523" y="-276466"/>
            <a:ext cx="848876" cy="6433853"/>
          </a:xfrm>
          <a:custGeom>
            <a:avLst/>
            <a:gdLst>
              <a:gd name="connsiteX0" fmla="*/ 0 w 848876"/>
              <a:gd name="connsiteY0" fmla="*/ 6433853 h 6433853"/>
              <a:gd name="connsiteX1" fmla="*/ 0 w 848876"/>
              <a:gd name="connsiteY1" fmla="*/ 424438 h 6433853"/>
              <a:gd name="connsiteX2" fmla="*/ 424438 w 848876"/>
              <a:gd name="connsiteY2" fmla="*/ 0 h 6433853"/>
              <a:gd name="connsiteX3" fmla="*/ 848876 w 848876"/>
              <a:gd name="connsiteY3" fmla="*/ 424438 h 6433853"/>
              <a:gd name="connsiteX4" fmla="*/ 848875 w 848876"/>
              <a:gd name="connsiteY4" fmla="*/ 6433853 h 6433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8876" h="6433853">
                <a:moveTo>
                  <a:pt x="0" y="6433853"/>
                </a:moveTo>
                <a:lnTo>
                  <a:pt x="0" y="424438"/>
                </a:lnTo>
                <a:cubicBezTo>
                  <a:pt x="0" y="190027"/>
                  <a:pt x="190027" y="0"/>
                  <a:pt x="424438" y="0"/>
                </a:cubicBezTo>
                <a:cubicBezTo>
                  <a:pt x="658849" y="0"/>
                  <a:pt x="848876" y="190027"/>
                  <a:pt x="848876" y="424438"/>
                </a:cubicBezTo>
                <a:lnTo>
                  <a:pt x="848875" y="64338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55" name="Полилиния 54"/>
          <p:cNvSpPr/>
          <p:nvPr/>
        </p:nvSpPr>
        <p:spPr>
          <a:xfrm rot="5400000">
            <a:off x="2783523" y="-1287287"/>
            <a:ext cx="848876" cy="6433853"/>
          </a:xfrm>
          <a:custGeom>
            <a:avLst/>
            <a:gdLst>
              <a:gd name="connsiteX0" fmla="*/ 0 w 848876"/>
              <a:gd name="connsiteY0" fmla="*/ 6433853 h 6433853"/>
              <a:gd name="connsiteX1" fmla="*/ 0 w 848876"/>
              <a:gd name="connsiteY1" fmla="*/ 424438 h 6433853"/>
              <a:gd name="connsiteX2" fmla="*/ 424438 w 848876"/>
              <a:gd name="connsiteY2" fmla="*/ 0 h 6433853"/>
              <a:gd name="connsiteX3" fmla="*/ 848876 w 848876"/>
              <a:gd name="connsiteY3" fmla="*/ 424438 h 6433853"/>
              <a:gd name="connsiteX4" fmla="*/ 848875 w 848876"/>
              <a:gd name="connsiteY4" fmla="*/ 6433853 h 6433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8876" h="6433853">
                <a:moveTo>
                  <a:pt x="0" y="6433853"/>
                </a:moveTo>
                <a:lnTo>
                  <a:pt x="0" y="424438"/>
                </a:lnTo>
                <a:cubicBezTo>
                  <a:pt x="0" y="190027"/>
                  <a:pt x="190027" y="0"/>
                  <a:pt x="424438" y="0"/>
                </a:cubicBezTo>
                <a:cubicBezTo>
                  <a:pt x="658849" y="0"/>
                  <a:pt x="848876" y="190027"/>
                  <a:pt x="848876" y="424438"/>
                </a:cubicBezTo>
                <a:lnTo>
                  <a:pt x="848875" y="64338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66" name="Полилиния 65"/>
          <p:cNvSpPr/>
          <p:nvPr/>
        </p:nvSpPr>
        <p:spPr>
          <a:xfrm rot="5400000">
            <a:off x="2783523" y="1713663"/>
            <a:ext cx="848876" cy="6433853"/>
          </a:xfrm>
          <a:custGeom>
            <a:avLst/>
            <a:gdLst>
              <a:gd name="connsiteX0" fmla="*/ 0 w 848876"/>
              <a:gd name="connsiteY0" fmla="*/ 6433853 h 6433853"/>
              <a:gd name="connsiteX1" fmla="*/ 0 w 848876"/>
              <a:gd name="connsiteY1" fmla="*/ 424438 h 6433853"/>
              <a:gd name="connsiteX2" fmla="*/ 424438 w 848876"/>
              <a:gd name="connsiteY2" fmla="*/ 0 h 6433853"/>
              <a:gd name="connsiteX3" fmla="*/ 848876 w 848876"/>
              <a:gd name="connsiteY3" fmla="*/ 424438 h 6433853"/>
              <a:gd name="connsiteX4" fmla="*/ 848875 w 848876"/>
              <a:gd name="connsiteY4" fmla="*/ 6433853 h 6433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8876" h="6433853">
                <a:moveTo>
                  <a:pt x="0" y="6433853"/>
                </a:moveTo>
                <a:lnTo>
                  <a:pt x="0" y="424438"/>
                </a:lnTo>
                <a:cubicBezTo>
                  <a:pt x="0" y="190027"/>
                  <a:pt x="190027" y="0"/>
                  <a:pt x="424438" y="0"/>
                </a:cubicBezTo>
                <a:cubicBezTo>
                  <a:pt x="658849" y="0"/>
                  <a:pt x="848876" y="190027"/>
                  <a:pt x="848876" y="424438"/>
                </a:cubicBezTo>
                <a:lnTo>
                  <a:pt x="848875" y="64338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70" name="Полилиния 69"/>
          <p:cNvSpPr/>
          <p:nvPr/>
        </p:nvSpPr>
        <p:spPr>
          <a:xfrm rot="5400000">
            <a:off x="128828" y="5356468"/>
            <a:ext cx="848876" cy="1124463"/>
          </a:xfrm>
          <a:custGeom>
            <a:avLst/>
            <a:gdLst>
              <a:gd name="connsiteX0" fmla="*/ 0 w 848876"/>
              <a:gd name="connsiteY0" fmla="*/ 1124463 h 1124463"/>
              <a:gd name="connsiteX1" fmla="*/ 0 w 848876"/>
              <a:gd name="connsiteY1" fmla="*/ 424438 h 1124463"/>
              <a:gd name="connsiteX2" fmla="*/ 424438 w 848876"/>
              <a:gd name="connsiteY2" fmla="*/ 0 h 1124463"/>
              <a:gd name="connsiteX3" fmla="*/ 848876 w 848876"/>
              <a:gd name="connsiteY3" fmla="*/ 424438 h 1124463"/>
              <a:gd name="connsiteX4" fmla="*/ 848876 w 848876"/>
              <a:gd name="connsiteY4" fmla="*/ 1124463 h 1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8876" h="1124463">
                <a:moveTo>
                  <a:pt x="0" y="1124463"/>
                </a:moveTo>
                <a:lnTo>
                  <a:pt x="0" y="424438"/>
                </a:lnTo>
                <a:cubicBezTo>
                  <a:pt x="0" y="190027"/>
                  <a:pt x="190027" y="0"/>
                  <a:pt x="424438" y="0"/>
                </a:cubicBezTo>
                <a:cubicBezTo>
                  <a:pt x="658849" y="0"/>
                  <a:pt x="848876" y="190027"/>
                  <a:pt x="848876" y="424438"/>
                </a:cubicBezTo>
                <a:lnTo>
                  <a:pt x="848876" y="112446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62" name="Полилиния 61"/>
          <p:cNvSpPr/>
          <p:nvPr/>
        </p:nvSpPr>
        <p:spPr>
          <a:xfrm rot="5400000">
            <a:off x="128828" y="3375936"/>
            <a:ext cx="848876" cy="1124463"/>
          </a:xfrm>
          <a:custGeom>
            <a:avLst/>
            <a:gdLst>
              <a:gd name="connsiteX0" fmla="*/ 0 w 848876"/>
              <a:gd name="connsiteY0" fmla="*/ 1124463 h 1124463"/>
              <a:gd name="connsiteX1" fmla="*/ 0 w 848876"/>
              <a:gd name="connsiteY1" fmla="*/ 424438 h 1124463"/>
              <a:gd name="connsiteX2" fmla="*/ 424438 w 848876"/>
              <a:gd name="connsiteY2" fmla="*/ 0 h 1124463"/>
              <a:gd name="connsiteX3" fmla="*/ 848876 w 848876"/>
              <a:gd name="connsiteY3" fmla="*/ 424438 h 1124463"/>
              <a:gd name="connsiteX4" fmla="*/ 848876 w 848876"/>
              <a:gd name="connsiteY4" fmla="*/ 1124463 h 1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8876" h="1124463">
                <a:moveTo>
                  <a:pt x="0" y="1124463"/>
                </a:moveTo>
                <a:lnTo>
                  <a:pt x="0" y="424438"/>
                </a:lnTo>
                <a:cubicBezTo>
                  <a:pt x="0" y="190027"/>
                  <a:pt x="190027" y="0"/>
                  <a:pt x="424438" y="0"/>
                </a:cubicBezTo>
                <a:cubicBezTo>
                  <a:pt x="658849" y="0"/>
                  <a:pt x="848876" y="190027"/>
                  <a:pt x="848876" y="424438"/>
                </a:cubicBezTo>
                <a:lnTo>
                  <a:pt x="848876" y="112446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57" name="Полилиния 56"/>
          <p:cNvSpPr/>
          <p:nvPr/>
        </p:nvSpPr>
        <p:spPr>
          <a:xfrm rot="5400000">
            <a:off x="128828" y="2378229"/>
            <a:ext cx="848876" cy="1124463"/>
          </a:xfrm>
          <a:custGeom>
            <a:avLst/>
            <a:gdLst>
              <a:gd name="connsiteX0" fmla="*/ 0 w 848876"/>
              <a:gd name="connsiteY0" fmla="*/ 1124463 h 1124463"/>
              <a:gd name="connsiteX1" fmla="*/ 0 w 848876"/>
              <a:gd name="connsiteY1" fmla="*/ 424438 h 1124463"/>
              <a:gd name="connsiteX2" fmla="*/ 424438 w 848876"/>
              <a:gd name="connsiteY2" fmla="*/ 0 h 1124463"/>
              <a:gd name="connsiteX3" fmla="*/ 848876 w 848876"/>
              <a:gd name="connsiteY3" fmla="*/ 424438 h 1124463"/>
              <a:gd name="connsiteX4" fmla="*/ 848876 w 848876"/>
              <a:gd name="connsiteY4" fmla="*/ 1124463 h 1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8876" h="1124463">
                <a:moveTo>
                  <a:pt x="0" y="1124463"/>
                </a:moveTo>
                <a:lnTo>
                  <a:pt x="0" y="424438"/>
                </a:lnTo>
                <a:cubicBezTo>
                  <a:pt x="0" y="190027"/>
                  <a:pt x="190027" y="0"/>
                  <a:pt x="424438" y="0"/>
                </a:cubicBezTo>
                <a:cubicBezTo>
                  <a:pt x="658849" y="0"/>
                  <a:pt x="848876" y="190027"/>
                  <a:pt x="848876" y="424438"/>
                </a:cubicBezTo>
                <a:lnTo>
                  <a:pt x="848876" y="112446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52" name="Полилиния 51"/>
          <p:cNvSpPr/>
          <p:nvPr/>
        </p:nvSpPr>
        <p:spPr>
          <a:xfrm rot="5400000">
            <a:off x="128828" y="1367410"/>
            <a:ext cx="848876" cy="1124463"/>
          </a:xfrm>
          <a:custGeom>
            <a:avLst/>
            <a:gdLst>
              <a:gd name="connsiteX0" fmla="*/ 0 w 848876"/>
              <a:gd name="connsiteY0" fmla="*/ 1124463 h 1124463"/>
              <a:gd name="connsiteX1" fmla="*/ 0 w 848876"/>
              <a:gd name="connsiteY1" fmla="*/ 424438 h 1124463"/>
              <a:gd name="connsiteX2" fmla="*/ 424438 w 848876"/>
              <a:gd name="connsiteY2" fmla="*/ 0 h 1124463"/>
              <a:gd name="connsiteX3" fmla="*/ 848876 w 848876"/>
              <a:gd name="connsiteY3" fmla="*/ 424438 h 1124463"/>
              <a:gd name="connsiteX4" fmla="*/ 848876 w 848876"/>
              <a:gd name="connsiteY4" fmla="*/ 1124463 h 1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8876" h="1124463">
                <a:moveTo>
                  <a:pt x="0" y="1124463"/>
                </a:moveTo>
                <a:lnTo>
                  <a:pt x="0" y="424438"/>
                </a:lnTo>
                <a:cubicBezTo>
                  <a:pt x="0" y="190027"/>
                  <a:pt x="190027" y="0"/>
                  <a:pt x="424438" y="0"/>
                </a:cubicBezTo>
                <a:cubicBezTo>
                  <a:pt x="658849" y="0"/>
                  <a:pt x="848876" y="190027"/>
                  <a:pt x="848876" y="424438"/>
                </a:cubicBezTo>
                <a:lnTo>
                  <a:pt x="848876" y="112446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68" name="Полилиния 67"/>
          <p:cNvSpPr/>
          <p:nvPr/>
        </p:nvSpPr>
        <p:spPr>
          <a:xfrm rot="5400000">
            <a:off x="128828" y="4368358"/>
            <a:ext cx="848876" cy="1124463"/>
          </a:xfrm>
          <a:custGeom>
            <a:avLst/>
            <a:gdLst>
              <a:gd name="connsiteX0" fmla="*/ 0 w 848876"/>
              <a:gd name="connsiteY0" fmla="*/ 1124463 h 1124463"/>
              <a:gd name="connsiteX1" fmla="*/ 0 w 848876"/>
              <a:gd name="connsiteY1" fmla="*/ 424438 h 1124463"/>
              <a:gd name="connsiteX2" fmla="*/ 424438 w 848876"/>
              <a:gd name="connsiteY2" fmla="*/ 0 h 1124463"/>
              <a:gd name="connsiteX3" fmla="*/ 848876 w 848876"/>
              <a:gd name="connsiteY3" fmla="*/ 424438 h 1124463"/>
              <a:gd name="connsiteX4" fmla="*/ 848876 w 848876"/>
              <a:gd name="connsiteY4" fmla="*/ 1124463 h 1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8876" h="1124463">
                <a:moveTo>
                  <a:pt x="0" y="1124463"/>
                </a:moveTo>
                <a:lnTo>
                  <a:pt x="0" y="424438"/>
                </a:lnTo>
                <a:cubicBezTo>
                  <a:pt x="0" y="190027"/>
                  <a:pt x="190027" y="0"/>
                  <a:pt x="424438" y="0"/>
                </a:cubicBezTo>
                <a:cubicBezTo>
                  <a:pt x="658849" y="0"/>
                  <a:pt x="848876" y="190027"/>
                  <a:pt x="848876" y="424438"/>
                </a:cubicBezTo>
                <a:lnTo>
                  <a:pt x="848876" y="112446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37" name="Скругленный прямоугольник 20">
            <a:extLst>
              <a:ext uri="{FF2B5EF4-FFF2-40B4-BE49-F238E27FC236}">
                <a16:creationId xmlns:a16="http://schemas.microsoft.com/office/drawing/2014/main" id="{92B7EE73-4056-3342-A39D-81611367F714}"/>
              </a:ext>
            </a:extLst>
          </p:cNvPr>
          <p:cNvSpPr/>
          <p:nvPr/>
        </p:nvSpPr>
        <p:spPr>
          <a:xfrm>
            <a:off x="943644" y="1530824"/>
            <a:ext cx="5242003" cy="819374"/>
          </a:xfrm>
          <a:prstGeom prst="roundRect">
            <a:avLst>
              <a:gd name="adj" fmla="val 6351"/>
            </a:avLst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1463">
              <a:defRPr/>
            </a:pPr>
            <a:r>
              <a:rPr lang="ru-RU" sz="1600" dirty="0"/>
              <a:t>Банк не попадает под регулирование НБРК 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dirty="0" smtClean="0"/>
              <a:t>и </a:t>
            </a:r>
            <a:r>
              <a:rPr lang="ru-RU" sz="1600" dirty="0"/>
              <a:t>ЦБ РФ, Банк </a:t>
            </a:r>
            <a:r>
              <a:rPr lang="ru-RU" sz="1600" dirty="0" smtClean="0"/>
              <a:t>не </a:t>
            </a:r>
            <a:r>
              <a:rPr lang="ru-RU" sz="1600" dirty="0"/>
              <a:t>является объектом международных ограничительных санкций</a:t>
            </a:r>
          </a:p>
        </p:txBody>
      </p:sp>
      <p:sp>
        <p:nvSpPr>
          <p:cNvPr id="38" name="Скругленный прямоугольник 20">
            <a:extLst>
              <a:ext uri="{FF2B5EF4-FFF2-40B4-BE49-F238E27FC236}">
                <a16:creationId xmlns:a16="http://schemas.microsoft.com/office/drawing/2014/main" id="{DA3F983B-30A4-4644-9A34-AA810478C01D}"/>
              </a:ext>
            </a:extLst>
          </p:cNvPr>
          <p:cNvSpPr/>
          <p:nvPr/>
        </p:nvSpPr>
        <p:spPr>
          <a:xfrm>
            <a:off x="940544" y="5613820"/>
            <a:ext cx="5244594" cy="609755"/>
          </a:xfrm>
          <a:prstGeom prst="roundRect">
            <a:avLst>
              <a:gd name="adj" fmla="val 6351"/>
            </a:avLst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1463">
              <a:defRPr/>
            </a:pPr>
            <a:r>
              <a:rPr lang="ru-RU" sz="1600" dirty="0"/>
              <a:t>Налаженные процедуры рассмотрения проектов строительства солнечных, ветровых </a:t>
            </a: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ru-RU" sz="1600" dirty="0" smtClean="0"/>
              <a:t>и </a:t>
            </a:r>
            <a:r>
              <a:rPr lang="ru-RU" sz="1600" dirty="0"/>
              <a:t>гидроэлектростанций</a:t>
            </a:r>
          </a:p>
        </p:txBody>
      </p:sp>
      <p:sp>
        <p:nvSpPr>
          <p:cNvPr id="39" name="Скругленный прямоугольник 20">
            <a:extLst>
              <a:ext uri="{FF2B5EF4-FFF2-40B4-BE49-F238E27FC236}">
                <a16:creationId xmlns:a16="http://schemas.microsoft.com/office/drawing/2014/main" id="{8A35BC3A-4182-B44A-A077-969D4479AD6F}"/>
              </a:ext>
            </a:extLst>
          </p:cNvPr>
          <p:cNvSpPr/>
          <p:nvPr/>
        </p:nvSpPr>
        <p:spPr>
          <a:xfrm>
            <a:off x="940544" y="4536822"/>
            <a:ext cx="5244594" cy="818207"/>
          </a:xfrm>
          <a:prstGeom prst="roundRect">
            <a:avLst>
              <a:gd name="adj" fmla="val 6351"/>
            </a:avLst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1463">
              <a:defRPr/>
            </a:pPr>
            <a:r>
              <a:rPr lang="ru-RU" sz="1600" dirty="0"/>
              <a:t>Успешный опыт проектного финансирования возобновляемой энергетики в России, Казахстане </a:t>
            </a: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ru-RU" sz="1600" dirty="0" smtClean="0"/>
              <a:t>и </a:t>
            </a:r>
            <a:r>
              <a:rPr lang="ru-RU" sz="1600" dirty="0"/>
              <a:t>Беларуси</a:t>
            </a:r>
          </a:p>
        </p:txBody>
      </p:sp>
      <p:sp>
        <p:nvSpPr>
          <p:cNvPr id="40" name="Скругленный прямоугольник 20">
            <a:extLst>
              <a:ext uri="{FF2B5EF4-FFF2-40B4-BE49-F238E27FC236}">
                <a16:creationId xmlns:a16="http://schemas.microsoft.com/office/drawing/2014/main" id="{EA351459-2FEB-AA43-B7C4-E901F02B031C}"/>
              </a:ext>
            </a:extLst>
          </p:cNvPr>
          <p:cNvSpPr/>
          <p:nvPr/>
        </p:nvSpPr>
        <p:spPr>
          <a:xfrm>
            <a:off x="943646" y="2512804"/>
            <a:ext cx="5242002" cy="852094"/>
          </a:xfrm>
          <a:prstGeom prst="roundRect">
            <a:avLst>
              <a:gd name="adj" fmla="val 6351"/>
            </a:avLst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1463">
              <a:defRPr/>
            </a:pPr>
            <a:r>
              <a:rPr lang="ru-RU" sz="1600" dirty="0"/>
              <a:t>Готовность принимать риски по проектам ВИЭ </a:t>
            </a:r>
            <a:r>
              <a:rPr lang="en-US" sz="1600" dirty="0" smtClean="0"/>
              <a:t/>
            </a:r>
            <a:br>
              <a:rPr lang="en-US" sz="1600" dirty="0" smtClean="0"/>
            </a:br>
            <a:r>
              <a:rPr lang="ru-RU" sz="1600" dirty="0" smtClean="0"/>
              <a:t>и </a:t>
            </a:r>
            <a:r>
              <a:rPr lang="ru-RU" sz="1600" dirty="0"/>
              <a:t>предоставлять гибкие условия долгосрочного финансирования в национальных валютах</a:t>
            </a:r>
          </a:p>
        </p:txBody>
      </p:sp>
      <p:sp>
        <p:nvSpPr>
          <p:cNvPr id="41" name="Скругленный прямоугольник 20">
            <a:extLst>
              <a:ext uri="{FF2B5EF4-FFF2-40B4-BE49-F238E27FC236}">
                <a16:creationId xmlns:a16="http://schemas.microsoft.com/office/drawing/2014/main" id="{60A57E04-A9AA-F84F-A42C-80869280D4B3}"/>
              </a:ext>
            </a:extLst>
          </p:cNvPr>
          <p:cNvSpPr/>
          <p:nvPr/>
        </p:nvSpPr>
        <p:spPr>
          <a:xfrm>
            <a:off x="940544" y="3529500"/>
            <a:ext cx="5244594" cy="833106"/>
          </a:xfrm>
          <a:prstGeom prst="roundRect">
            <a:avLst>
              <a:gd name="adj" fmla="val 6351"/>
            </a:avLst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71463">
              <a:defRPr/>
            </a:pPr>
            <a:r>
              <a:rPr lang="ru-RU" sz="1600" dirty="0"/>
              <a:t>Высокая скорость принятия Банком кредитных </a:t>
            </a:r>
            <a:r>
              <a:rPr lang="ru-RU" sz="1600" dirty="0" smtClean="0"/>
              <a:t>решений ─ от </a:t>
            </a:r>
            <a:r>
              <a:rPr lang="ru-RU" sz="1600" dirty="0"/>
              <a:t>заявки до подписания документации от 3 месяцев 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169936" y="2644113"/>
            <a:ext cx="63408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dirty="0" smtClean="0"/>
              <a:t>II</a:t>
            </a:r>
            <a:endParaRPr lang="ru-RU" sz="3600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153399" y="3621827"/>
            <a:ext cx="69923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600" dirty="0" smtClean="0"/>
              <a:t>III</a:t>
            </a:r>
            <a:endParaRPr lang="ru-RU" sz="3600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169936" y="4626218"/>
            <a:ext cx="63408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dirty="0" smtClean="0"/>
              <a:t>IV</a:t>
            </a:r>
            <a:endParaRPr lang="ru-RU" sz="3600" dirty="0"/>
          </a:p>
        </p:txBody>
      </p:sp>
      <p:sp>
        <p:nvSpPr>
          <p:cNvPr id="45" name="Прямоугольник 44"/>
          <p:cNvSpPr/>
          <p:nvPr/>
        </p:nvSpPr>
        <p:spPr>
          <a:xfrm>
            <a:off x="169936" y="5620618"/>
            <a:ext cx="63408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dirty="0" smtClean="0"/>
              <a:t>V</a:t>
            </a:r>
            <a:endParaRPr lang="ru-RU" sz="3600" dirty="0"/>
          </a:p>
        </p:txBody>
      </p:sp>
      <p:sp>
        <p:nvSpPr>
          <p:cNvPr id="46" name="Прямоугольник 45"/>
          <p:cNvSpPr/>
          <p:nvPr/>
        </p:nvSpPr>
        <p:spPr>
          <a:xfrm>
            <a:off x="169938" y="1626694"/>
            <a:ext cx="63408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dirty="0" smtClean="0"/>
              <a:t>I</a:t>
            </a:r>
            <a:endParaRPr lang="ru-RU" sz="3600" dirty="0"/>
          </a:p>
        </p:txBody>
      </p:sp>
      <p:sp>
        <p:nvSpPr>
          <p:cNvPr id="33794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Что может предложить ЕАБР?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-8966" y="1376363"/>
            <a:ext cx="162365" cy="50961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73" name="Полилиния 72"/>
          <p:cNvSpPr/>
          <p:nvPr/>
        </p:nvSpPr>
        <p:spPr>
          <a:xfrm rot="16200000">
            <a:off x="7478328" y="4806845"/>
            <a:ext cx="3080024" cy="251320"/>
          </a:xfrm>
          <a:custGeom>
            <a:avLst/>
            <a:gdLst>
              <a:gd name="connsiteX0" fmla="*/ 4964640 w 4964640"/>
              <a:gd name="connsiteY0" fmla="*/ 399642 h 399642"/>
              <a:gd name="connsiteX1" fmla="*/ 3034241 w 4964640"/>
              <a:gd name="connsiteY1" fmla="*/ 399642 h 399642"/>
              <a:gd name="connsiteX2" fmla="*/ 2595513 w 4964640"/>
              <a:gd name="connsiteY2" fmla="*/ 399642 h 399642"/>
              <a:gd name="connsiteX3" fmla="*/ 0 w 4964640"/>
              <a:gd name="connsiteY3" fmla="*/ 399642 h 399642"/>
              <a:gd name="connsiteX4" fmla="*/ 0 w 4964640"/>
              <a:gd name="connsiteY4" fmla="*/ 0 h 399642"/>
              <a:gd name="connsiteX5" fmla="*/ 2595513 w 4964640"/>
              <a:gd name="connsiteY5" fmla="*/ 0 h 399642"/>
              <a:gd name="connsiteX6" fmla="*/ 3034241 w 4964640"/>
              <a:gd name="connsiteY6" fmla="*/ 0 h 399642"/>
              <a:gd name="connsiteX7" fmla="*/ 4654837 w 4964640"/>
              <a:gd name="connsiteY7" fmla="*/ 0 h 399642"/>
              <a:gd name="connsiteX8" fmla="*/ 4964640 w 4964640"/>
              <a:gd name="connsiteY8" fmla="*/ 309803 h 39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64640" h="399642">
                <a:moveTo>
                  <a:pt x="4964640" y="399642"/>
                </a:moveTo>
                <a:lnTo>
                  <a:pt x="3034241" y="399642"/>
                </a:lnTo>
                <a:lnTo>
                  <a:pt x="2595513" y="399642"/>
                </a:lnTo>
                <a:lnTo>
                  <a:pt x="0" y="399642"/>
                </a:lnTo>
                <a:lnTo>
                  <a:pt x="0" y="0"/>
                </a:lnTo>
                <a:lnTo>
                  <a:pt x="2595513" y="0"/>
                </a:lnTo>
                <a:lnTo>
                  <a:pt x="3034241" y="0"/>
                </a:lnTo>
                <a:lnTo>
                  <a:pt x="4654837" y="0"/>
                </a:lnTo>
                <a:cubicBezTo>
                  <a:pt x="4825937" y="0"/>
                  <a:pt x="4964640" y="138703"/>
                  <a:pt x="4964640" y="3098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893175" y="6266949"/>
            <a:ext cx="250825" cy="2055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706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>
          <a:xfrm>
            <a:off x="8893175" y="1392753"/>
            <a:ext cx="250825" cy="5082660"/>
          </a:xfrm>
          <a:prstGeom prst="rect">
            <a:avLst/>
          </a:prstGeom>
          <a:solidFill>
            <a:srgbClr val="D9E6EF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3584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mtClean="0"/>
              <a:t>Текущие инвестиционные проекты, финансируемые Банком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-448234" y="1392754"/>
            <a:ext cx="1388537" cy="5085641"/>
            <a:chOff x="-448234" y="1392754"/>
            <a:chExt cx="1388537" cy="5085641"/>
          </a:xfrm>
        </p:grpSpPr>
        <p:sp>
          <p:nvSpPr>
            <p:cNvPr id="17" name="Полилиния 16"/>
            <p:cNvSpPr/>
            <p:nvPr/>
          </p:nvSpPr>
          <p:spPr>
            <a:xfrm rot="5400000">
              <a:off x="-2296786" y="3241306"/>
              <a:ext cx="5085641" cy="1388537"/>
            </a:xfrm>
            <a:custGeom>
              <a:avLst/>
              <a:gdLst>
                <a:gd name="connsiteX0" fmla="*/ 5085075 w 5085641"/>
                <a:gd name="connsiteY0" fmla="*/ 1388537 h 1388537"/>
                <a:gd name="connsiteX1" fmla="*/ 5085075 w 5085641"/>
                <a:gd name="connsiteY1" fmla="*/ 276430 h 1388537"/>
                <a:gd name="connsiteX2" fmla="*/ 5085641 w 5085641"/>
                <a:gd name="connsiteY2" fmla="*/ 279234 h 1388537"/>
                <a:gd name="connsiteX3" fmla="*/ 5085641 w 5085641"/>
                <a:gd name="connsiteY3" fmla="*/ 1388537 h 1388537"/>
                <a:gd name="connsiteX4" fmla="*/ 2644588 w 5085641"/>
                <a:gd name="connsiteY4" fmla="*/ 1388537 h 1388537"/>
                <a:gd name="connsiteX5" fmla="*/ 2644588 w 5085641"/>
                <a:gd name="connsiteY5" fmla="*/ 279234 h 1388537"/>
                <a:gd name="connsiteX6" fmla="*/ 2923822 w 5085641"/>
                <a:gd name="connsiteY6" fmla="*/ 0 h 1388537"/>
                <a:gd name="connsiteX7" fmla="*/ 3181113 w 5085641"/>
                <a:gd name="connsiteY7" fmla="*/ 170543 h 1388537"/>
                <a:gd name="connsiteX8" fmla="*/ 3197113 w 5085641"/>
                <a:gd name="connsiteY8" fmla="*/ 249797 h 1388537"/>
                <a:gd name="connsiteX9" fmla="*/ 3197113 w 5085641"/>
                <a:gd name="connsiteY9" fmla="*/ 1388537 h 1388537"/>
                <a:gd name="connsiteX10" fmla="*/ 1927409 w 5085641"/>
                <a:gd name="connsiteY10" fmla="*/ 1388537 h 1388537"/>
                <a:gd name="connsiteX11" fmla="*/ 1927409 w 5085641"/>
                <a:gd name="connsiteY11" fmla="*/ 279234 h 1388537"/>
                <a:gd name="connsiteX12" fmla="*/ 2206643 w 5085641"/>
                <a:gd name="connsiteY12" fmla="*/ 0 h 1388537"/>
                <a:gd name="connsiteX13" fmla="*/ 2485877 w 5085641"/>
                <a:gd name="connsiteY13" fmla="*/ 279234 h 1388537"/>
                <a:gd name="connsiteX14" fmla="*/ 2485877 w 5085641"/>
                <a:gd name="connsiteY14" fmla="*/ 1388537 h 1388537"/>
                <a:gd name="connsiteX15" fmla="*/ 968191 w 5085641"/>
                <a:gd name="connsiteY15" fmla="*/ 1388537 h 1388537"/>
                <a:gd name="connsiteX16" fmla="*/ 968191 w 5085641"/>
                <a:gd name="connsiteY16" fmla="*/ 279234 h 1388537"/>
                <a:gd name="connsiteX17" fmla="*/ 1247425 w 5085641"/>
                <a:gd name="connsiteY17" fmla="*/ 0 h 1388537"/>
                <a:gd name="connsiteX18" fmla="*/ 1526659 w 5085641"/>
                <a:gd name="connsiteY18" fmla="*/ 279234 h 1388537"/>
                <a:gd name="connsiteX19" fmla="*/ 1526659 w 5085641"/>
                <a:gd name="connsiteY19" fmla="*/ 1388537 h 1388537"/>
                <a:gd name="connsiteX20" fmla="*/ 0 w 5085641"/>
                <a:gd name="connsiteY20" fmla="*/ 1388537 h 1388537"/>
                <a:gd name="connsiteX21" fmla="*/ 0 w 5085641"/>
                <a:gd name="connsiteY21" fmla="*/ 279234 h 1388537"/>
                <a:gd name="connsiteX22" fmla="*/ 279234 w 5085641"/>
                <a:gd name="connsiteY22" fmla="*/ 0 h 1388537"/>
                <a:gd name="connsiteX23" fmla="*/ 558468 w 5085641"/>
                <a:gd name="connsiteY23" fmla="*/ 279234 h 1388537"/>
                <a:gd name="connsiteX24" fmla="*/ 558468 w 5085641"/>
                <a:gd name="connsiteY24" fmla="*/ 1388537 h 138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085641" h="1388537">
                  <a:moveTo>
                    <a:pt x="5085075" y="1388537"/>
                  </a:moveTo>
                  <a:lnTo>
                    <a:pt x="5085075" y="276430"/>
                  </a:lnTo>
                  <a:lnTo>
                    <a:pt x="5085641" y="279234"/>
                  </a:lnTo>
                  <a:lnTo>
                    <a:pt x="5085641" y="1388537"/>
                  </a:lnTo>
                  <a:close/>
                  <a:moveTo>
                    <a:pt x="2644588" y="1388537"/>
                  </a:moveTo>
                  <a:lnTo>
                    <a:pt x="2644588" y="279234"/>
                  </a:lnTo>
                  <a:cubicBezTo>
                    <a:pt x="2644588" y="125017"/>
                    <a:pt x="2769605" y="0"/>
                    <a:pt x="2923822" y="0"/>
                  </a:cubicBezTo>
                  <a:cubicBezTo>
                    <a:pt x="3039485" y="0"/>
                    <a:pt x="3138723" y="70322"/>
                    <a:pt x="3181113" y="170543"/>
                  </a:cubicBezTo>
                  <a:lnTo>
                    <a:pt x="3197113" y="249797"/>
                  </a:lnTo>
                  <a:lnTo>
                    <a:pt x="3197113" y="1388537"/>
                  </a:lnTo>
                  <a:close/>
                  <a:moveTo>
                    <a:pt x="1927409" y="1388537"/>
                  </a:moveTo>
                  <a:lnTo>
                    <a:pt x="1927409" y="279234"/>
                  </a:lnTo>
                  <a:cubicBezTo>
                    <a:pt x="1927409" y="125017"/>
                    <a:pt x="2052426" y="0"/>
                    <a:pt x="2206643" y="0"/>
                  </a:cubicBezTo>
                  <a:cubicBezTo>
                    <a:pt x="2360860" y="0"/>
                    <a:pt x="2485877" y="125017"/>
                    <a:pt x="2485877" y="279234"/>
                  </a:cubicBezTo>
                  <a:lnTo>
                    <a:pt x="2485877" y="1388537"/>
                  </a:lnTo>
                  <a:close/>
                  <a:moveTo>
                    <a:pt x="968191" y="1388537"/>
                  </a:moveTo>
                  <a:lnTo>
                    <a:pt x="968191" y="279234"/>
                  </a:lnTo>
                  <a:cubicBezTo>
                    <a:pt x="968191" y="125017"/>
                    <a:pt x="1093208" y="0"/>
                    <a:pt x="1247425" y="0"/>
                  </a:cubicBezTo>
                  <a:cubicBezTo>
                    <a:pt x="1401642" y="0"/>
                    <a:pt x="1526659" y="125017"/>
                    <a:pt x="1526659" y="279234"/>
                  </a:cubicBezTo>
                  <a:lnTo>
                    <a:pt x="1526659" y="1388537"/>
                  </a:lnTo>
                  <a:close/>
                  <a:moveTo>
                    <a:pt x="0" y="1388537"/>
                  </a:moveTo>
                  <a:lnTo>
                    <a:pt x="0" y="279234"/>
                  </a:lnTo>
                  <a:cubicBezTo>
                    <a:pt x="0" y="125017"/>
                    <a:pt x="125017" y="0"/>
                    <a:pt x="279234" y="0"/>
                  </a:cubicBezTo>
                  <a:cubicBezTo>
                    <a:pt x="433451" y="0"/>
                    <a:pt x="558468" y="125017"/>
                    <a:pt x="558468" y="279234"/>
                  </a:cubicBezTo>
                  <a:lnTo>
                    <a:pt x="558468" y="138853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200"/>
                </a:spcBef>
              </a:pPr>
              <a:endParaRPr lang="ru-RU" sz="24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19" name="Полилиния 18"/>
            <p:cNvSpPr/>
            <p:nvPr/>
          </p:nvSpPr>
          <p:spPr>
            <a:xfrm rot="5400000">
              <a:off x="-378338" y="4925395"/>
              <a:ext cx="1248746" cy="1388537"/>
            </a:xfrm>
            <a:custGeom>
              <a:avLst/>
              <a:gdLst>
                <a:gd name="connsiteX0" fmla="*/ 690278 w 1248746"/>
                <a:gd name="connsiteY0" fmla="*/ 1388537 h 1388537"/>
                <a:gd name="connsiteX1" fmla="*/ 690278 w 1248746"/>
                <a:gd name="connsiteY1" fmla="*/ 279234 h 1388537"/>
                <a:gd name="connsiteX2" fmla="*/ 969512 w 1248746"/>
                <a:gd name="connsiteY2" fmla="*/ 0 h 1388537"/>
                <a:gd name="connsiteX3" fmla="*/ 1248746 w 1248746"/>
                <a:gd name="connsiteY3" fmla="*/ 279234 h 1388537"/>
                <a:gd name="connsiteX4" fmla="*/ 1248746 w 1248746"/>
                <a:gd name="connsiteY4" fmla="*/ 1388537 h 1388537"/>
                <a:gd name="connsiteX5" fmla="*/ 0 w 1248746"/>
                <a:gd name="connsiteY5" fmla="*/ 1388537 h 1388537"/>
                <a:gd name="connsiteX6" fmla="*/ 0 w 1248746"/>
                <a:gd name="connsiteY6" fmla="*/ 279234 h 1388537"/>
                <a:gd name="connsiteX7" fmla="*/ 279234 w 1248746"/>
                <a:gd name="connsiteY7" fmla="*/ 0 h 1388537"/>
                <a:gd name="connsiteX8" fmla="*/ 558468 w 1248746"/>
                <a:gd name="connsiteY8" fmla="*/ 279234 h 1388537"/>
                <a:gd name="connsiteX9" fmla="*/ 558468 w 1248746"/>
                <a:gd name="connsiteY9" fmla="*/ 1388537 h 1388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8746" h="1388537">
                  <a:moveTo>
                    <a:pt x="690278" y="1388537"/>
                  </a:moveTo>
                  <a:lnTo>
                    <a:pt x="690278" y="279234"/>
                  </a:lnTo>
                  <a:cubicBezTo>
                    <a:pt x="690278" y="125017"/>
                    <a:pt x="815295" y="0"/>
                    <a:pt x="969512" y="0"/>
                  </a:cubicBezTo>
                  <a:cubicBezTo>
                    <a:pt x="1123729" y="0"/>
                    <a:pt x="1248746" y="125017"/>
                    <a:pt x="1248746" y="279234"/>
                  </a:cubicBezTo>
                  <a:lnTo>
                    <a:pt x="1248746" y="1388537"/>
                  </a:lnTo>
                  <a:close/>
                  <a:moveTo>
                    <a:pt x="0" y="1388537"/>
                  </a:moveTo>
                  <a:lnTo>
                    <a:pt x="0" y="279234"/>
                  </a:lnTo>
                  <a:cubicBezTo>
                    <a:pt x="0" y="125017"/>
                    <a:pt x="125017" y="0"/>
                    <a:pt x="279234" y="0"/>
                  </a:cubicBezTo>
                  <a:cubicBezTo>
                    <a:pt x="433451" y="0"/>
                    <a:pt x="558468" y="125017"/>
                    <a:pt x="558468" y="279234"/>
                  </a:cubicBezTo>
                  <a:lnTo>
                    <a:pt x="558468" y="1388537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200"/>
                </a:spcBef>
              </a:pPr>
              <a:endParaRPr lang="ru-RU" sz="2400" dirty="0" err="1" smtClean="0">
                <a:solidFill>
                  <a:schemeClr val="bg1"/>
                </a:solidFill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247650" y="1333759"/>
            <a:ext cx="5792787" cy="49398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1800"/>
              </a:spcAft>
              <a:defRPr/>
            </a:pPr>
            <a:r>
              <a:rPr lang="ru-RU" sz="1600" dirty="0">
                <a:latin typeface="+mn-lt"/>
              </a:rPr>
              <a:t>Строительство </a:t>
            </a:r>
            <a:r>
              <a:rPr lang="ru-RU" sz="1600" dirty="0" err="1">
                <a:latin typeface="+mn-lt"/>
              </a:rPr>
              <a:t>ветропарка</a:t>
            </a:r>
            <a:r>
              <a:rPr lang="ru-RU" sz="1600" dirty="0">
                <a:latin typeface="+mn-lt"/>
              </a:rPr>
              <a:t> «Азовская ВЭС» </a:t>
            </a:r>
            <a:r>
              <a:rPr lang="ru-RU" sz="1600" dirty="0" smtClean="0">
                <a:latin typeface="+mn-lt"/>
              </a:rPr>
              <a:t>90 МВт</a:t>
            </a:r>
            <a:r>
              <a:rPr lang="ru-RU" sz="1600" dirty="0">
                <a:latin typeface="+mn-lt"/>
              </a:rPr>
              <a:t>. </a:t>
            </a:r>
            <a:r>
              <a:rPr lang="ru-RU" sz="1600" dirty="0" smtClean="0">
                <a:latin typeface="+mn-lt"/>
              </a:rPr>
              <a:t/>
            </a:r>
            <a:br>
              <a:rPr lang="ru-RU" sz="1600" dirty="0" smtClean="0">
                <a:latin typeface="+mn-lt"/>
              </a:rPr>
            </a:br>
            <a:r>
              <a:rPr lang="ru-RU" sz="1600" dirty="0" smtClean="0"/>
              <a:t>в </a:t>
            </a:r>
            <a:r>
              <a:rPr lang="ru-RU" sz="1600" dirty="0"/>
              <a:t>Ростовской области, Россия. </a:t>
            </a:r>
            <a:r>
              <a:rPr lang="ru-RU" sz="1600" dirty="0">
                <a:latin typeface="+mn-lt"/>
              </a:rPr>
              <a:t>Проект реализуется дочерней компанией ПО «Энел Россия</a:t>
            </a:r>
            <a:r>
              <a:rPr lang="ru-RU" sz="1600" dirty="0" smtClean="0">
                <a:latin typeface="+mn-lt"/>
              </a:rPr>
              <a:t>»</a:t>
            </a:r>
            <a:endParaRPr lang="ru-RU" sz="1600" dirty="0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1800"/>
              </a:spcAft>
              <a:defRPr/>
            </a:pPr>
            <a:r>
              <a:rPr lang="ru-RU" sz="1600" dirty="0"/>
              <a:t>Строительство 4-х СЭС по </a:t>
            </a:r>
            <a:r>
              <a:rPr lang="ru-RU" sz="1600" dirty="0" smtClean="0"/>
              <a:t>15 МВт </a:t>
            </a:r>
            <a:r>
              <a:rPr lang="ru-RU" sz="1600" dirty="0"/>
              <a:t>в Астраханской области, Россия. Проекты реализуются дочерними компаниями ООО «Солар Системс</a:t>
            </a:r>
            <a:r>
              <a:rPr lang="ru-RU" sz="1600" dirty="0" smtClean="0"/>
              <a:t>»</a:t>
            </a:r>
            <a:endParaRPr lang="ru-RU" sz="1600" dirty="0"/>
          </a:p>
          <a:p>
            <a:pPr eaLnBrk="1" fontAlgn="auto" hangingPunct="1">
              <a:spcBef>
                <a:spcPts val="0"/>
              </a:spcBef>
              <a:spcAft>
                <a:spcPts val="1800"/>
              </a:spcAft>
              <a:defRPr/>
            </a:pPr>
            <a:r>
              <a:rPr lang="ru-RU" sz="1600" dirty="0"/>
              <a:t>Строительство СЭС 100 МВт в </a:t>
            </a:r>
            <a:r>
              <a:rPr lang="ru-RU" sz="1600" dirty="0" err="1"/>
              <a:t>Акмолинской</a:t>
            </a:r>
            <a:r>
              <a:rPr lang="ru-RU" sz="1600" dirty="0"/>
              <a:t> области, </a:t>
            </a:r>
            <a:r>
              <a:rPr lang="ru-RU" sz="1600" dirty="0" smtClean="0"/>
              <a:t>Казахстан</a:t>
            </a:r>
          </a:p>
          <a:p>
            <a:pPr eaLnBrk="1" fontAlgn="auto" hangingPunct="1">
              <a:spcBef>
                <a:spcPts val="0"/>
              </a:spcBef>
              <a:spcAft>
                <a:spcPts val="1800"/>
              </a:spcAft>
              <a:defRPr/>
            </a:pPr>
            <a:r>
              <a:rPr lang="ru-RU" sz="1600" dirty="0" smtClean="0">
                <a:latin typeface="+mn-lt"/>
              </a:rPr>
              <a:t>Строительство СЭС 90 МВт в южных регионах Казахстана.</a:t>
            </a:r>
            <a:r>
              <a:rPr lang="ru-RU" sz="1600" dirty="0" smtClean="0"/>
              <a:t> </a:t>
            </a:r>
            <a:r>
              <a:rPr lang="ru-RU" sz="1600" dirty="0" smtClean="0">
                <a:latin typeface="+mn-lt"/>
              </a:rPr>
              <a:t>Часть проекта профинансирована за счет связанного фондирования от Российского экспортного центра (РЭЦ)</a:t>
            </a:r>
          </a:p>
          <a:p>
            <a:pPr eaLnBrk="1" fontAlgn="auto" hangingPunct="1">
              <a:spcBef>
                <a:spcPts val="0"/>
              </a:spcBef>
              <a:spcAft>
                <a:spcPts val="1800"/>
              </a:spcAft>
              <a:defRPr/>
            </a:pPr>
            <a:r>
              <a:rPr lang="ru-RU" sz="1600" dirty="0" smtClean="0"/>
              <a:t>Строительство </a:t>
            </a:r>
            <a:r>
              <a:rPr lang="ru-RU" sz="1600" dirty="0"/>
              <a:t>ВЭС </a:t>
            </a:r>
            <a:r>
              <a:rPr lang="ru-RU" sz="1600" dirty="0" smtClean="0"/>
              <a:t>50 МВт </a:t>
            </a:r>
            <a:r>
              <a:rPr lang="ru-RU" sz="1600" dirty="0"/>
              <a:t>ТОО «</a:t>
            </a:r>
            <a:r>
              <a:rPr lang="en-US" sz="1600" dirty="0" err="1"/>
              <a:t>Ereymentau</a:t>
            </a:r>
            <a:r>
              <a:rPr lang="en-US" sz="1600" dirty="0"/>
              <a:t> Wind Power»</a:t>
            </a:r>
            <a:r>
              <a:rPr lang="ru-RU" sz="1600" dirty="0"/>
              <a:t> </a:t>
            </a:r>
            <a:r>
              <a:rPr lang="ru-RU" sz="1600" dirty="0" smtClean="0"/>
              <a:t/>
            </a:r>
            <a:br>
              <a:rPr lang="ru-RU" sz="1600" dirty="0" smtClean="0"/>
            </a:br>
            <a:r>
              <a:rPr lang="ru-RU" sz="1600" dirty="0" smtClean="0"/>
              <a:t>в </a:t>
            </a:r>
            <a:r>
              <a:rPr lang="ru-RU" sz="1600" dirty="0" err="1"/>
              <a:t>Ерейментауском</a:t>
            </a:r>
            <a:r>
              <a:rPr lang="ru-RU" sz="1600" dirty="0"/>
              <a:t> районе, Казахстан</a:t>
            </a:r>
          </a:p>
          <a:p>
            <a:pPr eaLnBrk="1" fontAlgn="auto" hangingPunct="1">
              <a:spcBef>
                <a:spcPts val="0"/>
              </a:spcBef>
              <a:spcAft>
                <a:spcPts val="1800"/>
              </a:spcAft>
              <a:defRPr/>
            </a:pPr>
            <a:r>
              <a:rPr lang="ru-RU" sz="1600" dirty="0"/>
              <a:t>Строительство двух малых ГЭС мощностью по </a:t>
            </a:r>
            <a:r>
              <a:rPr lang="en-US" sz="1600" dirty="0" smtClean="0"/>
              <a:t>25</a:t>
            </a:r>
            <a:r>
              <a:rPr lang="ru-RU" sz="1600" dirty="0" smtClean="0"/>
              <a:t> МВт </a:t>
            </a:r>
            <a:r>
              <a:rPr lang="ru-RU" sz="1600" dirty="0" err="1"/>
              <a:t>Белопорожская</a:t>
            </a:r>
            <a:r>
              <a:rPr lang="ru-RU" sz="1600" dirty="0"/>
              <a:t> ГЭС-1 и ГЭС-</a:t>
            </a:r>
            <a:r>
              <a:rPr lang="en-US" sz="1600" dirty="0"/>
              <a:t>2 </a:t>
            </a:r>
            <a:r>
              <a:rPr lang="ru-RU" sz="1600" dirty="0"/>
              <a:t>в Карелии</a:t>
            </a:r>
            <a:r>
              <a:rPr lang="en-US" sz="1600" dirty="0"/>
              <a:t>, </a:t>
            </a:r>
            <a:r>
              <a:rPr lang="ru-RU" sz="1600" dirty="0" smtClean="0"/>
              <a:t>Россия</a:t>
            </a:r>
            <a:endParaRPr lang="ru-RU" sz="1600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6138344" y="1392752"/>
            <a:ext cx="2754832" cy="5082661"/>
            <a:chOff x="6172272" y="1455350"/>
            <a:chExt cx="2720904" cy="5020063"/>
          </a:xfrm>
        </p:grpSpPr>
        <p:pic>
          <p:nvPicPr>
            <p:cNvPr id="35844" name="Picture 2" descr="C:\Users\nikolaev_oy\Desktop\ves--12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01" t="9402" r="2451" b="554"/>
            <a:stretch/>
          </p:blipFill>
          <p:spPr bwMode="auto">
            <a:xfrm>
              <a:off x="6176682" y="1455350"/>
              <a:ext cx="2716493" cy="16747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845" name="Рисунок 3"/>
            <p:cNvPicPr>
              <a:picLocks noChangeAspect="1"/>
            </p:cNvPicPr>
            <p:nvPr/>
          </p:nvPicPr>
          <p:blipFill>
            <a:blip r:embed="rId4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8" r="2322" b="10474"/>
            <a:stretch>
              <a:fillRect/>
            </a:stretch>
          </p:blipFill>
          <p:spPr bwMode="auto">
            <a:xfrm>
              <a:off x="6172272" y="4796118"/>
              <a:ext cx="2720904" cy="16792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846" name="Picture 2" descr="C:\Users\nikolaev_oy\Desktop\ses_astrahan_130917_2.jpg"/>
            <p:cNvPicPr>
              <a:picLocks noChangeAspect="1" noChangeArrowheads="1"/>
            </p:cNvPicPr>
            <p:nvPr/>
          </p:nvPicPr>
          <p:blipFill rotWithShape="1">
            <a:blip r:embed="rId5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417" r="4424" b="1549"/>
            <a:stretch/>
          </p:blipFill>
          <p:spPr bwMode="auto">
            <a:xfrm>
              <a:off x="6172272" y="3116696"/>
              <a:ext cx="2720903" cy="16883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Прямоугольник 6"/>
          <p:cNvSpPr/>
          <p:nvPr/>
        </p:nvSpPr>
        <p:spPr>
          <a:xfrm>
            <a:off x="-592186" y="1392753"/>
            <a:ext cx="839836" cy="5082660"/>
          </a:xfrm>
          <a:prstGeom prst="rect">
            <a:avLst/>
          </a:prstGeom>
          <a:solidFill>
            <a:srgbClr val="D9E6EF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893175" y="1392753"/>
            <a:ext cx="106872" cy="50826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9100124" y="2872442"/>
            <a:ext cx="45719" cy="38410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23" name="Полилиния 22"/>
          <p:cNvSpPr/>
          <p:nvPr/>
        </p:nvSpPr>
        <p:spPr>
          <a:xfrm rot="16200000" flipH="1" flipV="1">
            <a:off x="-999263" y="2380150"/>
            <a:ext cx="2163235" cy="176513"/>
          </a:xfrm>
          <a:custGeom>
            <a:avLst/>
            <a:gdLst>
              <a:gd name="connsiteX0" fmla="*/ 4964640 w 4964640"/>
              <a:gd name="connsiteY0" fmla="*/ 399642 h 399642"/>
              <a:gd name="connsiteX1" fmla="*/ 3034241 w 4964640"/>
              <a:gd name="connsiteY1" fmla="*/ 399642 h 399642"/>
              <a:gd name="connsiteX2" fmla="*/ 2595513 w 4964640"/>
              <a:gd name="connsiteY2" fmla="*/ 399642 h 399642"/>
              <a:gd name="connsiteX3" fmla="*/ 0 w 4964640"/>
              <a:gd name="connsiteY3" fmla="*/ 399642 h 399642"/>
              <a:gd name="connsiteX4" fmla="*/ 0 w 4964640"/>
              <a:gd name="connsiteY4" fmla="*/ 0 h 399642"/>
              <a:gd name="connsiteX5" fmla="*/ 2595513 w 4964640"/>
              <a:gd name="connsiteY5" fmla="*/ 0 h 399642"/>
              <a:gd name="connsiteX6" fmla="*/ 3034241 w 4964640"/>
              <a:gd name="connsiteY6" fmla="*/ 0 h 399642"/>
              <a:gd name="connsiteX7" fmla="*/ 4654837 w 4964640"/>
              <a:gd name="connsiteY7" fmla="*/ 0 h 399642"/>
              <a:gd name="connsiteX8" fmla="*/ 4964640 w 4964640"/>
              <a:gd name="connsiteY8" fmla="*/ 309803 h 39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64640" h="399642">
                <a:moveTo>
                  <a:pt x="4964640" y="399642"/>
                </a:moveTo>
                <a:lnTo>
                  <a:pt x="3034241" y="399642"/>
                </a:lnTo>
                <a:lnTo>
                  <a:pt x="2595513" y="399642"/>
                </a:lnTo>
                <a:lnTo>
                  <a:pt x="0" y="399642"/>
                </a:lnTo>
                <a:lnTo>
                  <a:pt x="0" y="0"/>
                </a:lnTo>
                <a:lnTo>
                  <a:pt x="2595513" y="0"/>
                </a:lnTo>
                <a:lnTo>
                  <a:pt x="3034241" y="0"/>
                </a:lnTo>
                <a:lnTo>
                  <a:pt x="4654837" y="0"/>
                </a:lnTo>
                <a:cubicBezTo>
                  <a:pt x="4825937" y="0"/>
                  <a:pt x="4964640" y="138703"/>
                  <a:pt x="4964640" y="3098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-5878" y="1389771"/>
            <a:ext cx="45719" cy="38410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5705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32" r="-1"/>
          <a:stretch/>
        </p:blipFill>
        <p:spPr>
          <a:xfrm>
            <a:off x="4061012" y="-5531"/>
            <a:ext cx="5082988" cy="6863531"/>
          </a:xfrm>
          <a:prstGeom prst="rect">
            <a:avLst/>
          </a:prstGeom>
        </p:spPr>
      </p:pic>
      <p:sp>
        <p:nvSpPr>
          <p:cNvPr id="18" name="Полилиния 17"/>
          <p:cNvSpPr/>
          <p:nvPr/>
        </p:nvSpPr>
        <p:spPr>
          <a:xfrm flipV="1">
            <a:off x="-1" y="1044039"/>
            <a:ext cx="3128683" cy="658028"/>
          </a:xfrm>
          <a:custGeom>
            <a:avLst/>
            <a:gdLst>
              <a:gd name="connsiteX0" fmla="*/ 0 w 1900152"/>
              <a:gd name="connsiteY0" fmla="*/ 399642 h 399642"/>
              <a:gd name="connsiteX1" fmla="*/ 1900152 w 1900152"/>
              <a:gd name="connsiteY1" fmla="*/ 399642 h 399642"/>
              <a:gd name="connsiteX2" fmla="*/ 1900152 w 1900152"/>
              <a:gd name="connsiteY2" fmla="*/ 309803 h 399642"/>
              <a:gd name="connsiteX3" fmla="*/ 1590349 w 1900152"/>
              <a:gd name="connsiteY3" fmla="*/ 0 h 399642"/>
              <a:gd name="connsiteX4" fmla="*/ 0 w 1900152"/>
              <a:gd name="connsiteY4" fmla="*/ 0 h 39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00152" h="399642">
                <a:moveTo>
                  <a:pt x="0" y="399642"/>
                </a:moveTo>
                <a:lnTo>
                  <a:pt x="1900152" y="399642"/>
                </a:lnTo>
                <a:lnTo>
                  <a:pt x="1900152" y="309803"/>
                </a:lnTo>
                <a:cubicBezTo>
                  <a:pt x="1900152" y="138704"/>
                  <a:pt x="1761449" y="0"/>
                  <a:pt x="1590349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12" name="Полилиния 11"/>
          <p:cNvSpPr/>
          <p:nvPr/>
        </p:nvSpPr>
        <p:spPr>
          <a:xfrm flipV="1">
            <a:off x="0" y="-5531"/>
            <a:ext cx="5011271" cy="1053976"/>
          </a:xfrm>
          <a:custGeom>
            <a:avLst/>
            <a:gdLst>
              <a:gd name="connsiteX0" fmla="*/ 0 w 1900152"/>
              <a:gd name="connsiteY0" fmla="*/ 399642 h 399642"/>
              <a:gd name="connsiteX1" fmla="*/ 1900152 w 1900152"/>
              <a:gd name="connsiteY1" fmla="*/ 399642 h 399642"/>
              <a:gd name="connsiteX2" fmla="*/ 1900152 w 1900152"/>
              <a:gd name="connsiteY2" fmla="*/ 309803 h 399642"/>
              <a:gd name="connsiteX3" fmla="*/ 1590349 w 1900152"/>
              <a:gd name="connsiteY3" fmla="*/ 0 h 399642"/>
              <a:gd name="connsiteX4" fmla="*/ 0 w 1900152"/>
              <a:gd name="connsiteY4" fmla="*/ 0 h 399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00152" h="399642">
                <a:moveTo>
                  <a:pt x="0" y="399642"/>
                </a:moveTo>
                <a:lnTo>
                  <a:pt x="1900152" y="399642"/>
                </a:lnTo>
                <a:lnTo>
                  <a:pt x="1900152" y="309803"/>
                </a:lnTo>
                <a:cubicBezTo>
                  <a:pt x="1900152" y="138704"/>
                  <a:pt x="1761449" y="0"/>
                  <a:pt x="1590349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 smtClean="0">
                <a:solidFill>
                  <a:schemeClr val="bg1"/>
                </a:solidFill>
              </a:rPr>
              <a:t>Контакты</a:t>
            </a:r>
            <a:endParaRPr lang="ru-RU" b="1" dirty="0">
              <a:solidFill>
                <a:schemeClr val="bg1"/>
              </a:solidFill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3935506" y="2453152"/>
            <a:ext cx="5218016" cy="4634135"/>
            <a:chOff x="4865076" y="3206986"/>
            <a:chExt cx="4288446" cy="3808581"/>
          </a:xfrm>
        </p:grpSpPr>
        <p:sp>
          <p:nvSpPr>
            <p:cNvPr id="5" name="Полилиния 4"/>
            <p:cNvSpPr/>
            <p:nvPr/>
          </p:nvSpPr>
          <p:spPr>
            <a:xfrm>
              <a:off x="4897771" y="3379294"/>
              <a:ext cx="4246229" cy="3478706"/>
            </a:xfrm>
            <a:custGeom>
              <a:avLst/>
              <a:gdLst>
                <a:gd name="connsiteX0" fmla="*/ 3716112 w 4246229"/>
                <a:gd name="connsiteY0" fmla="*/ 0 h 3478706"/>
                <a:gd name="connsiteX1" fmla="*/ 4099406 w 4246229"/>
                <a:gd name="connsiteY1" fmla="*/ 20650 h 3478706"/>
                <a:gd name="connsiteX2" fmla="*/ 4246229 w 4246229"/>
                <a:gd name="connsiteY2" fmla="*/ 40555 h 3478706"/>
                <a:gd name="connsiteX3" fmla="*/ 4246229 w 4246229"/>
                <a:gd name="connsiteY3" fmla="*/ 3478706 h 3478706"/>
                <a:gd name="connsiteX4" fmla="*/ 0 w 4246229"/>
                <a:gd name="connsiteY4" fmla="*/ 3478706 h 3478706"/>
                <a:gd name="connsiteX5" fmla="*/ 10501 w 4246229"/>
                <a:gd name="connsiteY5" fmla="*/ 3390536 h 3478706"/>
                <a:gd name="connsiteX6" fmla="*/ 3716112 w 4246229"/>
                <a:gd name="connsiteY6" fmla="*/ 0 h 34787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246229" h="3478706">
                  <a:moveTo>
                    <a:pt x="3716112" y="0"/>
                  </a:moveTo>
                  <a:cubicBezTo>
                    <a:pt x="3845513" y="0"/>
                    <a:pt x="3973382" y="6995"/>
                    <a:pt x="4099406" y="20650"/>
                  </a:cubicBezTo>
                  <a:lnTo>
                    <a:pt x="4246229" y="40555"/>
                  </a:lnTo>
                  <a:lnTo>
                    <a:pt x="4246229" y="3478706"/>
                  </a:lnTo>
                  <a:lnTo>
                    <a:pt x="0" y="3478706"/>
                  </a:lnTo>
                  <a:lnTo>
                    <a:pt x="10501" y="3390536"/>
                  </a:lnTo>
                  <a:cubicBezTo>
                    <a:pt x="285451" y="1470683"/>
                    <a:pt x="1839805" y="0"/>
                    <a:pt x="3716112" y="0"/>
                  </a:cubicBezTo>
                  <a:close/>
                </a:path>
              </a:pathLst>
            </a:custGeom>
            <a:solidFill>
              <a:schemeClr val="bg1">
                <a:alpha val="84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200"/>
                </a:spcBef>
              </a:pPr>
              <a:endParaRPr lang="ru-RU" sz="2400" dirty="0" err="1" smtClean="0">
                <a:solidFill>
                  <a:schemeClr val="bg1"/>
                </a:solidFill>
              </a:endParaRPr>
            </a:p>
          </p:txBody>
        </p:sp>
        <p:grpSp>
          <p:nvGrpSpPr>
            <p:cNvPr id="6" name="Группа 5"/>
            <p:cNvGrpSpPr/>
            <p:nvPr/>
          </p:nvGrpSpPr>
          <p:grpSpPr>
            <a:xfrm>
              <a:off x="4865076" y="3206986"/>
              <a:ext cx="4288446" cy="3808581"/>
              <a:chOff x="4473400" y="2903920"/>
              <a:chExt cx="4680123" cy="4156430"/>
            </a:xfrm>
          </p:grpSpPr>
          <p:sp>
            <p:nvSpPr>
              <p:cNvPr id="7" name="Дуга 11"/>
              <p:cNvSpPr/>
              <p:nvPr userDrawn="1"/>
            </p:nvSpPr>
            <p:spPr>
              <a:xfrm rot="16510782">
                <a:off x="4735248" y="2820867"/>
                <a:ext cx="4156430" cy="4322535"/>
              </a:xfrm>
              <a:custGeom>
                <a:avLst/>
                <a:gdLst>
                  <a:gd name="connsiteX0" fmla="*/ 3399348 w 6798696"/>
                  <a:gd name="connsiteY0" fmla="*/ 0 h 5957413"/>
                  <a:gd name="connsiteX1" fmla="*/ 6791267 w 6798696"/>
                  <a:gd name="connsiteY1" fmla="*/ 2781889 h 5957413"/>
                  <a:gd name="connsiteX2" fmla="*/ 3399348 w 6798696"/>
                  <a:gd name="connsiteY2" fmla="*/ 2978707 h 5957413"/>
                  <a:gd name="connsiteX3" fmla="*/ 3399348 w 6798696"/>
                  <a:gd name="connsiteY3" fmla="*/ 0 h 5957413"/>
                  <a:gd name="connsiteX0" fmla="*/ 3399348 w 6798696"/>
                  <a:gd name="connsiteY0" fmla="*/ 0 h 5957413"/>
                  <a:gd name="connsiteX1" fmla="*/ 6791267 w 6798696"/>
                  <a:gd name="connsiteY1" fmla="*/ 2781889 h 5957413"/>
                  <a:gd name="connsiteX0" fmla="*/ 0 w 4040017"/>
                  <a:gd name="connsiteY0" fmla="*/ 0 h 4304396"/>
                  <a:gd name="connsiteX1" fmla="*/ 3391919 w 4040017"/>
                  <a:gd name="connsiteY1" fmla="*/ 2781889 h 4304396"/>
                  <a:gd name="connsiteX2" fmla="*/ 0 w 4040017"/>
                  <a:gd name="connsiteY2" fmla="*/ 2978707 h 4304396"/>
                  <a:gd name="connsiteX3" fmla="*/ 0 w 4040017"/>
                  <a:gd name="connsiteY3" fmla="*/ 0 h 4304396"/>
                  <a:gd name="connsiteX0" fmla="*/ 0 w 4040017"/>
                  <a:gd name="connsiteY0" fmla="*/ 0 h 4304396"/>
                  <a:gd name="connsiteX1" fmla="*/ 4040017 w 4040017"/>
                  <a:gd name="connsiteY1" fmla="*/ 4304396 h 4304396"/>
                  <a:gd name="connsiteX0" fmla="*/ 0 w 4041257"/>
                  <a:gd name="connsiteY0" fmla="*/ 0 h 4304396"/>
                  <a:gd name="connsiteX1" fmla="*/ 3391919 w 4041257"/>
                  <a:gd name="connsiteY1" fmla="*/ 2781889 h 4304396"/>
                  <a:gd name="connsiteX2" fmla="*/ 0 w 4041257"/>
                  <a:gd name="connsiteY2" fmla="*/ 2978707 h 4304396"/>
                  <a:gd name="connsiteX3" fmla="*/ 0 w 4041257"/>
                  <a:gd name="connsiteY3" fmla="*/ 0 h 4304396"/>
                  <a:gd name="connsiteX0" fmla="*/ 0 w 4041257"/>
                  <a:gd name="connsiteY0" fmla="*/ 0 h 4304396"/>
                  <a:gd name="connsiteX1" fmla="*/ 4040017 w 4041257"/>
                  <a:gd name="connsiteY1" fmla="*/ 4304396 h 4304396"/>
                  <a:gd name="connsiteX0" fmla="*/ 78469 w 4119687"/>
                  <a:gd name="connsiteY0" fmla="*/ 21579 h 4325975"/>
                  <a:gd name="connsiteX1" fmla="*/ 3470388 w 4119687"/>
                  <a:gd name="connsiteY1" fmla="*/ 2803468 h 4325975"/>
                  <a:gd name="connsiteX2" fmla="*/ 78469 w 4119687"/>
                  <a:gd name="connsiteY2" fmla="*/ 3000286 h 4325975"/>
                  <a:gd name="connsiteX3" fmla="*/ 78469 w 4119687"/>
                  <a:gd name="connsiteY3" fmla="*/ 21579 h 4325975"/>
                  <a:gd name="connsiteX0" fmla="*/ 0 w 4119687"/>
                  <a:gd name="connsiteY0" fmla="*/ 0 h 4325975"/>
                  <a:gd name="connsiteX1" fmla="*/ 4118486 w 4119687"/>
                  <a:gd name="connsiteY1" fmla="*/ 4325975 h 4325975"/>
                  <a:gd name="connsiteX0" fmla="*/ 78469 w 4119611"/>
                  <a:gd name="connsiteY0" fmla="*/ 21579 h 4325975"/>
                  <a:gd name="connsiteX1" fmla="*/ 3470388 w 4119611"/>
                  <a:gd name="connsiteY1" fmla="*/ 2803468 h 4325975"/>
                  <a:gd name="connsiteX2" fmla="*/ 78469 w 4119611"/>
                  <a:gd name="connsiteY2" fmla="*/ 3000286 h 4325975"/>
                  <a:gd name="connsiteX3" fmla="*/ 78469 w 4119611"/>
                  <a:gd name="connsiteY3" fmla="*/ 21579 h 4325975"/>
                  <a:gd name="connsiteX0" fmla="*/ 0 w 4119611"/>
                  <a:gd name="connsiteY0" fmla="*/ 0 h 4325975"/>
                  <a:gd name="connsiteX1" fmla="*/ 4118486 w 4119611"/>
                  <a:gd name="connsiteY1" fmla="*/ 4325975 h 4325975"/>
                  <a:gd name="connsiteX0" fmla="*/ 78469 w 4120457"/>
                  <a:gd name="connsiteY0" fmla="*/ 21579 h 4325975"/>
                  <a:gd name="connsiteX1" fmla="*/ 3470388 w 4120457"/>
                  <a:gd name="connsiteY1" fmla="*/ 2803468 h 4325975"/>
                  <a:gd name="connsiteX2" fmla="*/ 78469 w 4120457"/>
                  <a:gd name="connsiteY2" fmla="*/ 3000286 h 4325975"/>
                  <a:gd name="connsiteX3" fmla="*/ 78469 w 4120457"/>
                  <a:gd name="connsiteY3" fmla="*/ 21579 h 4325975"/>
                  <a:gd name="connsiteX0" fmla="*/ 0 w 4120457"/>
                  <a:gd name="connsiteY0" fmla="*/ 0 h 4325975"/>
                  <a:gd name="connsiteX1" fmla="*/ 4118486 w 4120457"/>
                  <a:gd name="connsiteY1" fmla="*/ 4325975 h 4325975"/>
                  <a:gd name="connsiteX0" fmla="*/ 78469 w 4120486"/>
                  <a:gd name="connsiteY0" fmla="*/ 21579 h 4325975"/>
                  <a:gd name="connsiteX1" fmla="*/ 3470388 w 4120486"/>
                  <a:gd name="connsiteY1" fmla="*/ 2803468 h 4325975"/>
                  <a:gd name="connsiteX2" fmla="*/ 78469 w 4120486"/>
                  <a:gd name="connsiteY2" fmla="*/ 3000286 h 4325975"/>
                  <a:gd name="connsiteX3" fmla="*/ 78469 w 4120486"/>
                  <a:gd name="connsiteY3" fmla="*/ 21579 h 4325975"/>
                  <a:gd name="connsiteX0" fmla="*/ 0 w 4120486"/>
                  <a:gd name="connsiteY0" fmla="*/ 0 h 4325975"/>
                  <a:gd name="connsiteX1" fmla="*/ 4118486 w 4120486"/>
                  <a:gd name="connsiteY1" fmla="*/ 4325975 h 4325975"/>
                  <a:gd name="connsiteX0" fmla="*/ 78469 w 4158401"/>
                  <a:gd name="connsiteY0" fmla="*/ 21579 h 4322535"/>
                  <a:gd name="connsiteX1" fmla="*/ 3470388 w 4158401"/>
                  <a:gd name="connsiteY1" fmla="*/ 2803468 h 4322535"/>
                  <a:gd name="connsiteX2" fmla="*/ 78469 w 4158401"/>
                  <a:gd name="connsiteY2" fmla="*/ 3000286 h 4322535"/>
                  <a:gd name="connsiteX3" fmla="*/ 78469 w 4158401"/>
                  <a:gd name="connsiteY3" fmla="*/ 21579 h 4322535"/>
                  <a:gd name="connsiteX0" fmla="*/ 0 w 4158401"/>
                  <a:gd name="connsiteY0" fmla="*/ 0 h 4322535"/>
                  <a:gd name="connsiteX1" fmla="*/ 4156430 w 4158401"/>
                  <a:gd name="connsiteY1" fmla="*/ 4322535 h 4322535"/>
                  <a:gd name="connsiteX0" fmla="*/ 78469 w 4156430"/>
                  <a:gd name="connsiteY0" fmla="*/ 21579 h 4322535"/>
                  <a:gd name="connsiteX1" fmla="*/ 3470388 w 4156430"/>
                  <a:gd name="connsiteY1" fmla="*/ 2803468 h 4322535"/>
                  <a:gd name="connsiteX2" fmla="*/ 78469 w 4156430"/>
                  <a:gd name="connsiteY2" fmla="*/ 3000286 h 4322535"/>
                  <a:gd name="connsiteX3" fmla="*/ 78469 w 4156430"/>
                  <a:gd name="connsiteY3" fmla="*/ 21579 h 4322535"/>
                  <a:gd name="connsiteX0" fmla="*/ 0 w 4156430"/>
                  <a:gd name="connsiteY0" fmla="*/ 0 h 4322535"/>
                  <a:gd name="connsiteX1" fmla="*/ 4156430 w 4156430"/>
                  <a:gd name="connsiteY1" fmla="*/ 4322535 h 4322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156430" h="4322535" stroke="0" extrusionOk="0">
                    <a:moveTo>
                      <a:pt x="78469" y="21579"/>
                    </a:moveTo>
                    <a:cubicBezTo>
                      <a:pt x="1868686" y="21579"/>
                      <a:pt x="3352100" y="1238204"/>
                      <a:pt x="3470388" y="2803468"/>
                    </a:cubicBezTo>
                    <a:lnTo>
                      <a:pt x="78469" y="3000286"/>
                    </a:lnTo>
                    <a:lnTo>
                      <a:pt x="78469" y="21579"/>
                    </a:lnTo>
                    <a:close/>
                  </a:path>
                  <a:path w="4156430" h="4322535" fill="none">
                    <a:moveTo>
                      <a:pt x="0" y="0"/>
                    </a:moveTo>
                    <a:cubicBezTo>
                      <a:pt x="1664291" y="87924"/>
                      <a:pt x="4138559" y="1262552"/>
                      <a:pt x="4156430" y="4322535"/>
                    </a:cubicBezTo>
                  </a:path>
                </a:pathLst>
              </a:custGeom>
              <a:ln w="22225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" name="Freeform 12"/>
              <p:cNvSpPr>
                <a:spLocks/>
              </p:cNvSpPr>
              <p:nvPr userDrawn="1"/>
            </p:nvSpPr>
            <p:spPr bwMode="auto">
              <a:xfrm flipH="1">
                <a:off x="7099299" y="3041539"/>
                <a:ext cx="2054224" cy="642576"/>
              </a:xfrm>
              <a:custGeom>
                <a:avLst/>
                <a:gdLst>
                  <a:gd name="T0" fmla="*/ 1413 w 7333"/>
                  <a:gd name="T1" fmla="*/ 1064 h 2199"/>
                  <a:gd name="T2" fmla="*/ 1817 w 7333"/>
                  <a:gd name="T3" fmla="*/ 1066 h 2199"/>
                  <a:gd name="T4" fmla="*/ 2219 w 7333"/>
                  <a:gd name="T5" fmla="*/ 1077 h 2199"/>
                  <a:gd name="T6" fmla="*/ 2618 w 7333"/>
                  <a:gd name="T7" fmla="*/ 1099 h 2199"/>
                  <a:gd name="T8" fmla="*/ 3014 w 7333"/>
                  <a:gd name="T9" fmla="*/ 1131 h 2199"/>
                  <a:gd name="T10" fmla="*/ 3407 w 7333"/>
                  <a:gd name="T11" fmla="*/ 1174 h 2199"/>
                  <a:gd name="T12" fmla="*/ 3798 w 7333"/>
                  <a:gd name="T13" fmla="*/ 1226 h 2199"/>
                  <a:gd name="T14" fmla="*/ 4185 w 7333"/>
                  <a:gd name="T15" fmla="*/ 1288 h 2199"/>
                  <a:gd name="T16" fmla="*/ 4570 w 7333"/>
                  <a:gd name="T17" fmla="*/ 1361 h 2199"/>
                  <a:gd name="T18" fmla="*/ 4950 w 7333"/>
                  <a:gd name="T19" fmla="*/ 1442 h 2199"/>
                  <a:gd name="T20" fmla="*/ 5328 w 7333"/>
                  <a:gd name="T21" fmla="*/ 1533 h 2199"/>
                  <a:gd name="T22" fmla="*/ 5700 w 7333"/>
                  <a:gd name="T23" fmla="*/ 1634 h 2199"/>
                  <a:gd name="T24" fmla="*/ 6070 w 7333"/>
                  <a:gd name="T25" fmla="*/ 1744 h 2199"/>
                  <a:gd name="T26" fmla="*/ 6436 w 7333"/>
                  <a:gd name="T27" fmla="*/ 1863 h 2199"/>
                  <a:gd name="T28" fmla="*/ 6798 w 7333"/>
                  <a:gd name="T29" fmla="*/ 1990 h 2199"/>
                  <a:gd name="T30" fmla="*/ 7156 w 7333"/>
                  <a:gd name="T31" fmla="*/ 2127 h 2199"/>
                  <a:gd name="T32" fmla="*/ 7266 w 7333"/>
                  <a:gd name="T33" fmla="*/ 2150 h 2199"/>
                  <a:gd name="T34" fmla="*/ 7130 w 7333"/>
                  <a:gd name="T35" fmla="*/ 2052 h 2199"/>
                  <a:gd name="T36" fmla="*/ 6994 w 7333"/>
                  <a:gd name="T37" fmla="*/ 1955 h 2199"/>
                  <a:gd name="T38" fmla="*/ 6855 w 7333"/>
                  <a:gd name="T39" fmla="*/ 1862 h 2199"/>
                  <a:gd name="T40" fmla="*/ 6715 w 7333"/>
                  <a:gd name="T41" fmla="*/ 1770 h 2199"/>
                  <a:gd name="T42" fmla="*/ 6575 w 7333"/>
                  <a:gd name="T43" fmla="*/ 1679 h 2199"/>
                  <a:gd name="T44" fmla="*/ 6432 w 7333"/>
                  <a:gd name="T45" fmla="*/ 1592 h 2199"/>
                  <a:gd name="T46" fmla="*/ 6287 w 7333"/>
                  <a:gd name="T47" fmla="*/ 1506 h 2199"/>
                  <a:gd name="T48" fmla="*/ 6142 w 7333"/>
                  <a:gd name="T49" fmla="*/ 1422 h 2199"/>
                  <a:gd name="T50" fmla="*/ 5995 w 7333"/>
                  <a:gd name="T51" fmla="*/ 1341 h 2199"/>
                  <a:gd name="T52" fmla="*/ 5847 w 7333"/>
                  <a:gd name="T53" fmla="*/ 1261 h 2199"/>
                  <a:gd name="T54" fmla="*/ 5697 w 7333"/>
                  <a:gd name="T55" fmla="*/ 1185 h 2199"/>
                  <a:gd name="T56" fmla="*/ 5547 w 7333"/>
                  <a:gd name="T57" fmla="*/ 1110 h 2199"/>
                  <a:gd name="T58" fmla="*/ 5395 w 7333"/>
                  <a:gd name="T59" fmla="*/ 1038 h 2199"/>
                  <a:gd name="T60" fmla="*/ 5241 w 7333"/>
                  <a:gd name="T61" fmla="*/ 967 h 2199"/>
                  <a:gd name="T62" fmla="*/ 5086 w 7333"/>
                  <a:gd name="T63" fmla="*/ 899 h 2199"/>
                  <a:gd name="T64" fmla="*/ 4877 w 7333"/>
                  <a:gd name="T65" fmla="*/ 811 h 2199"/>
                  <a:gd name="T66" fmla="*/ 4612 w 7333"/>
                  <a:gd name="T67" fmla="*/ 707 h 2199"/>
                  <a:gd name="T68" fmla="*/ 4344 w 7333"/>
                  <a:gd name="T69" fmla="*/ 609 h 2199"/>
                  <a:gd name="T70" fmla="*/ 4071 w 7333"/>
                  <a:gd name="T71" fmla="*/ 520 h 2199"/>
                  <a:gd name="T72" fmla="*/ 3797 w 7333"/>
                  <a:gd name="T73" fmla="*/ 436 h 2199"/>
                  <a:gd name="T74" fmla="*/ 3519 w 7333"/>
                  <a:gd name="T75" fmla="*/ 360 h 2199"/>
                  <a:gd name="T76" fmla="*/ 3238 w 7333"/>
                  <a:gd name="T77" fmla="*/ 290 h 2199"/>
                  <a:gd name="T78" fmla="*/ 2955 w 7333"/>
                  <a:gd name="T79" fmla="*/ 228 h 2199"/>
                  <a:gd name="T80" fmla="*/ 2669 w 7333"/>
                  <a:gd name="T81" fmla="*/ 172 h 2199"/>
                  <a:gd name="T82" fmla="*/ 2380 w 7333"/>
                  <a:gd name="T83" fmla="*/ 125 h 2199"/>
                  <a:gd name="T84" fmla="*/ 2089 w 7333"/>
                  <a:gd name="T85" fmla="*/ 85 h 2199"/>
                  <a:gd name="T86" fmla="*/ 1796 w 7333"/>
                  <a:gd name="T87" fmla="*/ 52 h 2199"/>
                  <a:gd name="T88" fmla="*/ 1500 w 7333"/>
                  <a:gd name="T89" fmla="*/ 27 h 2199"/>
                  <a:gd name="T90" fmla="*/ 1203 w 7333"/>
                  <a:gd name="T91" fmla="*/ 11 h 2199"/>
                  <a:gd name="T92" fmla="*/ 903 w 7333"/>
                  <a:gd name="T93" fmla="*/ 2 h 2199"/>
                  <a:gd name="T94" fmla="*/ 602 w 7333"/>
                  <a:gd name="T95" fmla="*/ 1 h 2199"/>
                  <a:gd name="T96" fmla="*/ 394 w 7333"/>
                  <a:gd name="T97" fmla="*/ 5 h 2199"/>
                  <a:gd name="T98" fmla="*/ 280 w 7333"/>
                  <a:gd name="T99" fmla="*/ 9 h 2199"/>
                  <a:gd name="T100" fmla="*/ 168 w 7333"/>
                  <a:gd name="T101" fmla="*/ 15 h 2199"/>
                  <a:gd name="T102" fmla="*/ 55 w 7333"/>
                  <a:gd name="T103" fmla="*/ 21 h 2199"/>
                  <a:gd name="T104" fmla="*/ 26 w 7333"/>
                  <a:gd name="T105" fmla="*/ 1141 h 2199"/>
                  <a:gd name="T106" fmla="*/ 173 w 7333"/>
                  <a:gd name="T107" fmla="*/ 1127 h 2199"/>
                  <a:gd name="T108" fmla="*/ 320 w 7333"/>
                  <a:gd name="T109" fmla="*/ 1114 h 2199"/>
                  <a:gd name="T110" fmla="*/ 467 w 7333"/>
                  <a:gd name="T111" fmla="*/ 1103 h 2199"/>
                  <a:gd name="T112" fmla="*/ 615 w 7333"/>
                  <a:gd name="T113" fmla="*/ 1093 h 2199"/>
                  <a:gd name="T114" fmla="*/ 763 w 7333"/>
                  <a:gd name="T115" fmla="*/ 1085 h 2199"/>
                  <a:gd name="T116" fmla="*/ 912 w 7333"/>
                  <a:gd name="T117" fmla="*/ 1078 h 2199"/>
                  <a:gd name="T118" fmla="*/ 1061 w 7333"/>
                  <a:gd name="T119" fmla="*/ 1072 h 2199"/>
                  <a:gd name="T120" fmla="*/ 1210 w 7333"/>
                  <a:gd name="T121" fmla="*/ 1068 h 2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333" h="2199">
                    <a:moveTo>
                      <a:pt x="1210" y="1068"/>
                    </a:moveTo>
                    <a:lnTo>
                      <a:pt x="1413" y="1064"/>
                    </a:lnTo>
                    <a:lnTo>
                      <a:pt x="1615" y="1064"/>
                    </a:lnTo>
                    <a:lnTo>
                      <a:pt x="1817" y="1066"/>
                    </a:lnTo>
                    <a:lnTo>
                      <a:pt x="2018" y="1070"/>
                    </a:lnTo>
                    <a:lnTo>
                      <a:pt x="2219" y="1077"/>
                    </a:lnTo>
                    <a:lnTo>
                      <a:pt x="2419" y="1087"/>
                    </a:lnTo>
                    <a:lnTo>
                      <a:pt x="2618" y="1099"/>
                    </a:lnTo>
                    <a:lnTo>
                      <a:pt x="2816" y="1114"/>
                    </a:lnTo>
                    <a:lnTo>
                      <a:pt x="3014" y="1131"/>
                    </a:lnTo>
                    <a:lnTo>
                      <a:pt x="3211" y="1151"/>
                    </a:lnTo>
                    <a:lnTo>
                      <a:pt x="3407" y="1174"/>
                    </a:lnTo>
                    <a:lnTo>
                      <a:pt x="3603" y="1199"/>
                    </a:lnTo>
                    <a:lnTo>
                      <a:pt x="3798" y="1226"/>
                    </a:lnTo>
                    <a:lnTo>
                      <a:pt x="3992" y="1256"/>
                    </a:lnTo>
                    <a:lnTo>
                      <a:pt x="4185" y="1288"/>
                    </a:lnTo>
                    <a:lnTo>
                      <a:pt x="4378" y="1324"/>
                    </a:lnTo>
                    <a:lnTo>
                      <a:pt x="4570" y="1361"/>
                    </a:lnTo>
                    <a:lnTo>
                      <a:pt x="4760" y="1400"/>
                    </a:lnTo>
                    <a:lnTo>
                      <a:pt x="4950" y="1442"/>
                    </a:lnTo>
                    <a:lnTo>
                      <a:pt x="5139" y="1487"/>
                    </a:lnTo>
                    <a:lnTo>
                      <a:pt x="5328" y="1533"/>
                    </a:lnTo>
                    <a:lnTo>
                      <a:pt x="5514" y="1582"/>
                    </a:lnTo>
                    <a:lnTo>
                      <a:pt x="5700" y="1634"/>
                    </a:lnTo>
                    <a:lnTo>
                      <a:pt x="5886" y="1688"/>
                    </a:lnTo>
                    <a:lnTo>
                      <a:pt x="6070" y="1744"/>
                    </a:lnTo>
                    <a:lnTo>
                      <a:pt x="6254" y="1802"/>
                    </a:lnTo>
                    <a:lnTo>
                      <a:pt x="6436" y="1863"/>
                    </a:lnTo>
                    <a:lnTo>
                      <a:pt x="6618" y="1926"/>
                    </a:lnTo>
                    <a:lnTo>
                      <a:pt x="6798" y="1990"/>
                    </a:lnTo>
                    <a:lnTo>
                      <a:pt x="6978" y="2058"/>
                    </a:lnTo>
                    <a:lnTo>
                      <a:pt x="7156" y="2127"/>
                    </a:lnTo>
                    <a:lnTo>
                      <a:pt x="7333" y="2199"/>
                    </a:lnTo>
                    <a:lnTo>
                      <a:pt x="7266" y="2150"/>
                    </a:lnTo>
                    <a:lnTo>
                      <a:pt x="7199" y="2100"/>
                    </a:lnTo>
                    <a:lnTo>
                      <a:pt x="7130" y="2052"/>
                    </a:lnTo>
                    <a:lnTo>
                      <a:pt x="7062" y="2004"/>
                    </a:lnTo>
                    <a:lnTo>
                      <a:pt x="6994" y="1955"/>
                    </a:lnTo>
                    <a:lnTo>
                      <a:pt x="6924" y="1908"/>
                    </a:lnTo>
                    <a:lnTo>
                      <a:pt x="6855" y="1862"/>
                    </a:lnTo>
                    <a:lnTo>
                      <a:pt x="6786" y="1815"/>
                    </a:lnTo>
                    <a:lnTo>
                      <a:pt x="6715" y="1770"/>
                    </a:lnTo>
                    <a:lnTo>
                      <a:pt x="6645" y="1725"/>
                    </a:lnTo>
                    <a:lnTo>
                      <a:pt x="6575" y="1679"/>
                    </a:lnTo>
                    <a:lnTo>
                      <a:pt x="6503" y="1635"/>
                    </a:lnTo>
                    <a:lnTo>
                      <a:pt x="6432" y="1592"/>
                    </a:lnTo>
                    <a:lnTo>
                      <a:pt x="6360" y="1548"/>
                    </a:lnTo>
                    <a:lnTo>
                      <a:pt x="6287" y="1506"/>
                    </a:lnTo>
                    <a:lnTo>
                      <a:pt x="6215" y="1464"/>
                    </a:lnTo>
                    <a:lnTo>
                      <a:pt x="6142" y="1422"/>
                    </a:lnTo>
                    <a:lnTo>
                      <a:pt x="6069" y="1381"/>
                    </a:lnTo>
                    <a:lnTo>
                      <a:pt x="5995" y="1341"/>
                    </a:lnTo>
                    <a:lnTo>
                      <a:pt x="5921" y="1300"/>
                    </a:lnTo>
                    <a:lnTo>
                      <a:pt x="5847" y="1261"/>
                    </a:lnTo>
                    <a:lnTo>
                      <a:pt x="5773" y="1223"/>
                    </a:lnTo>
                    <a:lnTo>
                      <a:pt x="5697" y="1185"/>
                    </a:lnTo>
                    <a:lnTo>
                      <a:pt x="5622" y="1146"/>
                    </a:lnTo>
                    <a:lnTo>
                      <a:pt x="5547" y="1110"/>
                    </a:lnTo>
                    <a:lnTo>
                      <a:pt x="5470" y="1073"/>
                    </a:lnTo>
                    <a:lnTo>
                      <a:pt x="5395" y="1038"/>
                    </a:lnTo>
                    <a:lnTo>
                      <a:pt x="5317" y="1001"/>
                    </a:lnTo>
                    <a:lnTo>
                      <a:pt x="5241" y="967"/>
                    </a:lnTo>
                    <a:lnTo>
                      <a:pt x="5164" y="933"/>
                    </a:lnTo>
                    <a:lnTo>
                      <a:pt x="5086" y="899"/>
                    </a:lnTo>
                    <a:lnTo>
                      <a:pt x="5009" y="865"/>
                    </a:lnTo>
                    <a:lnTo>
                      <a:pt x="4877" y="811"/>
                    </a:lnTo>
                    <a:lnTo>
                      <a:pt x="4745" y="759"/>
                    </a:lnTo>
                    <a:lnTo>
                      <a:pt x="4612" y="707"/>
                    </a:lnTo>
                    <a:lnTo>
                      <a:pt x="4478" y="658"/>
                    </a:lnTo>
                    <a:lnTo>
                      <a:pt x="4344" y="609"/>
                    </a:lnTo>
                    <a:lnTo>
                      <a:pt x="4208" y="564"/>
                    </a:lnTo>
                    <a:lnTo>
                      <a:pt x="4071" y="520"/>
                    </a:lnTo>
                    <a:lnTo>
                      <a:pt x="3935" y="476"/>
                    </a:lnTo>
                    <a:lnTo>
                      <a:pt x="3797" y="436"/>
                    </a:lnTo>
                    <a:lnTo>
                      <a:pt x="3658" y="397"/>
                    </a:lnTo>
                    <a:lnTo>
                      <a:pt x="3519" y="360"/>
                    </a:lnTo>
                    <a:lnTo>
                      <a:pt x="3379" y="323"/>
                    </a:lnTo>
                    <a:lnTo>
                      <a:pt x="3238" y="290"/>
                    </a:lnTo>
                    <a:lnTo>
                      <a:pt x="3097" y="258"/>
                    </a:lnTo>
                    <a:lnTo>
                      <a:pt x="2955" y="228"/>
                    </a:lnTo>
                    <a:lnTo>
                      <a:pt x="2812" y="199"/>
                    </a:lnTo>
                    <a:lnTo>
                      <a:pt x="2669" y="172"/>
                    </a:lnTo>
                    <a:lnTo>
                      <a:pt x="2525" y="148"/>
                    </a:lnTo>
                    <a:lnTo>
                      <a:pt x="2380" y="125"/>
                    </a:lnTo>
                    <a:lnTo>
                      <a:pt x="2235" y="104"/>
                    </a:lnTo>
                    <a:lnTo>
                      <a:pt x="2089" y="85"/>
                    </a:lnTo>
                    <a:lnTo>
                      <a:pt x="1943" y="67"/>
                    </a:lnTo>
                    <a:lnTo>
                      <a:pt x="1796" y="52"/>
                    </a:lnTo>
                    <a:lnTo>
                      <a:pt x="1648" y="39"/>
                    </a:lnTo>
                    <a:lnTo>
                      <a:pt x="1500" y="27"/>
                    </a:lnTo>
                    <a:lnTo>
                      <a:pt x="1352" y="18"/>
                    </a:lnTo>
                    <a:lnTo>
                      <a:pt x="1203" y="11"/>
                    </a:lnTo>
                    <a:lnTo>
                      <a:pt x="1053" y="5"/>
                    </a:lnTo>
                    <a:lnTo>
                      <a:pt x="903" y="2"/>
                    </a:lnTo>
                    <a:lnTo>
                      <a:pt x="753" y="0"/>
                    </a:lnTo>
                    <a:lnTo>
                      <a:pt x="602" y="1"/>
                    </a:lnTo>
                    <a:lnTo>
                      <a:pt x="451" y="3"/>
                    </a:lnTo>
                    <a:lnTo>
                      <a:pt x="394" y="5"/>
                    </a:lnTo>
                    <a:lnTo>
                      <a:pt x="338" y="7"/>
                    </a:lnTo>
                    <a:lnTo>
                      <a:pt x="280" y="9"/>
                    </a:lnTo>
                    <a:lnTo>
                      <a:pt x="224" y="12"/>
                    </a:lnTo>
                    <a:lnTo>
                      <a:pt x="168" y="15"/>
                    </a:lnTo>
                    <a:lnTo>
                      <a:pt x="112" y="18"/>
                    </a:lnTo>
                    <a:lnTo>
                      <a:pt x="55" y="21"/>
                    </a:lnTo>
                    <a:lnTo>
                      <a:pt x="0" y="25"/>
                    </a:lnTo>
                    <a:lnTo>
                      <a:pt x="26" y="1141"/>
                    </a:lnTo>
                    <a:lnTo>
                      <a:pt x="99" y="1133"/>
                    </a:lnTo>
                    <a:lnTo>
                      <a:pt x="173" y="1127"/>
                    </a:lnTo>
                    <a:lnTo>
                      <a:pt x="246" y="1120"/>
                    </a:lnTo>
                    <a:lnTo>
                      <a:pt x="320" y="1114"/>
                    </a:lnTo>
                    <a:lnTo>
                      <a:pt x="393" y="1108"/>
                    </a:lnTo>
                    <a:lnTo>
                      <a:pt x="467" y="1103"/>
                    </a:lnTo>
                    <a:lnTo>
                      <a:pt x="541" y="1098"/>
                    </a:lnTo>
                    <a:lnTo>
                      <a:pt x="615" y="1093"/>
                    </a:lnTo>
                    <a:lnTo>
                      <a:pt x="689" y="1089"/>
                    </a:lnTo>
                    <a:lnTo>
                      <a:pt x="763" y="1085"/>
                    </a:lnTo>
                    <a:lnTo>
                      <a:pt x="837" y="1081"/>
                    </a:lnTo>
                    <a:lnTo>
                      <a:pt x="912" y="1078"/>
                    </a:lnTo>
                    <a:lnTo>
                      <a:pt x="986" y="1075"/>
                    </a:lnTo>
                    <a:lnTo>
                      <a:pt x="1061" y="1072"/>
                    </a:lnTo>
                    <a:lnTo>
                      <a:pt x="1136" y="1070"/>
                    </a:lnTo>
                    <a:lnTo>
                      <a:pt x="1210" y="1068"/>
                    </a:lnTo>
                    <a:close/>
                  </a:path>
                </a:pathLst>
              </a:custGeom>
              <a:solidFill>
                <a:srgbClr val="FBC9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" name="Полилиния 8"/>
              <p:cNvSpPr>
                <a:spLocks/>
              </p:cNvSpPr>
              <p:nvPr userDrawn="1"/>
            </p:nvSpPr>
            <p:spPr bwMode="auto">
              <a:xfrm>
                <a:off x="4473400" y="4053349"/>
                <a:ext cx="4680123" cy="2835044"/>
              </a:xfrm>
              <a:custGeom>
                <a:avLst/>
                <a:gdLst>
                  <a:gd name="connsiteX0" fmla="*/ 4348448 w 4680123"/>
                  <a:gd name="connsiteY0" fmla="*/ 0 h 2835044"/>
                  <a:gd name="connsiteX1" fmla="*/ 4418858 w 4680123"/>
                  <a:gd name="connsiteY1" fmla="*/ 414 h 2835044"/>
                  <a:gd name="connsiteX2" fmla="*/ 4489682 w 4680123"/>
                  <a:gd name="connsiteY2" fmla="*/ 2486 h 2835044"/>
                  <a:gd name="connsiteX3" fmla="*/ 4559678 w 4680123"/>
                  <a:gd name="connsiteY3" fmla="*/ 4971 h 2835044"/>
                  <a:gd name="connsiteX4" fmla="*/ 4629260 w 4680123"/>
                  <a:gd name="connsiteY4" fmla="*/ 8699 h 2835044"/>
                  <a:gd name="connsiteX5" fmla="*/ 4680123 w 4680123"/>
                  <a:gd name="connsiteY5" fmla="*/ 12030 h 2835044"/>
                  <a:gd name="connsiteX6" fmla="*/ 4680123 w 4680123"/>
                  <a:gd name="connsiteY6" fmla="*/ 654814 h 2835044"/>
                  <a:gd name="connsiteX7" fmla="*/ 4571584 w 4680123"/>
                  <a:gd name="connsiteY7" fmla="*/ 649333 h 2835044"/>
                  <a:gd name="connsiteX8" fmla="*/ 3025250 w 4680123"/>
                  <a:gd name="connsiteY8" fmla="*/ 1471512 h 2835044"/>
                  <a:gd name="connsiteX9" fmla="*/ 2996965 w 4680123"/>
                  <a:gd name="connsiteY9" fmla="*/ 1518072 h 2835044"/>
                  <a:gd name="connsiteX10" fmla="*/ 2970065 w 4680123"/>
                  <a:gd name="connsiteY10" fmla="*/ 1516111 h 2835044"/>
                  <a:gd name="connsiteX11" fmla="*/ 2930304 w 4680123"/>
                  <a:gd name="connsiteY11" fmla="*/ 1513211 h 2835044"/>
                  <a:gd name="connsiteX12" fmla="*/ 2890129 w 4680123"/>
                  <a:gd name="connsiteY12" fmla="*/ 1511140 h 2835044"/>
                  <a:gd name="connsiteX13" fmla="*/ 2850368 w 4680123"/>
                  <a:gd name="connsiteY13" fmla="*/ 1509897 h 2835044"/>
                  <a:gd name="connsiteX14" fmla="*/ 2810193 w 4680123"/>
                  <a:gd name="connsiteY14" fmla="*/ 1508240 h 2835044"/>
                  <a:gd name="connsiteX15" fmla="*/ 2770018 w 4680123"/>
                  <a:gd name="connsiteY15" fmla="*/ 1507826 h 2835044"/>
                  <a:gd name="connsiteX16" fmla="*/ 2729843 w 4680123"/>
                  <a:gd name="connsiteY16" fmla="*/ 1507412 h 2835044"/>
                  <a:gd name="connsiteX17" fmla="*/ 2721145 w 4680123"/>
                  <a:gd name="connsiteY17" fmla="*/ 1507412 h 2835044"/>
                  <a:gd name="connsiteX18" fmla="*/ 2712447 w 4680123"/>
                  <a:gd name="connsiteY18" fmla="*/ 1507412 h 2835044"/>
                  <a:gd name="connsiteX19" fmla="*/ 2703749 w 4680123"/>
                  <a:gd name="connsiteY19" fmla="*/ 1507412 h 2835044"/>
                  <a:gd name="connsiteX20" fmla="*/ 2695052 w 4680123"/>
                  <a:gd name="connsiteY20" fmla="*/ 1507412 h 2835044"/>
                  <a:gd name="connsiteX21" fmla="*/ 2615944 w 4680123"/>
                  <a:gd name="connsiteY21" fmla="*/ 1509069 h 2835044"/>
                  <a:gd name="connsiteX22" fmla="*/ 2536422 w 4680123"/>
                  <a:gd name="connsiteY22" fmla="*/ 1512383 h 2835044"/>
                  <a:gd name="connsiteX23" fmla="*/ 2458142 w 4680123"/>
                  <a:gd name="connsiteY23" fmla="*/ 1517768 h 2835044"/>
                  <a:gd name="connsiteX24" fmla="*/ 2380691 w 4680123"/>
                  <a:gd name="connsiteY24" fmla="*/ 1524396 h 2835044"/>
                  <a:gd name="connsiteX25" fmla="*/ 2302826 w 4680123"/>
                  <a:gd name="connsiteY25" fmla="*/ 1533095 h 2835044"/>
                  <a:gd name="connsiteX26" fmla="*/ 2225789 w 4680123"/>
                  <a:gd name="connsiteY26" fmla="*/ 1543451 h 2835044"/>
                  <a:gd name="connsiteX27" fmla="*/ 2149580 w 4680123"/>
                  <a:gd name="connsiteY27" fmla="*/ 1555463 h 2835044"/>
                  <a:gd name="connsiteX28" fmla="*/ 2073786 w 4680123"/>
                  <a:gd name="connsiteY28" fmla="*/ 1568719 h 2835044"/>
                  <a:gd name="connsiteX29" fmla="*/ 1998406 w 4680123"/>
                  <a:gd name="connsiteY29" fmla="*/ 1584046 h 2835044"/>
                  <a:gd name="connsiteX30" fmla="*/ 1923854 w 4680123"/>
                  <a:gd name="connsiteY30" fmla="*/ 1600615 h 2835044"/>
                  <a:gd name="connsiteX31" fmla="*/ 1850130 w 4680123"/>
                  <a:gd name="connsiteY31" fmla="*/ 1619256 h 2835044"/>
                  <a:gd name="connsiteX32" fmla="*/ 1776407 w 4680123"/>
                  <a:gd name="connsiteY32" fmla="*/ 1639554 h 2835044"/>
                  <a:gd name="connsiteX33" fmla="*/ 1703511 w 4680123"/>
                  <a:gd name="connsiteY33" fmla="*/ 1660680 h 2835044"/>
                  <a:gd name="connsiteX34" fmla="*/ 1631445 w 4680123"/>
                  <a:gd name="connsiteY34" fmla="*/ 1683877 h 2835044"/>
                  <a:gd name="connsiteX35" fmla="*/ 1560206 w 4680123"/>
                  <a:gd name="connsiteY35" fmla="*/ 1708731 h 2835044"/>
                  <a:gd name="connsiteX36" fmla="*/ 1489796 w 4680123"/>
                  <a:gd name="connsiteY36" fmla="*/ 1734828 h 2835044"/>
                  <a:gd name="connsiteX37" fmla="*/ 1419386 w 4680123"/>
                  <a:gd name="connsiteY37" fmla="*/ 1762168 h 2835044"/>
                  <a:gd name="connsiteX38" fmla="*/ 1350632 w 4680123"/>
                  <a:gd name="connsiteY38" fmla="*/ 1791579 h 2835044"/>
                  <a:gd name="connsiteX39" fmla="*/ 1282293 w 4680123"/>
                  <a:gd name="connsiteY39" fmla="*/ 1822233 h 2835044"/>
                  <a:gd name="connsiteX40" fmla="*/ 1214782 w 4680123"/>
                  <a:gd name="connsiteY40" fmla="*/ 1854129 h 2835044"/>
                  <a:gd name="connsiteX41" fmla="*/ 1147685 w 4680123"/>
                  <a:gd name="connsiteY41" fmla="*/ 1887682 h 2835044"/>
                  <a:gd name="connsiteX42" fmla="*/ 1081831 w 4680123"/>
                  <a:gd name="connsiteY42" fmla="*/ 1922478 h 2835044"/>
                  <a:gd name="connsiteX43" fmla="*/ 1016391 w 4680123"/>
                  <a:gd name="connsiteY43" fmla="*/ 1958517 h 2835044"/>
                  <a:gd name="connsiteX44" fmla="*/ 952194 w 4680123"/>
                  <a:gd name="connsiteY44" fmla="*/ 1995798 h 2835044"/>
                  <a:gd name="connsiteX45" fmla="*/ 888825 w 4680123"/>
                  <a:gd name="connsiteY45" fmla="*/ 2034322 h 2835044"/>
                  <a:gd name="connsiteX46" fmla="*/ 826698 w 4680123"/>
                  <a:gd name="connsiteY46" fmla="*/ 2074503 h 2835044"/>
                  <a:gd name="connsiteX47" fmla="*/ 764986 w 4680123"/>
                  <a:gd name="connsiteY47" fmla="*/ 2116341 h 2835044"/>
                  <a:gd name="connsiteX48" fmla="*/ 704516 w 4680123"/>
                  <a:gd name="connsiteY48" fmla="*/ 2158594 h 2835044"/>
                  <a:gd name="connsiteX49" fmla="*/ 644874 w 4680123"/>
                  <a:gd name="connsiteY49" fmla="*/ 2202503 h 2835044"/>
                  <a:gd name="connsiteX50" fmla="*/ 586061 w 4680123"/>
                  <a:gd name="connsiteY50" fmla="*/ 2247655 h 2835044"/>
                  <a:gd name="connsiteX51" fmla="*/ 528490 w 4680123"/>
                  <a:gd name="connsiteY51" fmla="*/ 2294049 h 2835044"/>
                  <a:gd name="connsiteX52" fmla="*/ 472162 w 4680123"/>
                  <a:gd name="connsiteY52" fmla="*/ 2341273 h 2835044"/>
                  <a:gd name="connsiteX53" fmla="*/ 465121 w 4680123"/>
                  <a:gd name="connsiteY53" fmla="*/ 2347900 h 2835044"/>
                  <a:gd name="connsiteX54" fmla="*/ 458494 w 4680123"/>
                  <a:gd name="connsiteY54" fmla="*/ 2353700 h 2835044"/>
                  <a:gd name="connsiteX55" fmla="*/ 427431 w 4680123"/>
                  <a:gd name="connsiteY55" fmla="*/ 2381039 h 2835044"/>
                  <a:gd name="connsiteX56" fmla="*/ 396782 w 4680123"/>
                  <a:gd name="connsiteY56" fmla="*/ 2408793 h 2835044"/>
                  <a:gd name="connsiteX57" fmla="*/ 365719 w 4680123"/>
                  <a:gd name="connsiteY57" fmla="*/ 2436547 h 2835044"/>
                  <a:gd name="connsiteX58" fmla="*/ 335898 w 4680123"/>
                  <a:gd name="connsiteY58" fmla="*/ 2465130 h 2835044"/>
                  <a:gd name="connsiteX59" fmla="*/ 305663 w 4680123"/>
                  <a:gd name="connsiteY59" fmla="*/ 2494126 h 2835044"/>
                  <a:gd name="connsiteX60" fmla="*/ 275842 w 4680123"/>
                  <a:gd name="connsiteY60" fmla="*/ 2523537 h 2835044"/>
                  <a:gd name="connsiteX61" fmla="*/ 246850 w 4680123"/>
                  <a:gd name="connsiteY61" fmla="*/ 2553362 h 2835044"/>
                  <a:gd name="connsiteX62" fmla="*/ 217857 w 4680123"/>
                  <a:gd name="connsiteY62" fmla="*/ 2583187 h 2835044"/>
                  <a:gd name="connsiteX63" fmla="*/ 189279 w 4680123"/>
                  <a:gd name="connsiteY63" fmla="*/ 2613841 h 2835044"/>
                  <a:gd name="connsiteX64" fmla="*/ 161529 w 4680123"/>
                  <a:gd name="connsiteY64" fmla="*/ 2644080 h 2835044"/>
                  <a:gd name="connsiteX65" fmla="*/ 133365 w 4680123"/>
                  <a:gd name="connsiteY65" fmla="*/ 2675148 h 2835044"/>
                  <a:gd name="connsiteX66" fmla="*/ 105615 w 4680123"/>
                  <a:gd name="connsiteY66" fmla="*/ 2706630 h 2835044"/>
                  <a:gd name="connsiteX67" fmla="*/ 78694 w 4680123"/>
                  <a:gd name="connsiteY67" fmla="*/ 2738527 h 2835044"/>
                  <a:gd name="connsiteX68" fmla="*/ 52187 w 4680123"/>
                  <a:gd name="connsiteY68" fmla="*/ 2770423 h 2835044"/>
                  <a:gd name="connsiteX69" fmla="*/ 26093 w 4680123"/>
                  <a:gd name="connsiteY69" fmla="*/ 2802734 h 2835044"/>
                  <a:gd name="connsiteX70" fmla="*/ 0 w 4680123"/>
                  <a:gd name="connsiteY70" fmla="*/ 2835044 h 2835044"/>
                  <a:gd name="connsiteX71" fmla="*/ 71653 w 4680123"/>
                  <a:gd name="connsiteY71" fmla="*/ 2679705 h 2835044"/>
                  <a:gd name="connsiteX72" fmla="*/ 148690 w 4680123"/>
                  <a:gd name="connsiteY72" fmla="*/ 2527680 h 2835044"/>
                  <a:gd name="connsiteX73" fmla="*/ 231111 w 4680123"/>
                  <a:gd name="connsiteY73" fmla="*/ 2378554 h 2835044"/>
                  <a:gd name="connsiteX74" fmla="*/ 318503 w 4680123"/>
                  <a:gd name="connsiteY74" fmla="*/ 2233156 h 2835044"/>
                  <a:gd name="connsiteX75" fmla="*/ 410864 w 4680123"/>
                  <a:gd name="connsiteY75" fmla="*/ 2091073 h 2835044"/>
                  <a:gd name="connsiteX76" fmla="*/ 507782 w 4680123"/>
                  <a:gd name="connsiteY76" fmla="*/ 1952303 h 2835044"/>
                  <a:gd name="connsiteX77" fmla="*/ 609669 w 4680123"/>
                  <a:gd name="connsiteY77" fmla="*/ 1817262 h 2835044"/>
                  <a:gd name="connsiteX78" fmla="*/ 716527 w 4680123"/>
                  <a:gd name="connsiteY78" fmla="*/ 1686363 h 2835044"/>
                  <a:gd name="connsiteX79" fmla="*/ 827526 w 4680123"/>
                  <a:gd name="connsiteY79" fmla="*/ 1559192 h 2835044"/>
                  <a:gd name="connsiteX80" fmla="*/ 943082 w 4680123"/>
                  <a:gd name="connsiteY80" fmla="*/ 1436577 h 2835044"/>
                  <a:gd name="connsiteX81" fmla="*/ 1062779 w 4680123"/>
                  <a:gd name="connsiteY81" fmla="*/ 1317277 h 2835044"/>
                  <a:gd name="connsiteX82" fmla="*/ 1187032 w 4680123"/>
                  <a:gd name="connsiteY82" fmla="*/ 1202947 h 2835044"/>
                  <a:gd name="connsiteX83" fmla="*/ 1315013 w 4680123"/>
                  <a:gd name="connsiteY83" fmla="*/ 1092760 h 2835044"/>
                  <a:gd name="connsiteX84" fmla="*/ 1446721 w 4680123"/>
                  <a:gd name="connsiteY84" fmla="*/ 986715 h 2835044"/>
                  <a:gd name="connsiteX85" fmla="*/ 1582157 w 4680123"/>
                  <a:gd name="connsiteY85" fmla="*/ 885641 h 2835044"/>
                  <a:gd name="connsiteX86" fmla="*/ 1721321 w 4680123"/>
                  <a:gd name="connsiteY86" fmla="*/ 789538 h 2835044"/>
                  <a:gd name="connsiteX87" fmla="*/ 1864626 w 4680123"/>
                  <a:gd name="connsiteY87" fmla="*/ 697991 h 2835044"/>
                  <a:gd name="connsiteX88" fmla="*/ 2010831 w 4680123"/>
                  <a:gd name="connsiteY88" fmla="*/ 612244 h 2835044"/>
                  <a:gd name="connsiteX89" fmla="*/ 2160349 w 4680123"/>
                  <a:gd name="connsiteY89" fmla="*/ 531053 h 2835044"/>
                  <a:gd name="connsiteX90" fmla="*/ 2312766 w 4680123"/>
                  <a:gd name="connsiteY90" fmla="*/ 454833 h 2835044"/>
                  <a:gd name="connsiteX91" fmla="*/ 2468911 w 4680123"/>
                  <a:gd name="connsiteY91" fmla="*/ 384413 h 2835044"/>
                  <a:gd name="connsiteX92" fmla="*/ 2627541 w 4680123"/>
                  <a:gd name="connsiteY92" fmla="*/ 319378 h 2835044"/>
                  <a:gd name="connsiteX93" fmla="*/ 2788656 w 4680123"/>
                  <a:gd name="connsiteY93" fmla="*/ 260142 h 2835044"/>
                  <a:gd name="connsiteX94" fmla="*/ 2953084 w 4680123"/>
                  <a:gd name="connsiteY94" fmla="*/ 207119 h 2835044"/>
                  <a:gd name="connsiteX95" fmla="*/ 3119583 w 4680123"/>
                  <a:gd name="connsiteY95" fmla="*/ 159068 h 2835044"/>
                  <a:gd name="connsiteX96" fmla="*/ 3288982 w 4680123"/>
                  <a:gd name="connsiteY96" fmla="*/ 117644 h 2835044"/>
                  <a:gd name="connsiteX97" fmla="*/ 3460451 w 4680123"/>
                  <a:gd name="connsiteY97" fmla="*/ 81605 h 2835044"/>
                  <a:gd name="connsiteX98" fmla="*/ 3634406 w 4680123"/>
                  <a:gd name="connsiteY98" fmla="*/ 52608 h 2835044"/>
                  <a:gd name="connsiteX99" fmla="*/ 3809603 w 4680123"/>
                  <a:gd name="connsiteY99" fmla="*/ 29411 h 2835044"/>
                  <a:gd name="connsiteX100" fmla="*/ 3987699 w 4680123"/>
                  <a:gd name="connsiteY100" fmla="*/ 13256 h 2835044"/>
                  <a:gd name="connsiteX101" fmla="*/ 4167452 w 4680123"/>
                  <a:gd name="connsiteY101" fmla="*/ 3314 h 28350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</a:cxnLst>
                <a:rect l="l" t="t" r="r" b="b"/>
                <a:pathLst>
                  <a:path w="4680123" h="2835044">
                    <a:moveTo>
                      <a:pt x="4348448" y="0"/>
                    </a:moveTo>
                    <a:lnTo>
                      <a:pt x="4418858" y="414"/>
                    </a:lnTo>
                    <a:lnTo>
                      <a:pt x="4489682" y="2486"/>
                    </a:lnTo>
                    <a:lnTo>
                      <a:pt x="4559678" y="4971"/>
                    </a:lnTo>
                    <a:lnTo>
                      <a:pt x="4629260" y="8699"/>
                    </a:lnTo>
                    <a:lnTo>
                      <a:pt x="4680123" y="12030"/>
                    </a:lnTo>
                    <a:lnTo>
                      <a:pt x="4680123" y="654814"/>
                    </a:lnTo>
                    <a:lnTo>
                      <a:pt x="4571584" y="649333"/>
                    </a:lnTo>
                    <a:cubicBezTo>
                      <a:pt x="3927891" y="649333"/>
                      <a:pt x="3360371" y="975468"/>
                      <a:pt x="3025250" y="1471512"/>
                    </a:cubicBezTo>
                    <a:lnTo>
                      <a:pt x="2996965" y="1518072"/>
                    </a:lnTo>
                    <a:lnTo>
                      <a:pt x="2970065" y="1516111"/>
                    </a:lnTo>
                    <a:lnTo>
                      <a:pt x="2930304" y="1513211"/>
                    </a:lnTo>
                    <a:lnTo>
                      <a:pt x="2890129" y="1511140"/>
                    </a:lnTo>
                    <a:lnTo>
                      <a:pt x="2850368" y="1509897"/>
                    </a:lnTo>
                    <a:lnTo>
                      <a:pt x="2810193" y="1508240"/>
                    </a:lnTo>
                    <a:lnTo>
                      <a:pt x="2770018" y="1507826"/>
                    </a:lnTo>
                    <a:lnTo>
                      <a:pt x="2729843" y="1507412"/>
                    </a:lnTo>
                    <a:lnTo>
                      <a:pt x="2721145" y="1507412"/>
                    </a:lnTo>
                    <a:lnTo>
                      <a:pt x="2712447" y="1507412"/>
                    </a:lnTo>
                    <a:lnTo>
                      <a:pt x="2703749" y="1507412"/>
                    </a:lnTo>
                    <a:lnTo>
                      <a:pt x="2695052" y="1507412"/>
                    </a:lnTo>
                    <a:lnTo>
                      <a:pt x="2615944" y="1509069"/>
                    </a:lnTo>
                    <a:lnTo>
                      <a:pt x="2536422" y="1512383"/>
                    </a:lnTo>
                    <a:lnTo>
                      <a:pt x="2458142" y="1517768"/>
                    </a:lnTo>
                    <a:lnTo>
                      <a:pt x="2380691" y="1524396"/>
                    </a:lnTo>
                    <a:lnTo>
                      <a:pt x="2302826" y="1533095"/>
                    </a:lnTo>
                    <a:lnTo>
                      <a:pt x="2225789" y="1543451"/>
                    </a:lnTo>
                    <a:lnTo>
                      <a:pt x="2149580" y="1555463"/>
                    </a:lnTo>
                    <a:lnTo>
                      <a:pt x="2073786" y="1568719"/>
                    </a:lnTo>
                    <a:lnTo>
                      <a:pt x="1998406" y="1584046"/>
                    </a:lnTo>
                    <a:lnTo>
                      <a:pt x="1923854" y="1600615"/>
                    </a:lnTo>
                    <a:lnTo>
                      <a:pt x="1850130" y="1619256"/>
                    </a:lnTo>
                    <a:lnTo>
                      <a:pt x="1776407" y="1639554"/>
                    </a:lnTo>
                    <a:lnTo>
                      <a:pt x="1703511" y="1660680"/>
                    </a:lnTo>
                    <a:lnTo>
                      <a:pt x="1631445" y="1683877"/>
                    </a:lnTo>
                    <a:lnTo>
                      <a:pt x="1560206" y="1708731"/>
                    </a:lnTo>
                    <a:lnTo>
                      <a:pt x="1489796" y="1734828"/>
                    </a:lnTo>
                    <a:lnTo>
                      <a:pt x="1419386" y="1762168"/>
                    </a:lnTo>
                    <a:lnTo>
                      <a:pt x="1350632" y="1791579"/>
                    </a:lnTo>
                    <a:lnTo>
                      <a:pt x="1282293" y="1822233"/>
                    </a:lnTo>
                    <a:lnTo>
                      <a:pt x="1214782" y="1854129"/>
                    </a:lnTo>
                    <a:lnTo>
                      <a:pt x="1147685" y="1887682"/>
                    </a:lnTo>
                    <a:lnTo>
                      <a:pt x="1081831" y="1922478"/>
                    </a:lnTo>
                    <a:lnTo>
                      <a:pt x="1016391" y="1958517"/>
                    </a:lnTo>
                    <a:lnTo>
                      <a:pt x="952194" y="1995798"/>
                    </a:lnTo>
                    <a:lnTo>
                      <a:pt x="888825" y="2034322"/>
                    </a:lnTo>
                    <a:lnTo>
                      <a:pt x="826698" y="2074503"/>
                    </a:lnTo>
                    <a:lnTo>
                      <a:pt x="764986" y="2116341"/>
                    </a:lnTo>
                    <a:lnTo>
                      <a:pt x="704516" y="2158594"/>
                    </a:lnTo>
                    <a:lnTo>
                      <a:pt x="644874" y="2202503"/>
                    </a:lnTo>
                    <a:lnTo>
                      <a:pt x="586061" y="2247655"/>
                    </a:lnTo>
                    <a:lnTo>
                      <a:pt x="528490" y="2294049"/>
                    </a:lnTo>
                    <a:lnTo>
                      <a:pt x="472162" y="2341273"/>
                    </a:lnTo>
                    <a:lnTo>
                      <a:pt x="465121" y="2347900"/>
                    </a:lnTo>
                    <a:lnTo>
                      <a:pt x="458494" y="2353700"/>
                    </a:lnTo>
                    <a:lnTo>
                      <a:pt x="427431" y="2381039"/>
                    </a:lnTo>
                    <a:lnTo>
                      <a:pt x="396782" y="2408793"/>
                    </a:lnTo>
                    <a:lnTo>
                      <a:pt x="365719" y="2436547"/>
                    </a:lnTo>
                    <a:lnTo>
                      <a:pt x="335898" y="2465130"/>
                    </a:lnTo>
                    <a:lnTo>
                      <a:pt x="305663" y="2494126"/>
                    </a:lnTo>
                    <a:lnTo>
                      <a:pt x="275842" y="2523537"/>
                    </a:lnTo>
                    <a:lnTo>
                      <a:pt x="246850" y="2553362"/>
                    </a:lnTo>
                    <a:lnTo>
                      <a:pt x="217857" y="2583187"/>
                    </a:lnTo>
                    <a:lnTo>
                      <a:pt x="189279" y="2613841"/>
                    </a:lnTo>
                    <a:lnTo>
                      <a:pt x="161529" y="2644080"/>
                    </a:lnTo>
                    <a:lnTo>
                      <a:pt x="133365" y="2675148"/>
                    </a:lnTo>
                    <a:lnTo>
                      <a:pt x="105615" y="2706630"/>
                    </a:lnTo>
                    <a:lnTo>
                      <a:pt x="78694" y="2738527"/>
                    </a:lnTo>
                    <a:lnTo>
                      <a:pt x="52187" y="2770423"/>
                    </a:lnTo>
                    <a:lnTo>
                      <a:pt x="26093" y="2802734"/>
                    </a:lnTo>
                    <a:lnTo>
                      <a:pt x="0" y="2835044"/>
                    </a:lnTo>
                    <a:lnTo>
                      <a:pt x="71653" y="2679705"/>
                    </a:lnTo>
                    <a:lnTo>
                      <a:pt x="148690" y="2527680"/>
                    </a:lnTo>
                    <a:lnTo>
                      <a:pt x="231111" y="2378554"/>
                    </a:lnTo>
                    <a:lnTo>
                      <a:pt x="318503" y="2233156"/>
                    </a:lnTo>
                    <a:lnTo>
                      <a:pt x="410864" y="2091073"/>
                    </a:lnTo>
                    <a:lnTo>
                      <a:pt x="507782" y="1952303"/>
                    </a:lnTo>
                    <a:lnTo>
                      <a:pt x="609669" y="1817262"/>
                    </a:lnTo>
                    <a:lnTo>
                      <a:pt x="716527" y="1686363"/>
                    </a:lnTo>
                    <a:lnTo>
                      <a:pt x="827526" y="1559192"/>
                    </a:lnTo>
                    <a:lnTo>
                      <a:pt x="943082" y="1436577"/>
                    </a:lnTo>
                    <a:lnTo>
                      <a:pt x="1062779" y="1317277"/>
                    </a:lnTo>
                    <a:lnTo>
                      <a:pt x="1187032" y="1202947"/>
                    </a:lnTo>
                    <a:lnTo>
                      <a:pt x="1315013" y="1092760"/>
                    </a:lnTo>
                    <a:lnTo>
                      <a:pt x="1446721" y="986715"/>
                    </a:lnTo>
                    <a:lnTo>
                      <a:pt x="1582157" y="885641"/>
                    </a:lnTo>
                    <a:lnTo>
                      <a:pt x="1721321" y="789538"/>
                    </a:lnTo>
                    <a:lnTo>
                      <a:pt x="1864626" y="697991"/>
                    </a:lnTo>
                    <a:lnTo>
                      <a:pt x="2010831" y="612244"/>
                    </a:lnTo>
                    <a:lnTo>
                      <a:pt x="2160349" y="531053"/>
                    </a:lnTo>
                    <a:lnTo>
                      <a:pt x="2312766" y="454833"/>
                    </a:lnTo>
                    <a:lnTo>
                      <a:pt x="2468911" y="384413"/>
                    </a:lnTo>
                    <a:lnTo>
                      <a:pt x="2627541" y="319378"/>
                    </a:lnTo>
                    <a:lnTo>
                      <a:pt x="2788656" y="260142"/>
                    </a:lnTo>
                    <a:lnTo>
                      <a:pt x="2953084" y="207119"/>
                    </a:lnTo>
                    <a:lnTo>
                      <a:pt x="3119583" y="159068"/>
                    </a:lnTo>
                    <a:lnTo>
                      <a:pt x="3288982" y="117644"/>
                    </a:lnTo>
                    <a:lnTo>
                      <a:pt x="3460451" y="81605"/>
                    </a:lnTo>
                    <a:lnTo>
                      <a:pt x="3634406" y="52608"/>
                    </a:lnTo>
                    <a:lnTo>
                      <a:pt x="3809603" y="29411"/>
                    </a:lnTo>
                    <a:lnTo>
                      <a:pt x="3987699" y="13256"/>
                    </a:lnTo>
                    <a:lnTo>
                      <a:pt x="4167452" y="3314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/>
              </a:p>
            </p:txBody>
          </p:sp>
          <p:sp>
            <p:nvSpPr>
              <p:cNvPr id="10" name="Полилиния 9"/>
              <p:cNvSpPr>
                <a:spLocks/>
              </p:cNvSpPr>
              <p:nvPr userDrawn="1"/>
            </p:nvSpPr>
            <p:spPr bwMode="auto">
              <a:xfrm rot="21014560">
                <a:off x="4762081" y="5861915"/>
                <a:ext cx="2729786" cy="1172544"/>
              </a:xfrm>
              <a:custGeom>
                <a:avLst/>
                <a:gdLst>
                  <a:gd name="connsiteX0" fmla="*/ 2545958 w 2729786"/>
                  <a:gd name="connsiteY0" fmla="*/ 43242 h 1172544"/>
                  <a:gd name="connsiteX1" fmla="*/ 2590914 w 2729786"/>
                  <a:gd name="connsiteY1" fmla="*/ 51314 h 1172544"/>
                  <a:gd name="connsiteX2" fmla="*/ 2635869 w 2729786"/>
                  <a:gd name="connsiteY2" fmla="*/ 59963 h 1172544"/>
                  <a:gd name="connsiteX3" fmla="*/ 2681400 w 2729786"/>
                  <a:gd name="connsiteY3" fmla="*/ 69764 h 1172544"/>
                  <a:gd name="connsiteX4" fmla="*/ 2725778 w 2729786"/>
                  <a:gd name="connsiteY4" fmla="*/ 78989 h 1172544"/>
                  <a:gd name="connsiteX5" fmla="*/ 2729786 w 2729786"/>
                  <a:gd name="connsiteY5" fmla="*/ 79978 h 1172544"/>
                  <a:gd name="connsiteX6" fmla="*/ 2650077 w 2729786"/>
                  <a:gd name="connsiteY6" fmla="*/ 191814 h 1172544"/>
                  <a:gd name="connsiteX7" fmla="*/ 2382633 w 2729786"/>
                  <a:gd name="connsiteY7" fmla="*/ 882348 h 1172544"/>
                  <a:gd name="connsiteX8" fmla="*/ 2355679 w 2729786"/>
                  <a:gd name="connsiteY8" fmla="*/ 1165874 h 1172544"/>
                  <a:gd name="connsiteX9" fmla="*/ 2356054 w 2729786"/>
                  <a:gd name="connsiteY9" fmla="*/ 1172544 h 1172544"/>
                  <a:gd name="connsiteX10" fmla="*/ 0 w 2729786"/>
                  <a:gd name="connsiteY10" fmla="*/ 767390 h 1172544"/>
                  <a:gd name="connsiteX11" fmla="*/ 53263 w 2729786"/>
                  <a:gd name="connsiteY11" fmla="*/ 722432 h 1172544"/>
                  <a:gd name="connsiteX12" fmla="*/ 108592 w 2729786"/>
                  <a:gd name="connsiteY12" fmla="*/ 675731 h 1172544"/>
                  <a:gd name="connsiteX13" fmla="*/ 166226 w 2729786"/>
                  <a:gd name="connsiteY13" fmla="*/ 631336 h 1172544"/>
                  <a:gd name="connsiteX14" fmla="*/ 223861 w 2729786"/>
                  <a:gd name="connsiteY14" fmla="*/ 587517 h 1172544"/>
                  <a:gd name="connsiteX15" fmla="*/ 283225 w 2729786"/>
                  <a:gd name="connsiteY15" fmla="*/ 546004 h 1172544"/>
                  <a:gd name="connsiteX16" fmla="*/ 343741 w 2729786"/>
                  <a:gd name="connsiteY16" fmla="*/ 505068 h 1172544"/>
                  <a:gd name="connsiteX17" fmla="*/ 404834 w 2729786"/>
                  <a:gd name="connsiteY17" fmla="*/ 465862 h 1172544"/>
                  <a:gd name="connsiteX18" fmla="*/ 466503 w 2729786"/>
                  <a:gd name="connsiteY18" fmla="*/ 428386 h 1172544"/>
                  <a:gd name="connsiteX19" fmla="*/ 529901 w 2729786"/>
                  <a:gd name="connsiteY19" fmla="*/ 390909 h 1172544"/>
                  <a:gd name="connsiteX20" fmla="*/ 594452 w 2729786"/>
                  <a:gd name="connsiteY20" fmla="*/ 356892 h 1172544"/>
                  <a:gd name="connsiteX21" fmla="*/ 659002 w 2729786"/>
                  <a:gd name="connsiteY21" fmla="*/ 323451 h 1172544"/>
                  <a:gd name="connsiteX22" fmla="*/ 724706 w 2729786"/>
                  <a:gd name="connsiteY22" fmla="*/ 291164 h 1172544"/>
                  <a:gd name="connsiteX23" fmla="*/ 792138 w 2729786"/>
                  <a:gd name="connsiteY23" fmla="*/ 260606 h 1172544"/>
                  <a:gd name="connsiteX24" fmla="*/ 858994 w 2729786"/>
                  <a:gd name="connsiteY24" fmla="*/ 231778 h 1172544"/>
                  <a:gd name="connsiteX25" fmla="*/ 927579 w 2729786"/>
                  <a:gd name="connsiteY25" fmla="*/ 204679 h 1172544"/>
                  <a:gd name="connsiteX26" fmla="*/ 996741 w 2729786"/>
                  <a:gd name="connsiteY26" fmla="*/ 179311 h 1172544"/>
                  <a:gd name="connsiteX27" fmla="*/ 1067055 w 2729786"/>
                  <a:gd name="connsiteY27" fmla="*/ 155095 h 1172544"/>
                  <a:gd name="connsiteX28" fmla="*/ 1137369 w 2729786"/>
                  <a:gd name="connsiteY28" fmla="*/ 132033 h 1172544"/>
                  <a:gd name="connsiteX29" fmla="*/ 1208836 w 2729786"/>
                  <a:gd name="connsiteY29" fmla="*/ 111853 h 1172544"/>
                  <a:gd name="connsiteX30" fmla="*/ 1281456 w 2729786"/>
                  <a:gd name="connsiteY30" fmla="*/ 92250 h 1172544"/>
                  <a:gd name="connsiteX31" fmla="*/ 1354076 w 2729786"/>
                  <a:gd name="connsiteY31" fmla="*/ 75529 h 1172544"/>
                  <a:gd name="connsiteX32" fmla="*/ 1427271 w 2729786"/>
                  <a:gd name="connsiteY32" fmla="*/ 59963 h 1172544"/>
                  <a:gd name="connsiteX33" fmla="*/ 1501043 w 2729786"/>
                  <a:gd name="connsiteY33" fmla="*/ 46125 h 1172544"/>
                  <a:gd name="connsiteX34" fmla="*/ 1576545 w 2729786"/>
                  <a:gd name="connsiteY34" fmla="*/ 34017 h 1172544"/>
                  <a:gd name="connsiteX35" fmla="*/ 1650893 w 2729786"/>
                  <a:gd name="connsiteY35" fmla="*/ 23639 h 1172544"/>
                  <a:gd name="connsiteX36" fmla="*/ 1726971 w 2729786"/>
                  <a:gd name="connsiteY36" fmla="*/ 14990 h 1172544"/>
                  <a:gd name="connsiteX37" fmla="*/ 1803625 w 2729786"/>
                  <a:gd name="connsiteY37" fmla="*/ 9225 h 1172544"/>
                  <a:gd name="connsiteX38" fmla="*/ 1880279 w 2729786"/>
                  <a:gd name="connsiteY38" fmla="*/ 4036 h 1172544"/>
                  <a:gd name="connsiteX39" fmla="*/ 1957509 w 2729786"/>
                  <a:gd name="connsiteY39" fmla="*/ 1730 h 1172544"/>
                  <a:gd name="connsiteX40" fmla="*/ 2035892 w 2729786"/>
                  <a:gd name="connsiteY40" fmla="*/ 0 h 1172544"/>
                  <a:gd name="connsiteX41" fmla="*/ 2083729 w 2729786"/>
                  <a:gd name="connsiteY41" fmla="*/ 1153 h 1172544"/>
                  <a:gd name="connsiteX42" fmla="*/ 2130413 w 2729786"/>
                  <a:gd name="connsiteY42" fmla="*/ 2306 h 1172544"/>
                  <a:gd name="connsiteX43" fmla="*/ 2177674 w 2729786"/>
                  <a:gd name="connsiteY43" fmla="*/ 3459 h 1172544"/>
                  <a:gd name="connsiteX44" fmla="*/ 2223781 w 2729786"/>
                  <a:gd name="connsiteY44" fmla="*/ 6342 h 1172544"/>
                  <a:gd name="connsiteX45" fmla="*/ 2271042 w 2729786"/>
                  <a:gd name="connsiteY45" fmla="*/ 9802 h 1172544"/>
                  <a:gd name="connsiteX46" fmla="*/ 2317726 w 2729786"/>
                  <a:gd name="connsiteY46" fmla="*/ 13837 h 1172544"/>
                  <a:gd name="connsiteX47" fmla="*/ 2363257 w 2729786"/>
                  <a:gd name="connsiteY47" fmla="*/ 18450 h 1172544"/>
                  <a:gd name="connsiteX48" fmla="*/ 2409365 w 2729786"/>
                  <a:gd name="connsiteY48" fmla="*/ 23639 h 1172544"/>
                  <a:gd name="connsiteX49" fmla="*/ 2455472 w 2729786"/>
                  <a:gd name="connsiteY49" fmla="*/ 29981 h 1172544"/>
                  <a:gd name="connsiteX50" fmla="*/ 2501004 w 2729786"/>
                  <a:gd name="connsiteY50" fmla="*/ 35747 h 1172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2729786" h="1172544">
                    <a:moveTo>
                      <a:pt x="2545958" y="43242"/>
                    </a:moveTo>
                    <a:lnTo>
                      <a:pt x="2590914" y="51314"/>
                    </a:lnTo>
                    <a:lnTo>
                      <a:pt x="2635869" y="59963"/>
                    </a:lnTo>
                    <a:lnTo>
                      <a:pt x="2681400" y="69764"/>
                    </a:lnTo>
                    <a:lnTo>
                      <a:pt x="2725778" y="78989"/>
                    </a:lnTo>
                    <a:lnTo>
                      <a:pt x="2729786" y="79978"/>
                    </a:lnTo>
                    <a:lnTo>
                      <a:pt x="2650077" y="191814"/>
                    </a:lnTo>
                    <a:cubicBezTo>
                      <a:pt x="2519266" y="395697"/>
                      <a:pt x="2426269" y="628596"/>
                      <a:pt x="2382633" y="882348"/>
                    </a:cubicBezTo>
                    <a:cubicBezTo>
                      <a:pt x="2366270" y="977505"/>
                      <a:pt x="2357428" y="1072217"/>
                      <a:pt x="2355679" y="1165874"/>
                    </a:cubicBezTo>
                    <a:lnTo>
                      <a:pt x="2356054" y="1172544"/>
                    </a:lnTo>
                    <a:lnTo>
                      <a:pt x="0" y="767390"/>
                    </a:lnTo>
                    <a:lnTo>
                      <a:pt x="53263" y="722432"/>
                    </a:lnTo>
                    <a:lnTo>
                      <a:pt x="108592" y="675731"/>
                    </a:lnTo>
                    <a:lnTo>
                      <a:pt x="166226" y="631336"/>
                    </a:lnTo>
                    <a:lnTo>
                      <a:pt x="223861" y="587517"/>
                    </a:lnTo>
                    <a:lnTo>
                      <a:pt x="283225" y="546004"/>
                    </a:lnTo>
                    <a:lnTo>
                      <a:pt x="343741" y="505068"/>
                    </a:lnTo>
                    <a:lnTo>
                      <a:pt x="404834" y="465862"/>
                    </a:lnTo>
                    <a:lnTo>
                      <a:pt x="466503" y="428386"/>
                    </a:lnTo>
                    <a:lnTo>
                      <a:pt x="529901" y="390909"/>
                    </a:lnTo>
                    <a:lnTo>
                      <a:pt x="594452" y="356892"/>
                    </a:lnTo>
                    <a:lnTo>
                      <a:pt x="659002" y="323451"/>
                    </a:lnTo>
                    <a:lnTo>
                      <a:pt x="724706" y="291164"/>
                    </a:lnTo>
                    <a:lnTo>
                      <a:pt x="792138" y="260606"/>
                    </a:lnTo>
                    <a:lnTo>
                      <a:pt x="858994" y="231778"/>
                    </a:lnTo>
                    <a:lnTo>
                      <a:pt x="927579" y="204679"/>
                    </a:lnTo>
                    <a:lnTo>
                      <a:pt x="996741" y="179311"/>
                    </a:lnTo>
                    <a:lnTo>
                      <a:pt x="1067055" y="155095"/>
                    </a:lnTo>
                    <a:lnTo>
                      <a:pt x="1137369" y="132033"/>
                    </a:lnTo>
                    <a:lnTo>
                      <a:pt x="1208836" y="111853"/>
                    </a:lnTo>
                    <a:lnTo>
                      <a:pt x="1281456" y="92250"/>
                    </a:lnTo>
                    <a:lnTo>
                      <a:pt x="1354076" y="75529"/>
                    </a:lnTo>
                    <a:lnTo>
                      <a:pt x="1427271" y="59963"/>
                    </a:lnTo>
                    <a:lnTo>
                      <a:pt x="1501043" y="46125"/>
                    </a:lnTo>
                    <a:lnTo>
                      <a:pt x="1576545" y="34017"/>
                    </a:lnTo>
                    <a:lnTo>
                      <a:pt x="1650893" y="23639"/>
                    </a:lnTo>
                    <a:lnTo>
                      <a:pt x="1726971" y="14990"/>
                    </a:lnTo>
                    <a:lnTo>
                      <a:pt x="1803625" y="9225"/>
                    </a:lnTo>
                    <a:lnTo>
                      <a:pt x="1880279" y="4036"/>
                    </a:lnTo>
                    <a:lnTo>
                      <a:pt x="1957509" y="1730"/>
                    </a:lnTo>
                    <a:lnTo>
                      <a:pt x="2035892" y="0"/>
                    </a:lnTo>
                    <a:lnTo>
                      <a:pt x="2083729" y="1153"/>
                    </a:lnTo>
                    <a:lnTo>
                      <a:pt x="2130413" y="2306"/>
                    </a:lnTo>
                    <a:lnTo>
                      <a:pt x="2177674" y="3459"/>
                    </a:lnTo>
                    <a:lnTo>
                      <a:pt x="2223781" y="6342"/>
                    </a:lnTo>
                    <a:lnTo>
                      <a:pt x="2271042" y="9802"/>
                    </a:lnTo>
                    <a:lnTo>
                      <a:pt x="2317726" y="13837"/>
                    </a:lnTo>
                    <a:lnTo>
                      <a:pt x="2363257" y="18450"/>
                    </a:lnTo>
                    <a:lnTo>
                      <a:pt x="2409365" y="23639"/>
                    </a:lnTo>
                    <a:lnTo>
                      <a:pt x="2455472" y="29981"/>
                    </a:lnTo>
                    <a:lnTo>
                      <a:pt x="2501004" y="35747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ru-RU"/>
              </a:p>
            </p:txBody>
          </p:sp>
        </p:grpSp>
      </p:grpSp>
      <p:sp>
        <p:nvSpPr>
          <p:cNvPr id="13" name="Текст 12"/>
          <p:cNvSpPr txBox="1">
            <a:spLocks/>
          </p:cNvSpPr>
          <p:nvPr/>
        </p:nvSpPr>
        <p:spPr bwMode="auto">
          <a:xfrm>
            <a:off x="149381" y="1094034"/>
            <a:ext cx="2768600" cy="655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indent="0" eaLnBrk="1" hangingPunct="1">
              <a:buFont typeface="Arial" panose="020B0604020202020204" pitchFamily="34" charset="0"/>
              <a:buNone/>
            </a:pPr>
            <a:r>
              <a:rPr lang="ru-RU" altLang="ru-RU" sz="1800" b="1" dirty="0">
                <a:latin typeface="+mn-lt"/>
              </a:rPr>
              <a:t>Представительство</a:t>
            </a:r>
            <a:r>
              <a:rPr lang="en-US" altLang="ru-RU" sz="1800" b="1" dirty="0">
                <a:latin typeface="+mn-lt"/>
              </a:rPr>
              <a:t> </a:t>
            </a:r>
            <a:r>
              <a:rPr lang="ru-RU" altLang="ru-RU" sz="1800" b="1" dirty="0">
                <a:latin typeface="+mn-lt"/>
              </a:rPr>
              <a:t/>
            </a:r>
            <a:br>
              <a:rPr lang="ru-RU" altLang="ru-RU" sz="1800" b="1" dirty="0">
                <a:latin typeface="+mn-lt"/>
              </a:rPr>
            </a:br>
            <a:r>
              <a:rPr lang="ru-RU" altLang="ru-RU" sz="1800" b="1" dirty="0" smtClean="0">
                <a:latin typeface="+mn-lt"/>
              </a:rPr>
              <a:t>в </a:t>
            </a:r>
            <a:r>
              <a:rPr lang="ru-RU" altLang="ru-RU" sz="1800" b="1" err="1">
                <a:latin typeface="+mn-lt"/>
              </a:rPr>
              <a:t>г</a:t>
            </a:r>
            <a:r>
              <a:rPr lang="ru-RU" altLang="ru-RU" sz="1800" b="1" smtClean="0">
                <a:latin typeface="+mn-lt"/>
              </a:rPr>
              <a:t>. Нур</a:t>
            </a:r>
            <a:r>
              <a:rPr lang="ru-RU" altLang="ru-RU" sz="1800" b="1" dirty="0" smtClean="0">
                <a:latin typeface="+mn-lt"/>
              </a:rPr>
              <a:t>-Султан</a:t>
            </a:r>
            <a:endParaRPr lang="ru-RU" altLang="ru-RU" sz="1800" b="1" dirty="0">
              <a:latin typeface="+mn-lt"/>
            </a:endParaRPr>
          </a:p>
          <a:p>
            <a:pPr eaLnBrk="1" hangingPunct="1">
              <a:buFont typeface="Arial" panose="020B0604020202020204" pitchFamily="34" charset="0"/>
              <a:buNone/>
            </a:pPr>
            <a:endParaRPr lang="ru-RU" altLang="ru-RU" sz="1400" dirty="0">
              <a:latin typeface="+mn-lt"/>
            </a:endParaRPr>
          </a:p>
        </p:txBody>
      </p:sp>
      <p:sp>
        <p:nvSpPr>
          <p:cNvPr id="14" name="Текст 13"/>
          <p:cNvSpPr txBox="1">
            <a:spLocks/>
          </p:cNvSpPr>
          <p:nvPr/>
        </p:nvSpPr>
        <p:spPr>
          <a:xfrm>
            <a:off x="149410" y="1798761"/>
            <a:ext cx="3825875" cy="15367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38163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06463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268413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601788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n-lt"/>
              </a:rPr>
              <a:t>Республика Казахстан</a:t>
            </a:r>
            <a:r>
              <a:rPr lang="ru-RU" dirty="0">
                <a:latin typeface="+mn-lt"/>
              </a:rPr>
              <a:t/>
            </a:r>
            <a:br>
              <a:rPr lang="ru-RU" dirty="0">
                <a:latin typeface="+mn-lt"/>
              </a:rPr>
            </a:br>
            <a:r>
              <a:rPr lang="ru-RU" dirty="0" smtClean="0">
                <a:latin typeface="+mn-lt"/>
              </a:rPr>
              <a:t>010000, г.</a:t>
            </a:r>
            <a:r>
              <a:rPr lang="en-US" dirty="0" smtClean="0">
                <a:latin typeface="+mn-lt"/>
              </a:rPr>
              <a:t> </a:t>
            </a:r>
            <a:r>
              <a:rPr lang="ru-RU" dirty="0" smtClean="0">
                <a:latin typeface="+mn-lt"/>
              </a:rPr>
              <a:t>Нур-Султан</a:t>
            </a:r>
            <a:r>
              <a:rPr lang="ru-RU" dirty="0">
                <a:latin typeface="+mn-lt"/>
              </a:rPr>
              <a:t/>
            </a:r>
            <a:br>
              <a:rPr lang="ru-RU" dirty="0">
                <a:latin typeface="+mn-lt"/>
              </a:rPr>
            </a:br>
            <a:r>
              <a:rPr lang="ru-RU" dirty="0" smtClean="0">
                <a:latin typeface="+mn-lt"/>
              </a:rPr>
              <a:t>пр. </a:t>
            </a:r>
            <a:r>
              <a:rPr lang="ru-RU" dirty="0" err="1" smtClean="0">
                <a:latin typeface="+mn-lt"/>
              </a:rPr>
              <a:t>Мангилик</a:t>
            </a:r>
            <a:r>
              <a:rPr lang="ru-RU" dirty="0" smtClean="0">
                <a:latin typeface="+mn-lt"/>
              </a:rPr>
              <a:t> ел, 55/20, блок С4.1</a:t>
            </a: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n-lt"/>
              </a:rPr>
              <a:t>Тел: +</a:t>
            </a:r>
            <a:r>
              <a:rPr lang="ru-RU" dirty="0">
                <a:latin typeface="+mn-lt"/>
              </a:rPr>
              <a:t>7 </a:t>
            </a:r>
            <a:r>
              <a:rPr lang="ru-RU" dirty="0" smtClean="0">
                <a:latin typeface="+mn-lt"/>
              </a:rPr>
              <a:t>(7172) 55 84 84</a:t>
            </a: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>
                <a:latin typeface="+mn-lt"/>
              </a:rPr>
              <a:t>www.eabr.org</a:t>
            </a:r>
            <a:endParaRPr lang="en-US" dirty="0">
              <a:latin typeface="+mn-lt"/>
            </a:endParaRPr>
          </a:p>
          <a:p>
            <a:pPr fontAlgn="auto">
              <a:spcAft>
                <a:spcPts val="0"/>
              </a:spcAft>
              <a:defRPr/>
            </a:pPr>
            <a:endParaRPr lang="ru-RU" dirty="0" smtClean="0">
              <a:latin typeface="+mn-lt"/>
            </a:endParaRPr>
          </a:p>
          <a:p>
            <a:pPr fontAlgn="auto">
              <a:spcAft>
                <a:spcPts val="0"/>
              </a:spcAft>
              <a:defRPr/>
            </a:pPr>
            <a:endParaRPr lang="ru-RU" dirty="0">
              <a:latin typeface="+mn-lt"/>
            </a:endParaRPr>
          </a:p>
        </p:txBody>
      </p:sp>
      <p:sp>
        <p:nvSpPr>
          <p:cNvPr id="17" name="Текст 73"/>
          <p:cNvSpPr txBox="1">
            <a:spLocks/>
          </p:cNvSpPr>
          <p:nvPr/>
        </p:nvSpPr>
        <p:spPr bwMode="auto">
          <a:xfrm>
            <a:off x="158906" y="5252344"/>
            <a:ext cx="3443287" cy="131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b="1" dirty="0" err="1">
                <a:latin typeface="+mn-lt"/>
              </a:rPr>
              <a:t>Жанар</a:t>
            </a:r>
            <a:r>
              <a:rPr lang="ru-RU" altLang="ru-RU" b="1" dirty="0">
                <a:latin typeface="+mn-lt"/>
              </a:rPr>
              <a:t> </a:t>
            </a:r>
            <a:r>
              <a:rPr lang="ru-RU" altLang="ru-RU" b="1" dirty="0" err="1">
                <a:latin typeface="+mn-lt"/>
              </a:rPr>
              <a:t>Жакупова</a:t>
            </a:r>
            <a:endParaRPr lang="en-US" altLang="ru-RU" b="1" dirty="0">
              <a:latin typeface="+mn-lt"/>
            </a:endParaRPr>
          </a:p>
          <a:p>
            <a:pPr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dirty="0">
                <a:latin typeface="+mn-lt"/>
              </a:rPr>
              <a:t>Директор</a:t>
            </a:r>
          </a:p>
          <a:p>
            <a:pPr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dirty="0">
                <a:latin typeface="+mn-lt"/>
              </a:rPr>
              <a:t>+7 (7172) 55 84 84 доб. 2196</a:t>
            </a:r>
          </a:p>
          <a:p>
            <a:pPr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dirty="0">
                <a:latin typeface="+mn-lt"/>
              </a:rPr>
              <a:t>+7 (771) 999 07 97</a:t>
            </a:r>
          </a:p>
          <a:p>
            <a:pPr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ru-RU" dirty="0">
                <a:latin typeface="+mn-lt"/>
              </a:rPr>
              <a:t>Zhakupova_ZM@eabr.org</a:t>
            </a:r>
            <a:endParaRPr lang="ru-RU" altLang="ru-RU" dirty="0">
              <a:latin typeface="+mn-lt"/>
            </a:endParaRPr>
          </a:p>
        </p:txBody>
      </p:sp>
      <p:sp>
        <p:nvSpPr>
          <p:cNvPr id="25" name="Полилиния 24"/>
          <p:cNvSpPr/>
          <p:nvPr/>
        </p:nvSpPr>
        <p:spPr>
          <a:xfrm flipH="1">
            <a:off x="250825" y="3432155"/>
            <a:ext cx="5757880" cy="502663"/>
          </a:xfrm>
          <a:custGeom>
            <a:avLst/>
            <a:gdLst>
              <a:gd name="connsiteX0" fmla="*/ 5373464 w 5757880"/>
              <a:gd name="connsiteY0" fmla="*/ 0 h 502663"/>
              <a:gd name="connsiteX1" fmla="*/ 3362565 w 5757880"/>
              <a:gd name="connsiteY1" fmla="*/ 0 h 502663"/>
              <a:gd name="connsiteX2" fmla="*/ 2818174 w 5757880"/>
              <a:gd name="connsiteY2" fmla="*/ 0 h 502663"/>
              <a:gd name="connsiteX3" fmla="*/ 0 w 5757880"/>
              <a:gd name="connsiteY3" fmla="*/ 0 h 502663"/>
              <a:gd name="connsiteX4" fmla="*/ 36255 w 5757880"/>
              <a:gd name="connsiteY4" fmla="*/ 24348 h 502663"/>
              <a:gd name="connsiteX5" fmla="*/ 510992 w 5757880"/>
              <a:gd name="connsiteY5" fmla="*/ 408422 h 502663"/>
              <a:gd name="connsiteX6" fmla="*/ 604473 w 5757880"/>
              <a:gd name="connsiteY6" fmla="*/ 502663 h 502663"/>
              <a:gd name="connsiteX7" fmla="*/ 2818174 w 5757880"/>
              <a:gd name="connsiteY7" fmla="*/ 502663 h 502663"/>
              <a:gd name="connsiteX8" fmla="*/ 3362565 w 5757880"/>
              <a:gd name="connsiteY8" fmla="*/ 502663 h 502663"/>
              <a:gd name="connsiteX9" fmla="*/ 5757880 w 5757880"/>
              <a:gd name="connsiteY9" fmla="*/ 502663 h 502663"/>
              <a:gd name="connsiteX10" fmla="*/ 5757880 w 5757880"/>
              <a:gd name="connsiteY10" fmla="*/ 389665 h 502663"/>
              <a:gd name="connsiteX11" fmla="*/ 5373464 w 5757880"/>
              <a:gd name="connsiteY11" fmla="*/ 0 h 502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757880" h="502663">
                <a:moveTo>
                  <a:pt x="5373464" y="0"/>
                </a:moveTo>
                <a:lnTo>
                  <a:pt x="3362565" y="0"/>
                </a:lnTo>
                <a:lnTo>
                  <a:pt x="2818174" y="0"/>
                </a:lnTo>
                <a:lnTo>
                  <a:pt x="0" y="0"/>
                </a:lnTo>
                <a:lnTo>
                  <a:pt x="36255" y="24348"/>
                </a:lnTo>
                <a:cubicBezTo>
                  <a:pt x="202423" y="141425"/>
                  <a:pt x="360989" y="269790"/>
                  <a:pt x="510992" y="408422"/>
                </a:cubicBezTo>
                <a:lnTo>
                  <a:pt x="604473" y="502663"/>
                </a:lnTo>
                <a:lnTo>
                  <a:pt x="2818174" y="502663"/>
                </a:lnTo>
                <a:lnTo>
                  <a:pt x="3362565" y="502663"/>
                </a:lnTo>
                <a:lnTo>
                  <a:pt x="5757880" y="502663"/>
                </a:lnTo>
                <a:lnTo>
                  <a:pt x="5757880" y="389665"/>
                </a:lnTo>
                <a:cubicBezTo>
                  <a:pt x="5757880" y="174458"/>
                  <a:pt x="5585772" y="0"/>
                  <a:pt x="537346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  <p:sp>
        <p:nvSpPr>
          <p:cNvPr id="15" name="Текст 72"/>
          <p:cNvSpPr txBox="1">
            <a:spLocks/>
          </p:cNvSpPr>
          <p:nvPr/>
        </p:nvSpPr>
        <p:spPr bwMode="auto">
          <a:xfrm>
            <a:off x="158903" y="3455853"/>
            <a:ext cx="3271837" cy="40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</a:pPr>
            <a:r>
              <a:rPr lang="ru-RU" altLang="ru-RU" sz="1800" b="1" dirty="0">
                <a:latin typeface="+mn-lt"/>
              </a:rPr>
              <a:t>Дирекция по энергетике</a:t>
            </a:r>
          </a:p>
          <a:p>
            <a:pPr eaLnBrk="1" hangingPunct="1">
              <a:buFont typeface="Arial" panose="020B0604020202020204" pitchFamily="34" charset="0"/>
              <a:buNone/>
            </a:pPr>
            <a:endParaRPr lang="ru-RU" altLang="ru-RU" sz="1400" dirty="0">
              <a:latin typeface="+mn-lt"/>
            </a:endParaRPr>
          </a:p>
        </p:txBody>
      </p:sp>
      <p:sp>
        <p:nvSpPr>
          <p:cNvPr id="16" name="Текст 73"/>
          <p:cNvSpPr txBox="1">
            <a:spLocks/>
          </p:cNvSpPr>
          <p:nvPr/>
        </p:nvSpPr>
        <p:spPr bwMode="auto">
          <a:xfrm>
            <a:off x="158906" y="3878596"/>
            <a:ext cx="3443287" cy="131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b="1" dirty="0" err="1">
                <a:latin typeface="+mn-lt"/>
              </a:rPr>
              <a:t>Ботагоз</a:t>
            </a:r>
            <a:r>
              <a:rPr lang="ru-RU" altLang="ru-RU" b="1" dirty="0">
                <a:latin typeface="+mn-lt"/>
              </a:rPr>
              <a:t> </a:t>
            </a:r>
            <a:r>
              <a:rPr lang="ru-RU" altLang="ru-RU" b="1" dirty="0" err="1">
                <a:latin typeface="+mn-lt"/>
              </a:rPr>
              <a:t>Дюсембаева</a:t>
            </a:r>
            <a:endParaRPr lang="en-US" altLang="ru-RU" b="1" dirty="0">
              <a:latin typeface="+mn-lt"/>
            </a:endParaRPr>
          </a:p>
          <a:p>
            <a:pPr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dirty="0">
                <a:latin typeface="+mn-lt"/>
              </a:rPr>
              <a:t>Исполнительный директор</a:t>
            </a:r>
          </a:p>
          <a:p>
            <a:pPr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dirty="0">
                <a:latin typeface="+mn-lt"/>
              </a:rPr>
              <a:t>+7 (7172) 55 84 84 доб. 2189</a:t>
            </a:r>
          </a:p>
          <a:p>
            <a:pPr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dirty="0">
                <a:latin typeface="+mn-lt"/>
              </a:rPr>
              <a:t>+7 (701) 767 67 60</a:t>
            </a:r>
          </a:p>
          <a:p>
            <a:pPr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ru-RU" dirty="0">
                <a:latin typeface="+mn-lt"/>
              </a:rPr>
              <a:t>Dyussembayeva_BG@eabr.org</a:t>
            </a:r>
            <a:endParaRPr lang="ru-RU" altLang="ru-RU" dirty="0">
              <a:latin typeface="+mn-lt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-1" y="-32427"/>
            <a:ext cx="250826" cy="1081635"/>
          </a:xfrm>
          <a:prstGeom prst="rect">
            <a:avLst/>
          </a:prstGeom>
          <a:solidFill>
            <a:srgbClr val="D9E6EF"/>
          </a:solidFill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200"/>
              </a:spcBef>
            </a:pPr>
            <a:endParaRPr lang="ru-RU" sz="24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063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40">
      <a:dk1>
        <a:srgbClr val="3A3838"/>
      </a:dk1>
      <a:lt1>
        <a:sysClr val="window" lastClr="FFFFFF"/>
      </a:lt1>
      <a:dk2>
        <a:srgbClr val="000000"/>
      </a:dk2>
      <a:lt2>
        <a:srgbClr val="FFF1CD"/>
      </a:lt2>
      <a:accent1>
        <a:srgbClr val="005C90"/>
      </a:accent1>
      <a:accent2>
        <a:srgbClr val="FAC800"/>
      </a:accent2>
      <a:accent3>
        <a:srgbClr val="B2B2B2"/>
      </a:accent3>
      <a:accent4>
        <a:srgbClr val="5C5959"/>
      </a:accent4>
      <a:accent5>
        <a:srgbClr val="AABCE0"/>
      </a:accent5>
      <a:accent6>
        <a:srgbClr val="00A0E3"/>
      </a:accent6>
      <a:hlink>
        <a:srgbClr val="3A3838"/>
      </a:hlink>
      <a:folHlink>
        <a:srgbClr val="005C90"/>
      </a:folHlink>
    </a:clrScheme>
    <a:fontScheme name="ЕАБР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1200"/>
          </a:spcBef>
          <a:defRPr sz="2400" dirty="0" err="1" smtClean="0">
            <a:solidFill>
              <a:schemeClr val="bg1"/>
            </a:solidFill>
          </a:defRPr>
        </a:defPPr>
      </a:lstStyle>
    </a:spDef>
    <a:txDef>
      <a:spPr>
        <a:noFill/>
      </a:spPr>
      <a:bodyPr wrap="square" lIns="0" tIns="0" rIns="0" bIns="0" rtlCol="0">
        <a:spAutoFit/>
      </a:bodyPr>
      <a:lstStyle>
        <a:defPPr>
          <a:spcBef>
            <a:spcPts val="600"/>
          </a:spcBef>
          <a:buClr>
            <a:schemeClr val="accent1"/>
          </a:buClr>
          <a:defRPr sz="2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5211</TotalTime>
  <Words>272</Words>
  <Application>Microsoft Office PowerPoint</Application>
  <PresentationFormat>Экран (4:3)</PresentationFormat>
  <Paragraphs>101</Paragraphs>
  <Slides>8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3" baseType="lpstr">
      <vt:lpstr>Arial</vt:lpstr>
      <vt:lpstr>Calibri</vt:lpstr>
      <vt:lpstr>Tahoma</vt:lpstr>
      <vt:lpstr>Тема Office</vt:lpstr>
      <vt:lpstr>think-cell Slide</vt:lpstr>
      <vt:lpstr>Опыт ЕАБР  в финансировании проектов ВИЭ</vt:lpstr>
      <vt:lpstr>Евразийский банк развития (ЕАБР)</vt:lpstr>
      <vt:lpstr>Миссия и отраслевой фокус ЕАБР</vt:lpstr>
      <vt:lpstr>Инвестиционный портфель</vt:lpstr>
      <vt:lpstr>Возможные формы финансирования  проектов ЕАБР</vt:lpstr>
      <vt:lpstr>Что может предложить ЕАБР?</vt:lpstr>
      <vt:lpstr>Текущие инвестиционные проекты, финансируемые Банком</vt:lpstr>
      <vt:lpstr>Контакты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</dc:creator>
  <cp:lastModifiedBy>Абрамцов Денис П.</cp:lastModifiedBy>
  <cp:revision>983</cp:revision>
  <dcterms:created xsi:type="dcterms:W3CDTF">2017-10-04T09:11:36Z</dcterms:created>
  <dcterms:modified xsi:type="dcterms:W3CDTF">2020-12-01T14:37:15Z</dcterms:modified>
</cp:coreProperties>
</file>